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2.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3.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4.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5.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6.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7.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 id="2147483688" r:id="rId6"/>
    <p:sldMasterId id="2147483773" r:id="rId7"/>
    <p:sldMasterId id="2147483812" r:id="rId8"/>
    <p:sldMasterId id="2147483846" r:id="rId9"/>
    <p:sldMasterId id="2147483880" r:id="rId10"/>
  </p:sldMasterIdLst>
  <p:notesMasterIdLst>
    <p:notesMasterId r:id="rId16"/>
  </p:notesMasterIdLst>
  <p:sldIdLst>
    <p:sldId id="399" r:id="rId11"/>
    <p:sldId id="2147483637" r:id="rId12"/>
    <p:sldId id="373" r:id="rId13"/>
    <p:sldId id="407" r:id="rId14"/>
    <p:sldId id="425" r:id="rId15"/>
  </p:sldIdLst>
  <p:sldSz cx="9144000" cy="5143500" type="screen16x9"/>
  <p:notesSz cx="6858000" cy="9144000"/>
  <p:custDataLst>
    <p:tags r:id="rId17"/>
  </p:custDataLst>
  <p:defaultTextStyle>
    <a:defPPr>
      <a:defRPr lang="sv-S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002856"/>
    <a:srgbClr val="000000"/>
    <a:srgbClr val="1D324F"/>
    <a:srgbClr val="659BC6"/>
    <a:srgbClr val="98BDD3"/>
    <a:srgbClr val="2071B5"/>
    <a:srgbClr val="699BCB"/>
    <a:srgbClr val="95B8DB"/>
    <a:srgbClr val="E6EFF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3C2FFA5D-87B4-456A-9821-1D502468CF0F}" styleName="Format med tema 1 - dekorfärg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5896" autoAdjust="0"/>
  </p:normalViewPr>
  <p:slideViewPr>
    <p:cSldViewPr snapToGrid="0">
      <p:cViewPr varScale="1">
        <p:scale>
          <a:sx n="104" d="100"/>
          <a:sy n="104" d="100"/>
        </p:scale>
        <p:origin x="370"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3.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1.xml"/><Relationship Id="rId5" Type="http://schemas.openxmlformats.org/officeDocument/2006/relationships/slideMaster" Target="slideMasters/slideMaster1.xml"/><Relationship Id="rId15" Type="http://schemas.openxmlformats.org/officeDocument/2006/relationships/slide" Target="slides/slide5.xml"/><Relationship Id="rId10" Type="http://schemas.openxmlformats.org/officeDocument/2006/relationships/slideMaster" Target="slideMasters/slideMaster6.xml"/><Relationship Id="rId19"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F25B33A-BC3C-2A4E-8516-966C62954547}" type="datetimeFigureOut">
              <a:rPr lang="en-GB" smtClean="0"/>
              <a:t>04/09/2025</a:t>
            </a:fld>
            <a:endParaRPr lang="en-GB"/>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839FFBA-8E97-AD44-BFE3-4701FE7ED562}" type="slidenum">
              <a:rPr lang="en-GB" smtClean="0"/>
              <a:t>‹nr.›</a:t>
            </a:fld>
            <a:endParaRPr lang="en-GB"/>
          </a:p>
        </p:txBody>
      </p:sp>
    </p:spTree>
    <p:extLst>
      <p:ext uri="{BB962C8B-B14F-4D97-AF65-F5344CB8AC3E}">
        <p14:creationId xmlns:p14="http://schemas.microsoft.com/office/powerpoint/2010/main" val="42633436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hyperlink" Target="https://www.gartner.com/" TargetMode="Externa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3" Type="http://schemas.openxmlformats.org/officeDocument/2006/relationships/hyperlink" Target="https://www.gartner.com/technology/about/policies/usage_policy.jsp#_blank" TargetMode="External"/><Relationship Id="rId2" Type="http://schemas.openxmlformats.org/officeDocument/2006/relationships/image" Target="../media/image10.png"/><Relationship Id="rId1" Type="http://schemas.openxmlformats.org/officeDocument/2006/relationships/slideMaster" Target="../slideMasters/slideMaster5.xml"/><Relationship Id="rId4" Type="http://schemas.openxmlformats.org/officeDocument/2006/relationships/hyperlink" Target="https://www.gartner.com/technology/about/ombudsman/omb_guide2.jsp" TargetMode="Externa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3" Type="http://schemas.openxmlformats.org/officeDocument/2006/relationships/hyperlink" Target="https://www.gartner.com/technology/about/policies/usage_policy.jsp#_blank" TargetMode="External"/><Relationship Id="rId2" Type="http://schemas.openxmlformats.org/officeDocument/2006/relationships/image" Target="../media/image10.png"/><Relationship Id="rId1" Type="http://schemas.openxmlformats.org/officeDocument/2006/relationships/slideMaster" Target="../slideMasters/slideMaster5.xml"/><Relationship Id="rId4" Type="http://schemas.openxmlformats.org/officeDocument/2006/relationships/hyperlink" Target="https://www.gartner.com/technology/about/ombudsman/omb_guide2.jsp" TargetMode="Externa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gartner.com/" TargetMode="Externa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gif"/><Relationship Id="rId1" Type="http://schemas.openxmlformats.org/officeDocument/2006/relationships/slideMaster" Target="../slideMasters/slideMaster6.xml"/><Relationship Id="rId4" Type="http://schemas.openxmlformats.org/officeDocument/2006/relationships/image" Target="../media/image19.svg"/></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6.gif"/><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6.gif"/><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6.gif"/><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6.xml"/><Relationship Id="rId1" Type="http://schemas.openxmlformats.org/officeDocument/2006/relationships/tags" Target="../tags/tag7.xml"/><Relationship Id="rId4" Type="http://schemas.openxmlformats.org/officeDocument/2006/relationships/image" Target="../media/image20.emf"/></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gi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gi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gi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gif"/><Relationship Id="rId1" Type="http://schemas.openxmlformats.org/officeDocument/2006/relationships/slideMaster" Target="../slideMasters/slideMaster2.xml"/><Relationship Id="rId5" Type="http://schemas.openxmlformats.org/officeDocument/2006/relationships/image" Target="../media/image5.png"/><Relationship Id="rId4" Type="http://schemas.openxmlformats.org/officeDocument/2006/relationships/image" Target="../media/image4.svg"/></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gif"/><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sv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gif"/><Relationship Id="rId1" Type="http://schemas.openxmlformats.org/officeDocument/2006/relationships/slideMaster" Target="../slideMasters/slideMaster3.xml"/><Relationship Id="rId5" Type="http://schemas.openxmlformats.org/officeDocument/2006/relationships/image" Target="../media/image5.png"/><Relationship Id="rId4" Type="http://schemas.openxmlformats.org/officeDocument/2006/relationships/image" Target="../media/image4.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gif"/><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gif"/><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6.gif"/><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6.gif"/><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6.gif"/><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hyperlink" Target="https://www.gartner.com/technology/about/policies/usage_policy.jsp#_blank" TargetMode="External"/><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hyperlink" Target="https://www.gartner.com/technology/about/ombudsman/omb_guide2.jsp" TargetMode="Externa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Generic Image Start">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29B8958B-10DA-F24F-A2EC-49711C241895}"/>
              </a:ext>
            </a:extLst>
          </p:cNvPr>
          <p:cNvSpPr/>
          <p:nvPr userDrawn="1"/>
        </p:nvSpPr>
        <p:spPr>
          <a:xfrm>
            <a:off x="6520873" y="2499519"/>
            <a:ext cx="1003877" cy="493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8" name="Rektangel 27">
            <a:extLst>
              <a:ext uri="{FF2B5EF4-FFF2-40B4-BE49-F238E27FC236}">
                <a16:creationId xmlns:a16="http://schemas.microsoft.com/office/drawing/2014/main" id="{44B06D9C-224E-0C44-86A7-A872605E97D8}"/>
              </a:ext>
            </a:extLst>
          </p:cNvPr>
          <p:cNvSpPr/>
          <p:nvPr userDrawn="1"/>
        </p:nvSpPr>
        <p:spPr>
          <a:xfrm>
            <a:off x="6520873" y="2007250"/>
            <a:ext cx="1003877" cy="4930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5" name="Picture Placeholder 44">
            <a:extLst>
              <a:ext uri="{FF2B5EF4-FFF2-40B4-BE49-F238E27FC236}">
                <a16:creationId xmlns:a16="http://schemas.microsoft.com/office/drawing/2014/main" id="{DEA784E8-8252-DD5B-F219-7BD42C129BF5}"/>
              </a:ext>
            </a:extLst>
          </p:cNvPr>
          <p:cNvSpPr>
            <a:spLocks noGrp="1"/>
          </p:cNvSpPr>
          <p:nvPr>
            <p:ph type="pic" sz="quarter" idx="10" hasCustomPrompt="1"/>
          </p:nvPr>
        </p:nvSpPr>
        <p:spPr>
          <a:xfrm>
            <a:off x="179388" y="158750"/>
            <a:ext cx="8785322" cy="4681538"/>
          </a:xfrm>
          <a:custGeom>
            <a:avLst/>
            <a:gdLst>
              <a:gd name="connsiteX0" fmla="*/ 5043808 w 8785322"/>
              <a:gd name="connsiteY0" fmla="*/ 2233607 h 4681538"/>
              <a:gd name="connsiteX1" fmla="*/ 5044628 w 8785322"/>
              <a:gd name="connsiteY1" fmla="*/ 2233607 h 4681538"/>
              <a:gd name="connsiteX2" fmla="*/ 5114297 w 8785322"/>
              <a:gd name="connsiteY2" fmla="*/ 2404588 h 4681538"/>
              <a:gd name="connsiteX3" fmla="*/ 4974550 w 8785322"/>
              <a:gd name="connsiteY3" fmla="*/ 2404588 h 4681538"/>
              <a:gd name="connsiteX4" fmla="*/ 2227558 w 8785322"/>
              <a:gd name="connsiteY4" fmla="*/ 2233607 h 4681538"/>
              <a:gd name="connsiteX5" fmla="*/ 2228378 w 8785322"/>
              <a:gd name="connsiteY5" fmla="*/ 2233607 h 4681538"/>
              <a:gd name="connsiteX6" fmla="*/ 2298047 w 8785322"/>
              <a:gd name="connsiteY6" fmla="*/ 2404588 h 4681538"/>
              <a:gd name="connsiteX7" fmla="*/ 2158300 w 8785322"/>
              <a:gd name="connsiteY7" fmla="*/ 2404588 h 4681538"/>
              <a:gd name="connsiteX8" fmla="*/ 5788443 w 8785322"/>
              <a:gd name="connsiteY8" fmla="*/ 2095367 h 4681538"/>
              <a:gd name="connsiteX9" fmla="*/ 5788443 w 8785322"/>
              <a:gd name="connsiteY9" fmla="*/ 2595780 h 4681538"/>
              <a:gd name="connsiteX10" fmla="*/ 6155228 w 8785322"/>
              <a:gd name="connsiteY10" fmla="*/ 2595780 h 4681538"/>
              <a:gd name="connsiteX11" fmla="*/ 6155228 w 8785322"/>
              <a:gd name="connsiteY11" fmla="*/ 2485026 h 4681538"/>
              <a:gd name="connsiteX12" fmla="*/ 5921223 w 8785322"/>
              <a:gd name="connsiteY12" fmla="*/ 2485026 h 4681538"/>
              <a:gd name="connsiteX13" fmla="*/ 5921223 w 8785322"/>
              <a:gd name="connsiteY13" fmla="*/ 2095367 h 4681538"/>
              <a:gd name="connsiteX14" fmla="*/ 5363874 w 8785322"/>
              <a:gd name="connsiteY14" fmla="*/ 2095367 h 4681538"/>
              <a:gd name="connsiteX15" fmla="*/ 5363874 w 8785322"/>
              <a:gd name="connsiteY15" fmla="*/ 2595780 h 4681538"/>
              <a:gd name="connsiteX16" fmla="*/ 5731069 w 8785322"/>
              <a:gd name="connsiteY16" fmla="*/ 2595780 h 4681538"/>
              <a:gd name="connsiteX17" fmla="*/ 5731069 w 8785322"/>
              <a:gd name="connsiteY17" fmla="*/ 2485026 h 4681538"/>
              <a:gd name="connsiteX18" fmla="*/ 5497064 w 8785322"/>
              <a:gd name="connsiteY18" fmla="*/ 2485026 h 4681538"/>
              <a:gd name="connsiteX19" fmla="*/ 5497064 w 8785322"/>
              <a:gd name="connsiteY19" fmla="*/ 2095367 h 4681538"/>
              <a:gd name="connsiteX20" fmla="*/ 4979058 w 8785322"/>
              <a:gd name="connsiteY20" fmla="*/ 2095367 h 4681538"/>
              <a:gd name="connsiteX21" fmla="*/ 4767593 w 8785322"/>
              <a:gd name="connsiteY21" fmla="*/ 2595780 h 4681538"/>
              <a:gd name="connsiteX22" fmla="*/ 4896275 w 8785322"/>
              <a:gd name="connsiteY22" fmla="*/ 2595780 h 4681538"/>
              <a:gd name="connsiteX23" fmla="*/ 4932748 w 8785322"/>
              <a:gd name="connsiteY23" fmla="*/ 2506449 h 4681538"/>
              <a:gd name="connsiteX24" fmla="*/ 5156098 w 8785322"/>
              <a:gd name="connsiteY24" fmla="*/ 2506449 h 4681538"/>
              <a:gd name="connsiteX25" fmla="*/ 5192571 w 8785322"/>
              <a:gd name="connsiteY25" fmla="*/ 2595780 h 4681538"/>
              <a:gd name="connsiteX26" fmla="*/ 5321254 w 8785322"/>
              <a:gd name="connsiteY26" fmla="*/ 2595780 h 4681538"/>
              <a:gd name="connsiteX27" fmla="*/ 5109789 w 8785322"/>
              <a:gd name="connsiteY27" fmla="*/ 2095367 h 4681538"/>
              <a:gd name="connsiteX28" fmla="*/ 5108149 w 8785322"/>
              <a:gd name="connsiteY28" fmla="*/ 2095367 h 4681538"/>
              <a:gd name="connsiteX29" fmla="*/ 5107739 w 8785322"/>
              <a:gd name="connsiteY29" fmla="*/ 2095367 h 4681538"/>
              <a:gd name="connsiteX30" fmla="*/ 4424578 w 8785322"/>
              <a:gd name="connsiteY30" fmla="*/ 2095367 h 4681538"/>
              <a:gd name="connsiteX31" fmla="*/ 4424578 w 8785322"/>
              <a:gd name="connsiteY31" fmla="*/ 2595780 h 4681538"/>
              <a:gd name="connsiteX32" fmla="*/ 4557358 w 8785322"/>
              <a:gd name="connsiteY32" fmla="*/ 2595780 h 4681538"/>
              <a:gd name="connsiteX33" fmla="*/ 4557358 w 8785322"/>
              <a:gd name="connsiteY33" fmla="*/ 2393270 h 4681538"/>
              <a:gd name="connsiteX34" fmla="*/ 4772101 w 8785322"/>
              <a:gd name="connsiteY34" fmla="*/ 2393270 h 4681538"/>
              <a:gd name="connsiteX35" fmla="*/ 4772101 w 8785322"/>
              <a:gd name="connsiteY35" fmla="*/ 2286154 h 4681538"/>
              <a:gd name="connsiteX36" fmla="*/ 4557358 w 8785322"/>
              <a:gd name="connsiteY36" fmla="*/ 2286154 h 4681538"/>
              <a:gd name="connsiteX37" fmla="*/ 4557358 w 8785322"/>
              <a:gd name="connsiteY37" fmla="*/ 2202483 h 4681538"/>
              <a:gd name="connsiteX38" fmla="*/ 4811854 w 8785322"/>
              <a:gd name="connsiteY38" fmla="*/ 2202483 h 4681538"/>
              <a:gd name="connsiteX39" fmla="*/ 4811854 w 8785322"/>
              <a:gd name="connsiteY39" fmla="*/ 2095367 h 4681538"/>
              <a:gd name="connsiteX40" fmla="*/ 3843460 w 8785322"/>
              <a:gd name="connsiteY40" fmla="*/ 2095367 h 4681538"/>
              <a:gd name="connsiteX41" fmla="*/ 3843460 w 8785322"/>
              <a:gd name="connsiteY41" fmla="*/ 2595780 h 4681538"/>
              <a:gd name="connsiteX42" fmla="*/ 3970503 w 8785322"/>
              <a:gd name="connsiteY42" fmla="*/ 2595780 h 4681538"/>
              <a:gd name="connsiteX43" fmla="*/ 3970503 w 8785322"/>
              <a:gd name="connsiteY43" fmla="*/ 2299898 h 4681538"/>
              <a:gd name="connsiteX44" fmla="*/ 4196721 w 8785322"/>
              <a:gd name="connsiteY44" fmla="*/ 2595780 h 4681538"/>
              <a:gd name="connsiteX45" fmla="*/ 4323354 w 8785322"/>
              <a:gd name="connsiteY45" fmla="*/ 2595780 h 4681538"/>
              <a:gd name="connsiteX46" fmla="*/ 4323354 w 8785322"/>
              <a:gd name="connsiteY46" fmla="*/ 2095367 h 4681538"/>
              <a:gd name="connsiteX47" fmla="*/ 4196721 w 8785322"/>
              <a:gd name="connsiteY47" fmla="*/ 2095367 h 4681538"/>
              <a:gd name="connsiteX48" fmla="*/ 4196721 w 8785322"/>
              <a:gd name="connsiteY48" fmla="*/ 2394887 h 4681538"/>
              <a:gd name="connsiteX49" fmla="*/ 3970503 w 8785322"/>
              <a:gd name="connsiteY49" fmla="*/ 2095367 h 4681538"/>
              <a:gd name="connsiteX50" fmla="*/ 3376270 w 8785322"/>
              <a:gd name="connsiteY50" fmla="*/ 2095367 h 4681538"/>
              <a:gd name="connsiteX51" fmla="*/ 3376270 w 8785322"/>
              <a:gd name="connsiteY51" fmla="*/ 2595780 h 4681538"/>
              <a:gd name="connsiteX52" fmla="*/ 3509050 w 8785322"/>
              <a:gd name="connsiteY52" fmla="*/ 2595780 h 4681538"/>
              <a:gd name="connsiteX53" fmla="*/ 3751661 w 8785322"/>
              <a:gd name="connsiteY53" fmla="*/ 2595780 h 4681538"/>
              <a:gd name="connsiteX54" fmla="*/ 3751661 w 8785322"/>
              <a:gd name="connsiteY54" fmla="*/ 2488664 h 4681538"/>
              <a:gd name="connsiteX55" fmla="*/ 3509050 w 8785322"/>
              <a:gd name="connsiteY55" fmla="*/ 2488664 h 4681538"/>
              <a:gd name="connsiteX56" fmla="*/ 3509050 w 8785322"/>
              <a:gd name="connsiteY56" fmla="*/ 2390037 h 4681538"/>
              <a:gd name="connsiteX57" fmla="*/ 3714777 w 8785322"/>
              <a:gd name="connsiteY57" fmla="*/ 2390037 h 4681538"/>
              <a:gd name="connsiteX58" fmla="*/ 3714777 w 8785322"/>
              <a:gd name="connsiteY58" fmla="*/ 2282921 h 4681538"/>
              <a:gd name="connsiteX59" fmla="*/ 3509050 w 8785322"/>
              <a:gd name="connsiteY59" fmla="*/ 2282921 h 4681538"/>
              <a:gd name="connsiteX60" fmla="*/ 3509050 w 8785322"/>
              <a:gd name="connsiteY60" fmla="*/ 2202483 h 4681538"/>
              <a:gd name="connsiteX61" fmla="*/ 3751661 w 8785322"/>
              <a:gd name="connsiteY61" fmla="*/ 2202483 h 4681538"/>
              <a:gd name="connsiteX62" fmla="*/ 3751661 w 8785322"/>
              <a:gd name="connsiteY62" fmla="*/ 2095367 h 4681538"/>
              <a:gd name="connsiteX63" fmla="*/ 2898835 w 8785322"/>
              <a:gd name="connsiteY63" fmla="*/ 2095367 h 4681538"/>
              <a:gd name="connsiteX64" fmla="*/ 2898835 w 8785322"/>
              <a:gd name="connsiteY64" fmla="*/ 2202483 h 4681538"/>
              <a:gd name="connsiteX65" fmla="*/ 3032025 w 8785322"/>
              <a:gd name="connsiteY65" fmla="*/ 2202483 h 4681538"/>
              <a:gd name="connsiteX66" fmla="*/ 3032025 w 8785322"/>
              <a:gd name="connsiteY66" fmla="*/ 2595780 h 4681538"/>
              <a:gd name="connsiteX67" fmla="*/ 3164805 w 8785322"/>
              <a:gd name="connsiteY67" fmla="*/ 2595780 h 4681538"/>
              <a:gd name="connsiteX68" fmla="*/ 3164805 w 8785322"/>
              <a:gd name="connsiteY68" fmla="*/ 2202483 h 4681538"/>
              <a:gd name="connsiteX69" fmla="*/ 3311929 w 8785322"/>
              <a:gd name="connsiteY69" fmla="*/ 2202483 h 4681538"/>
              <a:gd name="connsiteX70" fmla="*/ 3311929 w 8785322"/>
              <a:gd name="connsiteY70" fmla="*/ 2095367 h 4681538"/>
              <a:gd name="connsiteX71" fmla="*/ 2439842 w 8785322"/>
              <a:gd name="connsiteY71" fmla="*/ 2095367 h 4681538"/>
              <a:gd name="connsiteX72" fmla="*/ 2439842 w 8785322"/>
              <a:gd name="connsiteY72" fmla="*/ 2202483 h 4681538"/>
              <a:gd name="connsiteX73" fmla="*/ 2586966 w 8785322"/>
              <a:gd name="connsiteY73" fmla="*/ 2202483 h 4681538"/>
              <a:gd name="connsiteX74" fmla="*/ 2586966 w 8785322"/>
              <a:gd name="connsiteY74" fmla="*/ 2595780 h 4681538"/>
              <a:gd name="connsiteX75" fmla="*/ 2719746 w 8785322"/>
              <a:gd name="connsiteY75" fmla="*/ 2595780 h 4681538"/>
              <a:gd name="connsiteX76" fmla="*/ 2719746 w 8785322"/>
              <a:gd name="connsiteY76" fmla="*/ 2202483 h 4681538"/>
              <a:gd name="connsiteX77" fmla="*/ 2852526 w 8785322"/>
              <a:gd name="connsiteY77" fmla="*/ 2202483 h 4681538"/>
              <a:gd name="connsiteX78" fmla="*/ 2852526 w 8785322"/>
              <a:gd name="connsiteY78" fmla="*/ 2095367 h 4681538"/>
              <a:gd name="connsiteX79" fmla="*/ 2162808 w 8785322"/>
              <a:gd name="connsiteY79" fmla="*/ 2095367 h 4681538"/>
              <a:gd name="connsiteX80" fmla="*/ 1951343 w 8785322"/>
              <a:gd name="connsiteY80" fmla="*/ 2595780 h 4681538"/>
              <a:gd name="connsiteX81" fmla="*/ 2080025 w 8785322"/>
              <a:gd name="connsiteY81" fmla="*/ 2595780 h 4681538"/>
              <a:gd name="connsiteX82" fmla="*/ 2116498 w 8785322"/>
              <a:gd name="connsiteY82" fmla="*/ 2506449 h 4681538"/>
              <a:gd name="connsiteX83" fmla="*/ 2339848 w 8785322"/>
              <a:gd name="connsiteY83" fmla="*/ 2506449 h 4681538"/>
              <a:gd name="connsiteX84" fmla="*/ 2376321 w 8785322"/>
              <a:gd name="connsiteY84" fmla="*/ 2595780 h 4681538"/>
              <a:gd name="connsiteX85" fmla="*/ 2505003 w 8785322"/>
              <a:gd name="connsiteY85" fmla="*/ 2595780 h 4681538"/>
              <a:gd name="connsiteX86" fmla="*/ 2293539 w 8785322"/>
              <a:gd name="connsiteY86" fmla="*/ 2095367 h 4681538"/>
              <a:gd name="connsiteX87" fmla="*/ 2291900 w 8785322"/>
              <a:gd name="connsiteY87" fmla="*/ 2095367 h 4681538"/>
              <a:gd name="connsiteX88" fmla="*/ 2291490 w 8785322"/>
              <a:gd name="connsiteY88" fmla="*/ 2095367 h 4681538"/>
              <a:gd name="connsiteX89" fmla="*/ 1489891 w 8785322"/>
              <a:gd name="connsiteY89" fmla="*/ 2095367 h 4681538"/>
              <a:gd name="connsiteX90" fmla="*/ 1698077 w 8785322"/>
              <a:gd name="connsiteY90" fmla="*/ 2595780 h 4681538"/>
              <a:gd name="connsiteX91" fmla="*/ 1829218 w 8785322"/>
              <a:gd name="connsiteY91" fmla="*/ 2595780 h 4681538"/>
              <a:gd name="connsiteX92" fmla="*/ 2037404 w 8785322"/>
              <a:gd name="connsiteY92" fmla="*/ 2095367 h 4681538"/>
              <a:gd name="connsiteX93" fmla="*/ 1908722 w 8785322"/>
              <a:gd name="connsiteY93" fmla="*/ 2095367 h 4681538"/>
              <a:gd name="connsiteX94" fmla="*/ 1764057 w 8785322"/>
              <a:gd name="connsiteY94" fmla="*/ 2447434 h 4681538"/>
              <a:gd name="connsiteX95" fmla="*/ 1763238 w 8785322"/>
              <a:gd name="connsiteY95" fmla="*/ 2447434 h 4681538"/>
              <a:gd name="connsiteX96" fmla="*/ 1618573 w 8785322"/>
              <a:gd name="connsiteY96" fmla="*/ 2095367 h 4681538"/>
              <a:gd name="connsiteX97" fmla="*/ 6873098 w 8785322"/>
              <a:gd name="connsiteY97" fmla="*/ 1893888 h 4681538"/>
              <a:gd name="connsiteX98" fmla="*/ 6783215 w 8785322"/>
              <a:gd name="connsiteY98" fmla="*/ 1899451 h 4681538"/>
              <a:gd name="connsiteX99" fmla="*/ 6414580 w 8785322"/>
              <a:gd name="connsiteY99" fmla="*/ 2403598 h 4681538"/>
              <a:gd name="connsiteX100" fmla="*/ 6923755 w 8785322"/>
              <a:gd name="connsiteY100" fmla="*/ 2765256 h 4681538"/>
              <a:gd name="connsiteX101" fmla="*/ 7292391 w 8785322"/>
              <a:gd name="connsiteY101" fmla="*/ 2261109 h 4681538"/>
              <a:gd name="connsiteX102" fmla="*/ 6873098 w 8785322"/>
              <a:gd name="connsiteY102" fmla="*/ 1893888 h 4681538"/>
              <a:gd name="connsiteX103" fmla="*/ 0 w 8785322"/>
              <a:gd name="connsiteY103" fmla="*/ 0 h 4681538"/>
              <a:gd name="connsiteX104" fmla="*/ 8785322 w 8785322"/>
              <a:gd name="connsiteY104" fmla="*/ 0 h 4681538"/>
              <a:gd name="connsiteX105" fmla="*/ 8785322 w 8785322"/>
              <a:gd name="connsiteY105" fmla="*/ 4681538 h 4681538"/>
              <a:gd name="connsiteX106" fmla="*/ 0 w 8785322"/>
              <a:gd name="connsiteY106" fmla="*/ 4681538 h 4681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8785322" h="4681538">
                <a:moveTo>
                  <a:pt x="5043808" y="2233607"/>
                </a:moveTo>
                <a:lnTo>
                  <a:pt x="5044628" y="2233607"/>
                </a:lnTo>
                <a:lnTo>
                  <a:pt x="5114297" y="2404588"/>
                </a:lnTo>
                <a:lnTo>
                  <a:pt x="4974550" y="2404588"/>
                </a:lnTo>
                <a:close/>
                <a:moveTo>
                  <a:pt x="2227558" y="2233607"/>
                </a:moveTo>
                <a:lnTo>
                  <a:pt x="2228378" y="2233607"/>
                </a:lnTo>
                <a:lnTo>
                  <a:pt x="2298047" y="2404588"/>
                </a:lnTo>
                <a:lnTo>
                  <a:pt x="2158300" y="2404588"/>
                </a:lnTo>
                <a:close/>
                <a:moveTo>
                  <a:pt x="5788443" y="2095367"/>
                </a:moveTo>
                <a:lnTo>
                  <a:pt x="5788443" y="2595780"/>
                </a:lnTo>
                <a:lnTo>
                  <a:pt x="6155228" y="2595780"/>
                </a:lnTo>
                <a:lnTo>
                  <a:pt x="6155228" y="2485026"/>
                </a:lnTo>
                <a:lnTo>
                  <a:pt x="5921223" y="2485026"/>
                </a:lnTo>
                <a:lnTo>
                  <a:pt x="5921223" y="2095367"/>
                </a:lnTo>
                <a:close/>
                <a:moveTo>
                  <a:pt x="5363874" y="2095367"/>
                </a:moveTo>
                <a:lnTo>
                  <a:pt x="5363874" y="2595780"/>
                </a:lnTo>
                <a:lnTo>
                  <a:pt x="5731069" y="2595780"/>
                </a:lnTo>
                <a:lnTo>
                  <a:pt x="5731069" y="2485026"/>
                </a:lnTo>
                <a:lnTo>
                  <a:pt x="5497064" y="2485026"/>
                </a:lnTo>
                <a:lnTo>
                  <a:pt x="5497064" y="2095367"/>
                </a:lnTo>
                <a:close/>
                <a:moveTo>
                  <a:pt x="4979058" y="2095367"/>
                </a:moveTo>
                <a:lnTo>
                  <a:pt x="4767593" y="2595780"/>
                </a:lnTo>
                <a:lnTo>
                  <a:pt x="4896275" y="2595780"/>
                </a:lnTo>
                <a:lnTo>
                  <a:pt x="4932748" y="2506449"/>
                </a:lnTo>
                <a:lnTo>
                  <a:pt x="5156098" y="2506449"/>
                </a:lnTo>
                <a:lnTo>
                  <a:pt x="5192571" y="2595780"/>
                </a:lnTo>
                <a:lnTo>
                  <a:pt x="5321254" y="2595780"/>
                </a:lnTo>
                <a:lnTo>
                  <a:pt x="5109789" y="2095367"/>
                </a:lnTo>
                <a:lnTo>
                  <a:pt x="5108149" y="2095367"/>
                </a:lnTo>
                <a:lnTo>
                  <a:pt x="5107739" y="2095367"/>
                </a:lnTo>
                <a:close/>
                <a:moveTo>
                  <a:pt x="4424578" y="2095367"/>
                </a:moveTo>
                <a:lnTo>
                  <a:pt x="4424578" y="2595780"/>
                </a:lnTo>
                <a:lnTo>
                  <a:pt x="4557358" y="2595780"/>
                </a:lnTo>
                <a:lnTo>
                  <a:pt x="4557358" y="2393270"/>
                </a:lnTo>
                <a:lnTo>
                  <a:pt x="4772101" y="2393270"/>
                </a:lnTo>
                <a:lnTo>
                  <a:pt x="4772101" y="2286154"/>
                </a:lnTo>
                <a:lnTo>
                  <a:pt x="4557358" y="2286154"/>
                </a:lnTo>
                <a:lnTo>
                  <a:pt x="4557358" y="2202483"/>
                </a:lnTo>
                <a:lnTo>
                  <a:pt x="4811854" y="2202483"/>
                </a:lnTo>
                <a:lnTo>
                  <a:pt x="4811854" y="2095367"/>
                </a:lnTo>
                <a:close/>
                <a:moveTo>
                  <a:pt x="3843460" y="2095367"/>
                </a:moveTo>
                <a:lnTo>
                  <a:pt x="3843460" y="2595780"/>
                </a:lnTo>
                <a:lnTo>
                  <a:pt x="3970503" y="2595780"/>
                </a:lnTo>
                <a:lnTo>
                  <a:pt x="3970503" y="2299898"/>
                </a:lnTo>
                <a:lnTo>
                  <a:pt x="4196721" y="2595780"/>
                </a:lnTo>
                <a:lnTo>
                  <a:pt x="4323354" y="2595780"/>
                </a:lnTo>
                <a:lnTo>
                  <a:pt x="4323354" y="2095367"/>
                </a:lnTo>
                <a:lnTo>
                  <a:pt x="4196721" y="2095367"/>
                </a:lnTo>
                <a:lnTo>
                  <a:pt x="4196721" y="2394887"/>
                </a:lnTo>
                <a:lnTo>
                  <a:pt x="3970503" y="2095367"/>
                </a:lnTo>
                <a:close/>
                <a:moveTo>
                  <a:pt x="3376270" y="2095367"/>
                </a:moveTo>
                <a:lnTo>
                  <a:pt x="3376270" y="2595780"/>
                </a:lnTo>
                <a:lnTo>
                  <a:pt x="3509050" y="2595780"/>
                </a:lnTo>
                <a:lnTo>
                  <a:pt x="3751661" y="2595780"/>
                </a:lnTo>
                <a:lnTo>
                  <a:pt x="3751661" y="2488664"/>
                </a:lnTo>
                <a:lnTo>
                  <a:pt x="3509050" y="2488664"/>
                </a:lnTo>
                <a:lnTo>
                  <a:pt x="3509050" y="2390037"/>
                </a:lnTo>
                <a:lnTo>
                  <a:pt x="3714777" y="2390037"/>
                </a:lnTo>
                <a:lnTo>
                  <a:pt x="3714777" y="2282921"/>
                </a:lnTo>
                <a:lnTo>
                  <a:pt x="3509050" y="2282921"/>
                </a:lnTo>
                <a:lnTo>
                  <a:pt x="3509050" y="2202483"/>
                </a:lnTo>
                <a:lnTo>
                  <a:pt x="3751661" y="2202483"/>
                </a:lnTo>
                <a:lnTo>
                  <a:pt x="3751661" y="2095367"/>
                </a:lnTo>
                <a:close/>
                <a:moveTo>
                  <a:pt x="2898835" y="2095367"/>
                </a:moveTo>
                <a:lnTo>
                  <a:pt x="2898835" y="2202483"/>
                </a:lnTo>
                <a:lnTo>
                  <a:pt x="3032025" y="2202483"/>
                </a:lnTo>
                <a:lnTo>
                  <a:pt x="3032025" y="2595780"/>
                </a:lnTo>
                <a:lnTo>
                  <a:pt x="3164805" y="2595780"/>
                </a:lnTo>
                <a:lnTo>
                  <a:pt x="3164805" y="2202483"/>
                </a:lnTo>
                <a:lnTo>
                  <a:pt x="3311929" y="2202483"/>
                </a:lnTo>
                <a:lnTo>
                  <a:pt x="3311929" y="2095367"/>
                </a:lnTo>
                <a:close/>
                <a:moveTo>
                  <a:pt x="2439842" y="2095367"/>
                </a:moveTo>
                <a:lnTo>
                  <a:pt x="2439842" y="2202483"/>
                </a:lnTo>
                <a:lnTo>
                  <a:pt x="2586966" y="2202483"/>
                </a:lnTo>
                <a:lnTo>
                  <a:pt x="2586966" y="2595780"/>
                </a:lnTo>
                <a:lnTo>
                  <a:pt x="2719746" y="2595780"/>
                </a:lnTo>
                <a:lnTo>
                  <a:pt x="2719746" y="2202483"/>
                </a:lnTo>
                <a:lnTo>
                  <a:pt x="2852526" y="2202483"/>
                </a:lnTo>
                <a:lnTo>
                  <a:pt x="2852526" y="2095367"/>
                </a:lnTo>
                <a:close/>
                <a:moveTo>
                  <a:pt x="2162808" y="2095367"/>
                </a:moveTo>
                <a:lnTo>
                  <a:pt x="1951343" y="2595780"/>
                </a:lnTo>
                <a:lnTo>
                  <a:pt x="2080025" y="2595780"/>
                </a:lnTo>
                <a:lnTo>
                  <a:pt x="2116498" y="2506449"/>
                </a:lnTo>
                <a:lnTo>
                  <a:pt x="2339848" y="2506449"/>
                </a:lnTo>
                <a:lnTo>
                  <a:pt x="2376321" y="2595780"/>
                </a:lnTo>
                <a:lnTo>
                  <a:pt x="2505003" y="2595780"/>
                </a:lnTo>
                <a:lnTo>
                  <a:pt x="2293539" y="2095367"/>
                </a:lnTo>
                <a:lnTo>
                  <a:pt x="2291900" y="2095367"/>
                </a:lnTo>
                <a:lnTo>
                  <a:pt x="2291490" y="2095367"/>
                </a:lnTo>
                <a:close/>
                <a:moveTo>
                  <a:pt x="1489891" y="2095367"/>
                </a:moveTo>
                <a:lnTo>
                  <a:pt x="1698077" y="2595780"/>
                </a:lnTo>
                <a:lnTo>
                  <a:pt x="1829218" y="2595780"/>
                </a:lnTo>
                <a:lnTo>
                  <a:pt x="2037404" y="2095367"/>
                </a:lnTo>
                <a:lnTo>
                  <a:pt x="1908722" y="2095367"/>
                </a:lnTo>
                <a:lnTo>
                  <a:pt x="1764057" y="2447434"/>
                </a:lnTo>
                <a:lnTo>
                  <a:pt x="1763238" y="2447434"/>
                </a:lnTo>
                <a:lnTo>
                  <a:pt x="1618573" y="2095367"/>
                </a:lnTo>
                <a:close/>
                <a:moveTo>
                  <a:pt x="6873098" y="1893888"/>
                </a:moveTo>
                <a:cubicBezTo>
                  <a:pt x="6843590" y="1892759"/>
                  <a:pt x="6813515" y="1894533"/>
                  <a:pt x="6783215" y="1899451"/>
                </a:cubicBezTo>
                <a:cubicBezTo>
                  <a:pt x="6540815" y="1938798"/>
                  <a:pt x="6375771" y="2164513"/>
                  <a:pt x="6414580" y="2403598"/>
                </a:cubicBezTo>
                <a:cubicBezTo>
                  <a:pt x="6453389" y="2642683"/>
                  <a:pt x="6681355" y="2804603"/>
                  <a:pt x="6923755" y="2765256"/>
                </a:cubicBezTo>
                <a:cubicBezTo>
                  <a:pt x="7166156" y="2725909"/>
                  <a:pt x="7331200" y="2500194"/>
                  <a:pt x="7292391" y="2261109"/>
                </a:cubicBezTo>
                <a:cubicBezTo>
                  <a:pt x="7258433" y="2051909"/>
                  <a:pt x="7079652" y="1901790"/>
                  <a:pt x="6873098" y="1893888"/>
                </a:cubicBezTo>
                <a:close/>
                <a:moveTo>
                  <a:pt x="0" y="0"/>
                </a:moveTo>
                <a:lnTo>
                  <a:pt x="8785322" y="0"/>
                </a:lnTo>
                <a:lnTo>
                  <a:pt x="8785322" y="4681538"/>
                </a:lnTo>
                <a:lnTo>
                  <a:pt x="0" y="4681538"/>
                </a:lnTo>
                <a:close/>
              </a:path>
            </a:pathLst>
          </a:custGeom>
          <a:blipFill dpi="0" rotWithShape="1">
            <a:blip r:embed="rId2"/>
            <a:srcRect/>
            <a:tile tx="0" ty="0" sx="100000" sy="100000" flip="none" algn="tl"/>
          </a:blipFill>
        </p:spPr>
        <p:txBody>
          <a:bodyPr wrap="square">
            <a:noAutofit/>
          </a:bodyPr>
          <a:lstStyle>
            <a:lvl1pPr algn="ctr">
              <a:buNone/>
              <a:defRPr sz="800">
                <a:solidFill>
                  <a:schemeClr val="bg1">
                    <a:lumMod val="75000"/>
                  </a:schemeClr>
                </a:solidFill>
              </a:defRPr>
            </a:lvl1pPr>
          </a:lstStyle>
          <a:p>
            <a:r>
              <a:rPr lang="en-GB" noProof="0"/>
              <a:t>Click on the icon to add an image</a:t>
            </a:r>
          </a:p>
        </p:txBody>
      </p:sp>
      <p:sp>
        <p:nvSpPr>
          <p:cNvPr id="2" name="Rektangel 1">
            <a:extLst>
              <a:ext uri="{FF2B5EF4-FFF2-40B4-BE49-F238E27FC236}">
                <a16:creationId xmlns:a16="http://schemas.microsoft.com/office/drawing/2014/main" id="{F803F8D0-F719-E241-8577-1EB6E3E95C67}"/>
              </a:ext>
            </a:extLst>
          </p:cNvPr>
          <p:cNvSpPr/>
          <p:nvPr userDrawn="1"/>
        </p:nvSpPr>
        <p:spPr>
          <a:xfrm>
            <a:off x="3949700" y="4867046"/>
            <a:ext cx="1193800" cy="276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1" name="Date">
            <a:extLst>
              <a:ext uri="{FF2B5EF4-FFF2-40B4-BE49-F238E27FC236}">
                <a16:creationId xmlns:a16="http://schemas.microsoft.com/office/drawing/2014/main" id="{38CA3AD7-12F8-9F43-820D-33071C26D41A}"/>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6E06FF07-1514-40E8-BB97-6FDA0D19EBAA}" type="datetime1">
              <a:rPr lang="sv-SE" noProof="0" smtClean="0"/>
              <a:t>2025-09-04</a:t>
            </a:fld>
            <a:endParaRPr lang="en-GB" noProof="0"/>
          </a:p>
        </p:txBody>
      </p:sp>
      <p:sp>
        <p:nvSpPr>
          <p:cNvPr id="12" name="Number">
            <a:extLst>
              <a:ext uri="{FF2B5EF4-FFF2-40B4-BE49-F238E27FC236}">
                <a16:creationId xmlns:a16="http://schemas.microsoft.com/office/drawing/2014/main" id="{DFED6C3B-4A73-344C-A9A5-F8224178884F}"/>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3" name="Footer">
            <a:extLst>
              <a:ext uri="{FF2B5EF4-FFF2-40B4-BE49-F238E27FC236}">
                <a16:creationId xmlns:a16="http://schemas.microsoft.com/office/drawing/2014/main" id="{3B9E93E1-A5C6-AE48-99D5-A7A443E60A82}"/>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p:txBody>
      </p:sp>
      <p:sp>
        <p:nvSpPr>
          <p:cNvPr id="44" name="Freeform 43" hidden="1">
            <a:extLst>
              <a:ext uri="{FF2B5EF4-FFF2-40B4-BE49-F238E27FC236}">
                <a16:creationId xmlns:a16="http://schemas.microsoft.com/office/drawing/2014/main" id="{E9FC0811-40D9-831F-DCE0-427627CDAC09}"/>
              </a:ext>
            </a:extLst>
          </p:cNvPr>
          <p:cNvSpPr/>
          <p:nvPr userDrawn="1"/>
        </p:nvSpPr>
        <p:spPr>
          <a:xfrm>
            <a:off x="1669279" y="2052311"/>
            <a:ext cx="5808155" cy="877585"/>
          </a:xfrm>
          <a:custGeom>
            <a:avLst/>
            <a:gdLst>
              <a:gd name="connsiteX0" fmla="*/ 3553917 w 5808155"/>
              <a:gd name="connsiteY0" fmla="*/ 340046 h 877585"/>
              <a:gd name="connsiteX1" fmla="*/ 3484659 w 5808155"/>
              <a:gd name="connsiteY1" fmla="*/ 511027 h 877585"/>
              <a:gd name="connsiteX2" fmla="*/ 3624406 w 5808155"/>
              <a:gd name="connsiteY2" fmla="*/ 511027 h 877585"/>
              <a:gd name="connsiteX3" fmla="*/ 3554737 w 5808155"/>
              <a:gd name="connsiteY3" fmla="*/ 340046 h 877585"/>
              <a:gd name="connsiteX4" fmla="*/ 737667 w 5808155"/>
              <a:gd name="connsiteY4" fmla="*/ 340046 h 877585"/>
              <a:gd name="connsiteX5" fmla="*/ 668409 w 5808155"/>
              <a:gd name="connsiteY5" fmla="*/ 511027 h 877585"/>
              <a:gd name="connsiteX6" fmla="*/ 808156 w 5808155"/>
              <a:gd name="connsiteY6" fmla="*/ 511027 h 877585"/>
              <a:gd name="connsiteX7" fmla="*/ 738487 w 5808155"/>
              <a:gd name="connsiteY7" fmla="*/ 340046 h 877585"/>
              <a:gd name="connsiteX8" fmla="*/ 4298552 w 5808155"/>
              <a:gd name="connsiteY8" fmla="*/ 201806 h 877585"/>
              <a:gd name="connsiteX9" fmla="*/ 4431332 w 5808155"/>
              <a:gd name="connsiteY9" fmla="*/ 201806 h 877585"/>
              <a:gd name="connsiteX10" fmla="*/ 4431332 w 5808155"/>
              <a:gd name="connsiteY10" fmla="*/ 591465 h 877585"/>
              <a:gd name="connsiteX11" fmla="*/ 4665337 w 5808155"/>
              <a:gd name="connsiteY11" fmla="*/ 591465 h 877585"/>
              <a:gd name="connsiteX12" fmla="*/ 4665337 w 5808155"/>
              <a:gd name="connsiteY12" fmla="*/ 702219 h 877585"/>
              <a:gd name="connsiteX13" fmla="*/ 4298552 w 5808155"/>
              <a:gd name="connsiteY13" fmla="*/ 702219 h 877585"/>
              <a:gd name="connsiteX14" fmla="*/ 3873983 w 5808155"/>
              <a:gd name="connsiteY14" fmla="*/ 201806 h 877585"/>
              <a:gd name="connsiteX15" fmla="*/ 4007173 w 5808155"/>
              <a:gd name="connsiteY15" fmla="*/ 201806 h 877585"/>
              <a:gd name="connsiteX16" fmla="*/ 4007173 w 5808155"/>
              <a:gd name="connsiteY16" fmla="*/ 591465 h 877585"/>
              <a:gd name="connsiteX17" fmla="*/ 4241178 w 5808155"/>
              <a:gd name="connsiteY17" fmla="*/ 591465 h 877585"/>
              <a:gd name="connsiteX18" fmla="*/ 4241178 w 5808155"/>
              <a:gd name="connsiteY18" fmla="*/ 702219 h 877585"/>
              <a:gd name="connsiteX19" fmla="*/ 3873983 w 5808155"/>
              <a:gd name="connsiteY19" fmla="*/ 702219 h 877585"/>
              <a:gd name="connsiteX20" fmla="*/ 3489167 w 5808155"/>
              <a:gd name="connsiteY20" fmla="*/ 201806 h 877585"/>
              <a:gd name="connsiteX21" fmla="*/ 3617848 w 5808155"/>
              <a:gd name="connsiteY21" fmla="*/ 201806 h 877585"/>
              <a:gd name="connsiteX22" fmla="*/ 3618258 w 5808155"/>
              <a:gd name="connsiteY22" fmla="*/ 201806 h 877585"/>
              <a:gd name="connsiteX23" fmla="*/ 3619898 w 5808155"/>
              <a:gd name="connsiteY23" fmla="*/ 201806 h 877585"/>
              <a:gd name="connsiteX24" fmla="*/ 3831363 w 5808155"/>
              <a:gd name="connsiteY24" fmla="*/ 702219 h 877585"/>
              <a:gd name="connsiteX25" fmla="*/ 3702680 w 5808155"/>
              <a:gd name="connsiteY25" fmla="*/ 702219 h 877585"/>
              <a:gd name="connsiteX26" fmla="*/ 3666207 w 5808155"/>
              <a:gd name="connsiteY26" fmla="*/ 612888 h 877585"/>
              <a:gd name="connsiteX27" fmla="*/ 3442857 w 5808155"/>
              <a:gd name="connsiteY27" fmla="*/ 612888 h 877585"/>
              <a:gd name="connsiteX28" fmla="*/ 3406384 w 5808155"/>
              <a:gd name="connsiteY28" fmla="*/ 702219 h 877585"/>
              <a:gd name="connsiteX29" fmla="*/ 3277702 w 5808155"/>
              <a:gd name="connsiteY29" fmla="*/ 702219 h 877585"/>
              <a:gd name="connsiteX30" fmla="*/ 2934687 w 5808155"/>
              <a:gd name="connsiteY30" fmla="*/ 201806 h 877585"/>
              <a:gd name="connsiteX31" fmla="*/ 3321963 w 5808155"/>
              <a:gd name="connsiteY31" fmla="*/ 201806 h 877585"/>
              <a:gd name="connsiteX32" fmla="*/ 3321963 w 5808155"/>
              <a:gd name="connsiteY32" fmla="*/ 308922 h 877585"/>
              <a:gd name="connsiteX33" fmla="*/ 3067467 w 5808155"/>
              <a:gd name="connsiteY33" fmla="*/ 308922 h 877585"/>
              <a:gd name="connsiteX34" fmla="*/ 3067467 w 5808155"/>
              <a:gd name="connsiteY34" fmla="*/ 392593 h 877585"/>
              <a:gd name="connsiteX35" fmla="*/ 3282210 w 5808155"/>
              <a:gd name="connsiteY35" fmla="*/ 392593 h 877585"/>
              <a:gd name="connsiteX36" fmla="*/ 3282210 w 5808155"/>
              <a:gd name="connsiteY36" fmla="*/ 499709 h 877585"/>
              <a:gd name="connsiteX37" fmla="*/ 3067467 w 5808155"/>
              <a:gd name="connsiteY37" fmla="*/ 499709 h 877585"/>
              <a:gd name="connsiteX38" fmla="*/ 3067467 w 5808155"/>
              <a:gd name="connsiteY38" fmla="*/ 702219 h 877585"/>
              <a:gd name="connsiteX39" fmla="*/ 2934687 w 5808155"/>
              <a:gd name="connsiteY39" fmla="*/ 702219 h 877585"/>
              <a:gd name="connsiteX40" fmla="*/ 2353569 w 5808155"/>
              <a:gd name="connsiteY40" fmla="*/ 201806 h 877585"/>
              <a:gd name="connsiteX41" fmla="*/ 2480612 w 5808155"/>
              <a:gd name="connsiteY41" fmla="*/ 201806 h 877585"/>
              <a:gd name="connsiteX42" fmla="*/ 2706830 w 5808155"/>
              <a:gd name="connsiteY42" fmla="*/ 501326 h 877585"/>
              <a:gd name="connsiteX43" fmla="*/ 2706830 w 5808155"/>
              <a:gd name="connsiteY43" fmla="*/ 201806 h 877585"/>
              <a:gd name="connsiteX44" fmla="*/ 2833463 w 5808155"/>
              <a:gd name="connsiteY44" fmla="*/ 201806 h 877585"/>
              <a:gd name="connsiteX45" fmla="*/ 2833463 w 5808155"/>
              <a:gd name="connsiteY45" fmla="*/ 702219 h 877585"/>
              <a:gd name="connsiteX46" fmla="*/ 2706830 w 5808155"/>
              <a:gd name="connsiteY46" fmla="*/ 702219 h 877585"/>
              <a:gd name="connsiteX47" fmla="*/ 2480612 w 5808155"/>
              <a:gd name="connsiteY47" fmla="*/ 406337 h 877585"/>
              <a:gd name="connsiteX48" fmla="*/ 2480612 w 5808155"/>
              <a:gd name="connsiteY48" fmla="*/ 702219 h 877585"/>
              <a:gd name="connsiteX49" fmla="*/ 2353569 w 5808155"/>
              <a:gd name="connsiteY49" fmla="*/ 702219 h 877585"/>
              <a:gd name="connsiteX50" fmla="*/ 1886379 w 5808155"/>
              <a:gd name="connsiteY50" fmla="*/ 201806 h 877585"/>
              <a:gd name="connsiteX51" fmla="*/ 2261770 w 5808155"/>
              <a:gd name="connsiteY51" fmla="*/ 201806 h 877585"/>
              <a:gd name="connsiteX52" fmla="*/ 2261770 w 5808155"/>
              <a:gd name="connsiteY52" fmla="*/ 308922 h 877585"/>
              <a:gd name="connsiteX53" fmla="*/ 2019159 w 5808155"/>
              <a:gd name="connsiteY53" fmla="*/ 308922 h 877585"/>
              <a:gd name="connsiteX54" fmla="*/ 2019159 w 5808155"/>
              <a:gd name="connsiteY54" fmla="*/ 389360 h 877585"/>
              <a:gd name="connsiteX55" fmla="*/ 2224886 w 5808155"/>
              <a:gd name="connsiteY55" fmla="*/ 389360 h 877585"/>
              <a:gd name="connsiteX56" fmla="*/ 2224886 w 5808155"/>
              <a:gd name="connsiteY56" fmla="*/ 496476 h 877585"/>
              <a:gd name="connsiteX57" fmla="*/ 2019159 w 5808155"/>
              <a:gd name="connsiteY57" fmla="*/ 496476 h 877585"/>
              <a:gd name="connsiteX58" fmla="*/ 2019159 w 5808155"/>
              <a:gd name="connsiteY58" fmla="*/ 595103 h 877585"/>
              <a:gd name="connsiteX59" fmla="*/ 2261770 w 5808155"/>
              <a:gd name="connsiteY59" fmla="*/ 595103 h 877585"/>
              <a:gd name="connsiteX60" fmla="*/ 2261770 w 5808155"/>
              <a:gd name="connsiteY60" fmla="*/ 702219 h 877585"/>
              <a:gd name="connsiteX61" fmla="*/ 2019159 w 5808155"/>
              <a:gd name="connsiteY61" fmla="*/ 702219 h 877585"/>
              <a:gd name="connsiteX62" fmla="*/ 1886379 w 5808155"/>
              <a:gd name="connsiteY62" fmla="*/ 702219 h 877585"/>
              <a:gd name="connsiteX63" fmla="*/ 1408944 w 5808155"/>
              <a:gd name="connsiteY63" fmla="*/ 201806 h 877585"/>
              <a:gd name="connsiteX64" fmla="*/ 1822038 w 5808155"/>
              <a:gd name="connsiteY64" fmla="*/ 201806 h 877585"/>
              <a:gd name="connsiteX65" fmla="*/ 1822038 w 5808155"/>
              <a:gd name="connsiteY65" fmla="*/ 308922 h 877585"/>
              <a:gd name="connsiteX66" fmla="*/ 1674914 w 5808155"/>
              <a:gd name="connsiteY66" fmla="*/ 308922 h 877585"/>
              <a:gd name="connsiteX67" fmla="*/ 1674914 w 5808155"/>
              <a:gd name="connsiteY67" fmla="*/ 702219 h 877585"/>
              <a:gd name="connsiteX68" fmla="*/ 1542134 w 5808155"/>
              <a:gd name="connsiteY68" fmla="*/ 702219 h 877585"/>
              <a:gd name="connsiteX69" fmla="*/ 1542134 w 5808155"/>
              <a:gd name="connsiteY69" fmla="*/ 308922 h 877585"/>
              <a:gd name="connsiteX70" fmla="*/ 1408944 w 5808155"/>
              <a:gd name="connsiteY70" fmla="*/ 308922 h 877585"/>
              <a:gd name="connsiteX71" fmla="*/ 949951 w 5808155"/>
              <a:gd name="connsiteY71" fmla="*/ 201806 h 877585"/>
              <a:gd name="connsiteX72" fmla="*/ 1362635 w 5808155"/>
              <a:gd name="connsiteY72" fmla="*/ 201806 h 877585"/>
              <a:gd name="connsiteX73" fmla="*/ 1362635 w 5808155"/>
              <a:gd name="connsiteY73" fmla="*/ 308922 h 877585"/>
              <a:gd name="connsiteX74" fmla="*/ 1229855 w 5808155"/>
              <a:gd name="connsiteY74" fmla="*/ 308922 h 877585"/>
              <a:gd name="connsiteX75" fmla="*/ 1229855 w 5808155"/>
              <a:gd name="connsiteY75" fmla="*/ 702219 h 877585"/>
              <a:gd name="connsiteX76" fmla="*/ 1097075 w 5808155"/>
              <a:gd name="connsiteY76" fmla="*/ 702219 h 877585"/>
              <a:gd name="connsiteX77" fmla="*/ 1097075 w 5808155"/>
              <a:gd name="connsiteY77" fmla="*/ 308922 h 877585"/>
              <a:gd name="connsiteX78" fmla="*/ 949951 w 5808155"/>
              <a:gd name="connsiteY78" fmla="*/ 308922 h 877585"/>
              <a:gd name="connsiteX79" fmla="*/ 672917 w 5808155"/>
              <a:gd name="connsiteY79" fmla="*/ 201806 h 877585"/>
              <a:gd name="connsiteX80" fmla="*/ 801599 w 5808155"/>
              <a:gd name="connsiteY80" fmla="*/ 201806 h 877585"/>
              <a:gd name="connsiteX81" fmla="*/ 802009 w 5808155"/>
              <a:gd name="connsiteY81" fmla="*/ 201806 h 877585"/>
              <a:gd name="connsiteX82" fmla="*/ 803648 w 5808155"/>
              <a:gd name="connsiteY82" fmla="*/ 201806 h 877585"/>
              <a:gd name="connsiteX83" fmla="*/ 1015112 w 5808155"/>
              <a:gd name="connsiteY83" fmla="*/ 702219 h 877585"/>
              <a:gd name="connsiteX84" fmla="*/ 886430 w 5808155"/>
              <a:gd name="connsiteY84" fmla="*/ 702219 h 877585"/>
              <a:gd name="connsiteX85" fmla="*/ 849957 w 5808155"/>
              <a:gd name="connsiteY85" fmla="*/ 612888 h 877585"/>
              <a:gd name="connsiteX86" fmla="*/ 626607 w 5808155"/>
              <a:gd name="connsiteY86" fmla="*/ 612888 h 877585"/>
              <a:gd name="connsiteX87" fmla="*/ 590134 w 5808155"/>
              <a:gd name="connsiteY87" fmla="*/ 702219 h 877585"/>
              <a:gd name="connsiteX88" fmla="*/ 461452 w 5808155"/>
              <a:gd name="connsiteY88" fmla="*/ 702219 h 877585"/>
              <a:gd name="connsiteX89" fmla="*/ 0 w 5808155"/>
              <a:gd name="connsiteY89" fmla="*/ 201806 h 877585"/>
              <a:gd name="connsiteX90" fmla="*/ 128682 w 5808155"/>
              <a:gd name="connsiteY90" fmla="*/ 201806 h 877585"/>
              <a:gd name="connsiteX91" fmla="*/ 273347 w 5808155"/>
              <a:gd name="connsiteY91" fmla="*/ 553873 h 877585"/>
              <a:gd name="connsiteX92" fmla="*/ 274166 w 5808155"/>
              <a:gd name="connsiteY92" fmla="*/ 553873 h 877585"/>
              <a:gd name="connsiteX93" fmla="*/ 418831 w 5808155"/>
              <a:gd name="connsiteY93" fmla="*/ 201806 h 877585"/>
              <a:gd name="connsiteX94" fmla="*/ 547513 w 5808155"/>
              <a:gd name="connsiteY94" fmla="*/ 201806 h 877585"/>
              <a:gd name="connsiteX95" fmla="*/ 339327 w 5808155"/>
              <a:gd name="connsiteY95" fmla="*/ 702219 h 877585"/>
              <a:gd name="connsiteX96" fmla="*/ 208186 w 5808155"/>
              <a:gd name="connsiteY96" fmla="*/ 702219 h 877585"/>
              <a:gd name="connsiteX97" fmla="*/ 5383207 w 5808155"/>
              <a:gd name="connsiteY97" fmla="*/ 327 h 877585"/>
              <a:gd name="connsiteX98" fmla="*/ 5802500 w 5808155"/>
              <a:gd name="connsiteY98" fmla="*/ 367548 h 877585"/>
              <a:gd name="connsiteX99" fmla="*/ 5433864 w 5808155"/>
              <a:gd name="connsiteY99" fmla="*/ 871695 h 877585"/>
              <a:gd name="connsiteX100" fmla="*/ 4924689 w 5808155"/>
              <a:gd name="connsiteY100" fmla="*/ 510037 h 877585"/>
              <a:gd name="connsiteX101" fmla="*/ 5293324 w 5808155"/>
              <a:gd name="connsiteY101" fmla="*/ 5890 h 877585"/>
              <a:gd name="connsiteX102" fmla="*/ 5383207 w 5808155"/>
              <a:gd name="connsiteY102" fmla="*/ 327 h 877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808155" h="877585">
                <a:moveTo>
                  <a:pt x="3553917" y="340046"/>
                </a:moveTo>
                <a:lnTo>
                  <a:pt x="3484659" y="511027"/>
                </a:lnTo>
                <a:lnTo>
                  <a:pt x="3624406" y="511027"/>
                </a:lnTo>
                <a:lnTo>
                  <a:pt x="3554737" y="340046"/>
                </a:lnTo>
                <a:close/>
                <a:moveTo>
                  <a:pt x="737667" y="340046"/>
                </a:moveTo>
                <a:lnTo>
                  <a:pt x="668409" y="511027"/>
                </a:lnTo>
                <a:lnTo>
                  <a:pt x="808156" y="511027"/>
                </a:lnTo>
                <a:lnTo>
                  <a:pt x="738487" y="340046"/>
                </a:lnTo>
                <a:close/>
                <a:moveTo>
                  <a:pt x="4298552" y="201806"/>
                </a:moveTo>
                <a:lnTo>
                  <a:pt x="4431332" y="201806"/>
                </a:lnTo>
                <a:lnTo>
                  <a:pt x="4431332" y="591465"/>
                </a:lnTo>
                <a:lnTo>
                  <a:pt x="4665337" y="591465"/>
                </a:lnTo>
                <a:lnTo>
                  <a:pt x="4665337" y="702219"/>
                </a:lnTo>
                <a:lnTo>
                  <a:pt x="4298552" y="702219"/>
                </a:lnTo>
                <a:close/>
                <a:moveTo>
                  <a:pt x="3873983" y="201806"/>
                </a:moveTo>
                <a:lnTo>
                  <a:pt x="4007173" y="201806"/>
                </a:lnTo>
                <a:lnTo>
                  <a:pt x="4007173" y="591465"/>
                </a:lnTo>
                <a:lnTo>
                  <a:pt x="4241178" y="591465"/>
                </a:lnTo>
                <a:lnTo>
                  <a:pt x="4241178" y="702219"/>
                </a:lnTo>
                <a:lnTo>
                  <a:pt x="3873983" y="702219"/>
                </a:lnTo>
                <a:close/>
                <a:moveTo>
                  <a:pt x="3489167" y="201806"/>
                </a:moveTo>
                <a:lnTo>
                  <a:pt x="3617848" y="201806"/>
                </a:lnTo>
                <a:lnTo>
                  <a:pt x="3618258" y="201806"/>
                </a:lnTo>
                <a:lnTo>
                  <a:pt x="3619898" y="201806"/>
                </a:lnTo>
                <a:lnTo>
                  <a:pt x="3831363" y="702219"/>
                </a:lnTo>
                <a:lnTo>
                  <a:pt x="3702680" y="702219"/>
                </a:lnTo>
                <a:lnTo>
                  <a:pt x="3666207" y="612888"/>
                </a:lnTo>
                <a:lnTo>
                  <a:pt x="3442857" y="612888"/>
                </a:lnTo>
                <a:lnTo>
                  <a:pt x="3406384" y="702219"/>
                </a:lnTo>
                <a:lnTo>
                  <a:pt x="3277702" y="702219"/>
                </a:lnTo>
                <a:close/>
                <a:moveTo>
                  <a:pt x="2934687" y="201806"/>
                </a:moveTo>
                <a:lnTo>
                  <a:pt x="3321963" y="201806"/>
                </a:lnTo>
                <a:lnTo>
                  <a:pt x="3321963" y="308922"/>
                </a:lnTo>
                <a:lnTo>
                  <a:pt x="3067467" y="308922"/>
                </a:lnTo>
                <a:lnTo>
                  <a:pt x="3067467" y="392593"/>
                </a:lnTo>
                <a:lnTo>
                  <a:pt x="3282210" y="392593"/>
                </a:lnTo>
                <a:lnTo>
                  <a:pt x="3282210" y="499709"/>
                </a:lnTo>
                <a:lnTo>
                  <a:pt x="3067467" y="499709"/>
                </a:lnTo>
                <a:lnTo>
                  <a:pt x="3067467" y="702219"/>
                </a:lnTo>
                <a:lnTo>
                  <a:pt x="2934687" y="702219"/>
                </a:lnTo>
                <a:close/>
                <a:moveTo>
                  <a:pt x="2353569" y="201806"/>
                </a:moveTo>
                <a:lnTo>
                  <a:pt x="2480612" y="201806"/>
                </a:lnTo>
                <a:lnTo>
                  <a:pt x="2706830" y="501326"/>
                </a:lnTo>
                <a:lnTo>
                  <a:pt x="2706830" y="201806"/>
                </a:lnTo>
                <a:lnTo>
                  <a:pt x="2833463" y="201806"/>
                </a:lnTo>
                <a:lnTo>
                  <a:pt x="2833463" y="702219"/>
                </a:lnTo>
                <a:lnTo>
                  <a:pt x="2706830" y="702219"/>
                </a:lnTo>
                <a:lnTo>
                  <a:pt x="2480612" y="406337"/>
                </a:lnTo>
                <a:lnTo>
                  <a:pt x="2480612" y="702219"/>
                </a:lnTo>
                <a:lnTo>
                  <a:pt x="2353569" y="702219"/>
                </a:lnTo>
                <a:close/>
                <a:moveTo>
                  <a:pt x="1886379" y="201806"/>
                </a:moveTo>
                <a:lnTo>
                  <a:pt x="2261770" y="201806"/>
                </a:lnTo>
                <a:lnTo>
                  <a:pt x="2261770" y="308922"/>
                </a:lnTo>
                <a:lnTo>
                  <a:pt x="2019159" y="308922"/>
                </a:lnTo>
                <a:lnTo>
                  <a:pt x="2019159" y="389360"/>
                </a:lnTo>
                <a:lnTo>
                  <a:pt x="2224886" y="389360"/>
                </a:lnTo>
                <a:lnTo>
                  <a:pt x="2224886" y="496476"/>
                </a:lnTo>
                <a:lnTo>
                  <a:pt x="2019159" y="496476"/>
                </a:lnTo>
                <a:lnTo>
                  <a:pt x="2019159" y="595103"/>
                </a:lnTo>
                <a:lnTo>
                  <a:pt x="2261770" y="595103"/>
                </a:lnTo>
                <a:lnTo>
                  <a:pt x="2261770" y="702219"/>
                </a:lnTo>
                <a:lnTo>
                  <a:pt x="2019159" y="702219"/>
                </a:lnTo>
                <a:lnTo>
                  <a:pt x="1886379" y="702219"/>
                </a:lnTo>
                <a:close/>
                <a:moveTo>
                  <a:pt x="1408944" y="201806"/>
                </a:moveTo>
                <a:lnTo>
                  <a:pt x="1822038" y="201806"/>
                </a:lnTo>
                <a:lnTo>
                  <a:pt x="1822038" y="308922"/>
                </a:lnTo>
                <a:lnTo>
                  <a:pt x="1674914" y="308922"/>
                </a:lnTo>
                <a:lnTo>
                  <a:pt x="1674914" y="702219"/>
                </a:lnTo>
                <a:lnTo>
                  <a:pt x="1542134" y="702219"/>
                </a:lnTo>
                <a:lnTo>
                  <a:pt x="1542134" y="308922"/>
                </a:lnTo>
                <a:lnTo>
                  <a:pt x="1408944" y="308922"/>
                </a:lnTo>
                <a:close/>
                <a:moveTo>
                  <a:pt x="949951" y="201806"/>
                </a:moveTo>
                <a:lnTo>
                  <a:pt x="1362635" y="201806"/>
                </a:lnTo>
                <a:lnTo>
                  <a:pt x="1362635" y="308922"/>
                </a:lnTo>
                <a:lnTo>
                  <a:pt x="1229855" y="308922"/>
                </a:lnTo>
                <a:lnTo>
                  <a:pt x="1229855" y="702219"/>
                </a:lnTo>
                <a:lnTo>
                  <a:pt x="1097075" y="702219"/>
                </a:lnTo>
                <a:lnTo>
                  <a:pt x="1097075" y="308922"/>
                </a:lnTo>
                <a:lnTo>
                  <a:pt x="949951" y="308922"/>
                </a:lnTo>
                <a:close/>
                <a:moveTo>
                  <a:pt x="672917" y="201806"/>
                </a:moveTo>
                <a:lnTo>
                  <a:pt x="801599" y="201806"/>
                </a:lnTo>
                <a:lnTo>
                  <a:pt x="802009" y="201806"/>
                </a:lnTo>
                <a:lnTo>
                  <a:pt x="803648" y="201806"/>
                </a:lnTo>
                <a:lnTo>
                  <a:pt x="1015112" y="702219"/>
                </a:lnTo>
                <a:lnTo>
                  <a:pt x="886430" y="702219"/>
                </a:lnTo>
                <a:lnTo>
                  <a:pt x="849957" y="612888"/>
                </a:lnTo>
                <a:lnTo>
                  <a:pt x="626607" y="612888"/>
                </a:lnTo>
                <a:lnTo>
                  <a:pt x="590134" y="702219"/>
                </a:lnTo>
                <a:lnTo>
                  <a:pt x="461452" y="702219"/>
                </a:lnTo>
                <a:close/>
                <a:moveTo>
                  <a:pt x="0" y="201806"/>
                </a:moveTo>
                <a:lnTo>
                  <a:pt x="128682" y="201806"/>
                </a:lnTo>
                <a:lnTo>
                  <a:pt x="273347" y="553873"/>
                </a:lnTo>
                <a:lnTo>
                  <a:pt x="274166" y="553873"/>
                </a:lnTo>
                <a:lnTo>
                  <a:pt x="418831" y="201806"/>
                </a:lnTo>
                <a:lnTo>
                  <a:pt x="547513" y="201806"/>
                </a:lnTo>
                <a:lnTo>
                  <a:pt x="339327" y="702219"/>
                </a:lnTo>
                <a:lnTo>
                  <a:pt x="208186" y="702219"/>
                </a:lnTo>
                <a:close/>
                <a:moveTo>
                  <a:pt x="5383207" y="327"/>
                </a:moveTo>
                <a:cubicBezTo>
                  <a:pt x="5589761" y="8229"/>
                  <a:pt x="5768542" y="158348"/>
                  <a:pt x="5802500" y="367548"/>
                </a:cubicBezTo>
                <a:cubicBezTo>
                  <a:pt x="5841309" y="606633"/>
                  <a:pt x="5676265" y="832348"/>
                  <a:pt x="5433864" y="871695"/>
                </a:cubicBezTo>
                <a:cubicBezTo>
                  <a:pt x="5191464" y="911042"/>
                  <a:pt x="4963498" y="749122"/>
                  <a:pt x="4924689" y="510037"/>
                </a:cubicBezTo>
                <a:cubicBezTo>
                  <a:pt x="4885880" y="270952"/>
                  <a:pt x="5050924" y="45237"/>
                  <a:pt x="5293324" y="5890"/>
                </a:cubicBezTo>
                <a:cubicBezTo>
                  <a:pt x="5323624" y="972"/>
                  <a:pt x="5353699" y="-802"/>
                  <a:pt x="5383207" y="327"/>
                </a:cubicBezTo>
                <a:close/>
              </a:path>
            </a:pathLst>
          </a:custGeom>
          <a:solidFill>
            <a:srgbClr val="0C65AF"/>
          </a:solidFill>
          <a:ln w="0" cap="flat">
            <a:noFill/>
            <a:prstDash val="solid"/>
            <a:miter/>
          </a:ln>
        </p:spPr>
        <p:txBody>
          <a:bodyPr rtlCol="0" anchor="ctr"/>
          <a:lstStyle/>
          <a:p>
            <a:endParaRPr lang="en-GB"/>
          </a:p>
        </p:txBody>
      </p:sp>
      <p:sp>
        <p:nvSpPr>
          <p:cNvPr id="6" name="Title 2">
            <a:extLst>
              <a:ext uri="{FF2B5EF4-FFF2-40B4-BE49-F238E27FC236}">
                <a16:creationId xmlns:a16="http://schemas.microsoft.com/office/drawing/2014/main" id="{A23CE6CE-A2B8-0881-C502-785080745644}"/>
              </a:ext>
            </a:extLst>
          </p:cNvPr>
          <p:cNvSpPr>
            <a:spLocks noGrp="1"/>
          </p:cNvSpPr>
          <p:nvPr>
            <p:ph type="title" hasCustomPrompt="1"/>
          </p:nvPr>
        </p:nvSpPr>
        <p:spPr>
          <a:xfrm>
            <a:off x="323850" y="-1070389"/>
            <a:ext cx="8496300" cy="527051"/>
          </a:xfrm>
        </p:spPr>
        <p:txBody>
          <a:bodyPr/>
          <a:lstStyle>
            <a:lvl1pPr marL="0" marR="0" indent="0" algn="l" defTabSz="685800" rtl="0" eaLnBrk="1" fontAlgn="auto" latinLnBrk="0" hangingPunct="1">
              <a:lnSpc>
                <a:spcPct val="95000"/>
              </a:lnSpc>
              <a:spcBef>
                <a:spcPct val="0"/>
              </a:spcBef>
              <a:spcAft>
                <a:spcPts val="0"/>
              </a:spcAft>
              <a:buClrTx/>
              <a:buSzTx/>
              <a:buFontTx/>
              <a:buNone/>
              <a:tabLst/>
              <a:defRPr/>
            </a:lvl1pPr>
          </a:lstStyle>
          <a:p>
            <a:r>
              <a:rPr lang="en-GB"/>
              <a:t>Click to add hidden slide title for accessibility</a:t>
            </a:r>
          </a:p>
        </p:txBody>
      </p:sp>
    </p:spTree>
    <p:extLst>
      <p:ext uri="{BB962C8B-B14F-4D97-AF65-F5344CB8AC3E}">
        <p14:creationId xmlns:p14="http://schemas.microsoft.com/office/powerpoint/2010/main" val="141790490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Statement/Insight">
    <p:bg>
      <p:bgPr>
        <a:solidFill>
          <a:schemeClr val="bg2"/>
        </a:solidFill>
        <a:effectLst/>
      </p:bgPr>
    </p:bg>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A55878FD-9E3E-1D42-8830-1CCBED7F67BF}"/>
              </a:ext>
            </a:extLst>
          </p:cNvPr>
          <p:cNvSpPr>
            <a:spLocks noGrp="1"/>
          </p:cNvSpPr>
          <p:nvPr>
            <p:ph type="title" hasCustomPrompt="1"/>
          </p:nvPr>
        </p:nvSpPr>
        <p:spPr>
          <a:xfrm>
            <a:off x="324000" y="1719827"/>
            <a:ext cx="8496000" cy="1560972"/>
          </a:xfrm>
        </p:spPr>
        <p:txBody>
          <a:bodyPr lIns="216000" rIns="216000" anchor="ctr"/>
          <a:lstStyle>
            <a:lvl1pPr algn="ctr">
              <a:defRPr sz="4400">
                <a:solidFill>
                  <a:schemeClr val="tx1"/>
                </a:solidFill>
              </a:defRPr>
            </a:lvl1pPr>
          </a:lstStyle>
          <a:p>
            <a:r>
              <a:rPr lang="en-GB" noProof="0"/>
              <a:t>Click to add statement </a:t>
            </a:r>
            <a:br>
              <a:rPr lang="en-GB" noProof="0"/>
            </a:br>
            <a:r>
              <a:rPr lang="en-GB" noProof="0"/>
              <a:t>or insight</a:t>
            </a:r>
          </a:p>
        </p:txBody>
      </p:sp>
      <p:sp>
        <p:nvSpPr>
          <p:cNvPr id="11" name="Date">
            <a:extLst>
              <a:ext uri="{FF2B5EF4-FFF2-40B4-BE49-F238E27FC236}">
                <a16:creationId xmlns:a16="http://schemas.microsoft.com/office/drawing/2014/main" id="{38CA3AD7-12F8-9F43-820D-33071C26D41A}"/>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DAAED4C9-635A-485E-AEA8-32DCE094E510}" type="datetime1">
              <a:rPr lang="sv-SE" noProof="0" smtClean="0"/>
              <a:t>2025-09-04</a:t>
            </a:fld>
            <a:endParaRPr lang="en-GB" noProof="0"/>
          </a:p>
        </p:txBody>
      </p:sp>
      <p:sp>
        <p:nvSpPr>
          <p:cNvPr id="12" name="Number">
            <a:extLst>
              <a:ext uri="{FF2B5EF4-FFF2-40B4-BE49-F238E27FC236}">
                <a16:creationId xmlns:a16="http://schemas.microsoft.com/office/drawing/2014/main" id="{DFED6C3B-4A73-344C-A9A5-F8224178884F}"/>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8" name="Footer">
            <a:extLst>
              <a:ext uri="{FF2B5EF4-FFF2-40B4-BE49-F238E27FC236}">
                <a16:creationId xmlns:a16="http://schemas.microsoft.com/office/drawing/2014/main" id="{F76D3661-5BD5-6848-A702-AC0A276D4C4A}"/>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3659860823"/>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p>
        </p:txBody>
      </p:sp>
    </p:spTree>
    <p:extLst>
      <p:ext uri="{BB962C8B-B14F-4D97-AF65-F5344CB8AC3E}">
        <p14:creationId xmlns:p14="http://schemas.microsoft.com/office/powerpoint/2010/main" val="232636302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7" name="Content Placeholder 6"/>
          <p:cNvSpPr>
            <a:spLocks noGrp="1"/>
          </p:cNvSpPr>
          <p:nvPr>
            <p:ph sz="quarter" idx="10" hasCustomPrompt="1"/>
          </p:nvPr>
        </p:nvSpPr>
        <p:spPr/>
        <p:txBody>
          <a:bodyPr/>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761579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Key Issu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7" name="Content Placeholder 6"/>
          <p:cNvSpPr>
            <a:spLocks noGrp="1"/>
          </p:cNvSpPr>
          <p:nvPr>
            <p:ph sz="quarter" idx="10" hasCustomPrompt="1"/>
          </p:nvPr>
        </p:nvSpPr>
        <p:spPr/>
        <p:txBody>
          <a:bodyPr/>
          <a:lstStyle>
            <a:lvl1pPr marL="274320" indent="-274320">
              <a:buFont typeface="+mj-lt"/>
              <a:buAutoNum type="arabicPeriod"/>
              <a:defRPr/>
            </a:lvl1pPr>
            <a:lvl2pPr marL="644652">
              <a:defRPr/>
            </a:lvl2pPr>
            <a:lvl3pPr marL="973836" indent="-185166">
              <a:defRPr/>
            </a:lvl3pPr>
            <a:lvl4pPr marL="1344168" indent="-240030">
              <a:defRPr/>
            </a:lvl4pPr>
            <a:lvl5pPr marL="1673352">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744412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Key Issues - Gre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7" name="Content Placeholder 6"/>
          <p:cNvSpPr>
            <a:spLocks noGrp="1"/>
          </p:cNvSpPr>
          <p:nvPr>
            <p:ph sz="quarter" idx="10" hasCustomPrompt="1"/>
          </p:nvPr>
        </p:nvSpPr>
        <p:spPr/>
        <p:txBody>
          <a:bodyPr/>
          <a:lstStyle>
            <a:lvl1pPr marL="274320" indent="-274320">
              <a:buClrTx/>
              <a:buFont typeface="+mj-lt"/>
              <a:buAutoNum type="arabicPeriod"/>
              <a:defRPr>
                <a:solidFill>
                  <a:srgbClr val="979D9D"/>
                </a:solidFill>
              </a:defRPr>
            </a:lvl1pPr>
            <a:lvl2pPr marL="644652">
              <a:buClr>
                <a:srgbClr val="979D9D"/>
              </a:buClr>
              <a:defRPr>
                <a:solidFill>
                  <a:srgbClr val="979D9D"/>
                </a:solidFill>
              </a:defRPr>
            </a:lvl2pPr>
            <a:lvl3pPr marL="973836">
              <a:buClr>
                <a:srgbClr val="979D9D"/>
              </a:buClr>
              <a:defRPr>
                <a:solidFill>
                  <a:srgbClr val="979D9D"/>
                </a:solidFill>
              </a:defRPr>
            </a:lvl3pPr>
            <a:lvl4pPr marL="1344168">
              <a:buClr>
                <a:srgbClr val="979D9D"/>
              </a:buClr>
              <a:defRPr>
                <a:solidFill>
                  <a:srgbClr val="979D9D"/>
                </a:solidFill>
              </a:defRPr>
            </a:lvl4pPr>
            <a:lvl5pPr marL="1673352">
              <a:buClr>
                <a:srgbClr val="979D9D"/>
              </a:buClr>
              <a:defRPr>
                <a:solidFill>
                  <a:srgbClr val="979D9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987640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5" name="Content Placeholder 4"/>
          <p:cNvSpPr>
            <a:spLocks noGrp="1"/>
          </p:cNvSpPr>
          <p:nvPr>
            <p:ph sz="quarter" idx="10" hasCustomPrompt="1"/>
          </p:nvPr>
        </p:nvSpPr>
        <p:spPr>
          <a:xfrm>
            <a:off x="342900" y="1145382"/>
            <a:ext cx="4124325" cy="334565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735869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6" name="Text Placeholder 5"/>
          <p:cNvSpPr>
            <a:spLocks noGrp="1"/>
          </p:cNvSpPr>
          <p:nvPr>
            <p:ph type="body" sz="quarter" idx="10" hasCustomPrompt="1"/>
          </p:nvPr>
        </p:nvSpPr>
        <p:spPr>
          <a:xfrm>
            <a:off x="342900" y="1145382"/>
            <a:ext cx="4124325" cy="334565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1" hasCustomPrompt="1"/>
          </p:nvPr>
        </p:nvSpPr>
        <p:spPr>
          <a:xfrm>
            <a:off x="4675585" y="1145382"/>
            <a:ext cx="4124325" cy="3345656"/>
          </a:xfrm>
        </p:spPr>
        <p:txBody>
          <a:bodyPr/>
          <a:lstStyle>
            <a:lvl1pPr>
              <a:buClrTx/>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773710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PA Ban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12" name="Text Placeholder 11"/>
          <p:cNvSpPr>
            <a:spLocks noGrp="1"/>
          </p:cNvSpPr>
          <p:nvPr>
            <p:ph type="body" sz="quarter" idx="13" hasCustomPrompt="1"/>
          </p:nvPr>
        </p:nvSpPr>
        <p:spPr>
          <a:xfrm>
            <a:off x="342901" y="1644968"/>
            <a:ext cx="4124325" cy="2846070"/>
          </a:xfrm>
        </p:spPr>
        <p:txBody>
          <a:bodyPr>
            <a:noAutofit/>
          </a:bodyPr>
          <a:lstStyle>
            <a:lvl1pPr marL="0" indent="0">
              <a:buNone/>
              <a:defRPr sz="1800" b="1"/>
            </a:lvl1pPr>
            <a:lvl2pPr marL="185166" indent="-185166">
              <a:buClrTx/>
              <a:buSzPct val="100000"/>
              <a:buFont typeface="Arial" panose="020B0604020202020204" pitchFamily="34" charset="0"/>
              <a:buChar char="•"/>
              <a:defRPr sz="1800"/>
            </a:lvl2pPr>
            <a:lvl3pPr marL="555498" indent="-233172">
              <a:buFont typeface="Arial" panose="020B0604020202020204" pitchFamily="34" charset="0"/>
              <a:buChar char="–"/>
              <a:defRPr sz="1800"/>
            </a:lvl3pPr>
            <a:lvl4pPr marL="884682" indent="-185166">
              <a:buSzPct val="100000"/>
              <a:buFont typeface="Arial" panose="020B0604020202020204" pitchFamily="34" charset="0"/>
              <a:buChar char="•"/>
              <a:defRPr sz="1800"/>
            </a:lvl4pPr>
            <a:lvl5pPr marL="1255014" indent="-240030">
              <a:buFont typeface="Arial" panose="020B0604020202020204" pitchFamily="34" charset="0"/>
              <a:buChar cha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5" hasCustomPrompt="1"/>
          </p:nvPr>
        </p:nvSpPr>
        <p:spPr bwMode="ltGray">
          <a:xfrm>
            <a:off x="342900" y="732235"/>
            <a:ext cx="8457010" cy="785813"/>
          </a:xfrm>
          <a:solidFill>
            <a:srgbClr val="002856"/>
          </a:solidFill>
        </p:spPr>
        <p:txBody>
          <a:bodyPr lIns="137160" rIns="91440" anchor="ctr" anchorCtr="0"/>
          <a:lstStyle>
            <a:lvl1pPr marL="0" indent="0">
              <a:spcBef>
                <a:spcPts val="450"/>
              </a:spcBef>
              <a:buNone/>
              <a:defRPr sz="1800">
                <a:solidFill>
                  <a:srgbClr val="FFFFFF"/>
                </a:solidFill>
              </a:defRPr>
            </a:lvl1pPr>
          </a:lstStyle>
          <a:p>
            <a:pPr lvl="0"/>
            <a:r>
              <a:rPr lang="en-US"/>
              <a:t>Edit Master text styles</a:t>
            </a:r>
          </a:p>
        </p:txBody>
      </p:sp>
      <p:sp>
        <p:nvSpPr>
          <p:cNvPr id="7" name="Text Placeholder 11"/>
          <p:cNvSpPr>
            <a:spLocks noGrp="1"/>
          </p:cNvSpPr>
          <p:nvPr>
            <p:ph type="body" sz="quarter" idx="16" hasCustomPrompt="1"/>
          </p:nvPr>
        </p:nvSpPr>
        <p:spPr>
          <a:xfrm>
            <a:off x="4675585" y="1644968"/>
            <a:ext cx="4124325" cy="2846070"/>
          </a:xfrm>
        </p:spPr>
        <p:txBody>
          <a:bodyPr>
            <a:noAutofit/>
          </a:bodyPr>
          <a:lstStyle>
            <a:lvl1pPr marL="0" indent="0">
              <a:buNone/>
              <a:defRPr sz="1800" b="1"/>
            </a:lvl1pPr>
            <a:lvl2pPr marL="185166" indent="-185166">
              <a:buClrTx/>
              <a:buSzPct val="100000"/>
              <a:buFont typeface="Arial" panose="020B0604020202020204" pitchFamily="34" charset="0"/>
              <a:buChar char="•"/>
              <a:defRPr sz="1800"/>
            </a:lvl2pPr>
            <a:lvl3pPr marL="555498" indent="-233172">
              <a:buFont typeface="Arial" panose="020B0604020202020204" pitchFamily="34" charset="0"/>
              <a:buChar char="–"/>
              <a:defRPr sz="1800"/>
            </a:lvl3pPr>
            <a:lvl4pPr marL="884682" indent="-185166">
              <a:buSzPct val="100000"/>
              <a:buFont typeface="Arial" panose="020B0604020202020204" pitchFamily="34" charset="0"/>
              <a:buChar char="•"/>
              <a:defRPr sz="1800"/>
            </a:lvl4pPr>
            <a:lvl5pPr marL="1255014" indent="-240030">
              <a:buFont typeface="Arial" panose="020B0604020202020204" pitchFamily="34" charset="0"/>
              <a:buChar cha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149774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Recommendatio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5" name="Text Placeholder 4">
            <a:extLst>
              <a:ext uri="{FF2B5EF4-FFF2-40B4-BE49-F238E27FC236}">
                <a16:creationId xmlns:a16="http://schemas.microsoft.com/office/drawing/2014/main" id="{DE8D9AD6-0FE7-4371-839A-F97CD97F5DFF}"/>
              </a:ext>
            </a:extLst>
          </p:cNvPr>
          <p:cNvSpPr>
            <a:spLocks noGrp="1"/>
          </p:cNvSpPr>
          <p:nvPr>
            <p:ph type="body" sz="quarter" idx="10" hasCustomPrompt="1"/>
          </p:nvPr>
        </p:nvSpPr>
        <p:spPr/>
        <p:txBody>
          <a:bodyPr/>
          <a:lstStyle>
            <a:lvl1pPr marL="342900" indent="-342900">
              <a:buSzPct val="130000"/>
              <a:buFontTx/>
              <a:buBlip>
                <a:blip r:embed="rId2">
                  <a:extLst>
                    <a:ext uri="{96DAC541-7B7A-43D3-8B79-37D633B846F1}">
                      <asvg:svgBlip xmlns:asvg="http://schemas.microsoft.com/office/drawing/2016/SVG/main" r:embed="rId3"/>
                    </a:ext>
                  </a:extLst>
                </a:blip>
              </a:buBlip>
              <a:defRPr/>
            </a:lvl1pPr>
            <a:lvl2pPr marL="713232">
              <a:defRPr/>
            </a:lvl2pPr>
            <a:lvl3pPr marL="1042416">
              <a:defRPr/>
            </a:lvl3pPr>
            <a:lvl4pPr marL="1412748">
              <a:defRPr/>
            </a:lvl4pPr>
            <a:lvl5pPr marL="1741932">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433785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Action Pla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12" name="Text Placeholder 11"/>
          <p:cNvSpPr>
            <a:spLocks noGrp="1"/>
          </p:cNvSpPr>
          <p:nvPr>
            <p:ph type="body" sz="quarter" idx="13" hasCustomPrompt="1"/>
          </p:nvPr>
        </p:nvSpPr>
        <p:spPr>
          <a:xfrm>
            <a:off x="342901" y="1145382"/>
            <a:ext cx="8457009" cy="3345656"/>
          </a:xfrm>
        </p:spPr>
        <p:txBody>
          <a:bodyPr>
            <a:noAutofit/>
          </a:bodyPr>
          <a:lstStyle>
            <a:lvl1pPr marL="0" indent="0">
              <a:buNone/>
              <a:defRPr sz="2100" b="1"/>
            </a:lvl1pPr>
            <a:lvl2pPr marL="342900" indent="-185166">
              <a:buClrTx/>
              <a:buSzPct val="100000"/>
              <a:buFont typeface="Arial" panose="020B0604020202020204" pitchFamily="34" charset="0"/>
              <a:buChar char="•"/>
              <a:defRPr sz="1800"/>
            </a:lvl2pPr>
            <a:lvl3pPr marL="699516" indent="-233172">
              <a:buFont typeface="Arial" panose="020B0604020202020204" pitchFamily="34" charset="0"/>
              <a:buChar char="–"/>
              <a:defRPr sz="1800"/>
            </a:lvl3pPr>
            <a:lvl4pPr marL="1028700" indent="-185166">
              <a:buSzPct val="100000"/>
              <a:buFont typeface="Arial" panose="020B0604020202020204" pitchFamily="34" charset="0"/>
              <a:buChar char="•"/>
              <a:defRPr sz="1800"/>
            </a:lvl4pPr>
            <a:lvl5pPr marL="1405890" indent="-240030">
              <a:buFont typeface="Arial" panose="020B0604020202020204" pitchFamily="34" charset="0"/>
              <a:buChar cha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597679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Recommended Research">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4" name="Text Placeholder 3"/>
          <p:cNvSpPr>
            <a:spLocks noGrp="1"/>
          </p:cNvSpPr>
          <p:nvPr>
            <p:ph type="body" sz="quarter" idx="10" hasCustomPrompt="1"/>
          </p:nvPr>
        </p:nvSpPr>
        <p:spPr>
          <a:xfrm>
            <a:off x="342900" y="1218340"/>
            <a:ext cx="8457010" cy="3345655"/>
          </a:xfrm>
        </p:spPr>
        <p:txBody>
          <a:bodyPr/>
          <a:lstStyle>
            <a:lvl1pPr marL="342900" indent="-342900">
              <a:buClr>
                <a:schemeClr val="tx2"/>
              </a:buClr>
              <a:buSzPct val="130000"/>
              <a:buFontTx/>
              <a:buBlip>
                <a:blip r:embed="rId2">
                  <a:extLst>
                    <a:ext uri="{96DAC541-7B7A-43D3-8B79-37D633B846F1}">
                      <asvg:svgBlip xmlns:asvg="http://schemas.microsoft.com/office/drawing/2016/SVG/main" r:embed="rId3"/>
                    </a:ext>
                  </a:extLst>
                </a:blip>
              </a:buBlip>
              <a:defRPr/>
            </a:lvl1pPr>
            <a:lvl2pPr marL="713232">
              <a:buClrTx/>
              <a:defRPr/>
            </a:lvl2pPr>
            <a:lvl3pPr marL="1042416">
              <a:buClrTx/>
              <a:defRPr/>
            </a:lvl3pPr>
            <a:lvl4pPr marL="1412748">
              <a:buClrTx/>
              <a:defRPr/>
            </a:lvl4pPr>
            <a:lvl5pPr marL="1741932">
              <a:buClrTx/>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Box 91"/>
          <p:cNvSpPr txBox="1">
            <a:spLocks noChangeAspect="1" noChangeArrowheads="1"/>
          </p:cNvSpPr>
          <p:nvPr userDrawn="1"/>
        </p:nvSpPr>
        <p:spPr bwMode="gray">
          <a:xfrm>
            <a:off x="342900" y="4672549"/>
            <a:ext cx="4672255" cy="92333"/>
          </a:xfrm>
          <a:prstGeom prst="rect">
            <a:avLst/>
          </a:prstGeom>
          <a:noFill/>
        </p:spPr>
        <p:txBody>
          <a:bodyPr wrap="square" lIns="0" tIns="0" rIns="0" bIns="0" rtlCol="0" anchor="b" anchorCtr="0">
            <a:spAutoFit/>
          </a:bodyPr>
          <a:lstStyle>
            <a:defPPr>
              <a:defRPr lang="en-US"/>
            </a:defPPr>
            <a:lvl1pPr>
              <a:defRPr sz="800">
                <a:solidFill>
                  <a:schemeClr val="accent2">
                    <a:lumMod val="75000"/>
                  </a:schemeClr>
                </a:solidFill>
              </a:defRPr>
            </a:lvl1pPr>
          </a:lstStyle>
          <a:p>
            <a:pPr lvl="0"/>
            <a:r>
              <a:rPr lang="en-US" sz="600" dirty="0">
                <a:solidFill>
                  <a:schemeClr val="tx1"/>
                </a:solidFill>
              </a:rPr>
              <a:t>Access to Gartner research is subject to individual subscription type and product entitlements.</a:t>
            </a:r>
          </a:p>
        </p:txBody>
      </p:sp>
      <p:sp>
        <p:nvSpPr>
          <p:cNvPr id="3" name="Text Box 91">
            <a:extLst>
              <a:ext uri="{FF2B5EF4-FFF2-40B4-BE49-F238E27FC236}">
                <a16:creationId xmlns:a16="http://schemas.microsoft.com/office/drawing/2014/main" id="{5ACFD613-EF21-DA77-6063-70BF4E742AB9}"/>
              </a:ext>
            </a:extLst>
          </p:cNvPr>
          <p:cNvSpPr txBox="1">
            <a:spLocks noChangeAspect="1" noChangeArrowheads="1"/>
          </p:cNvSpPr>
          <p:nvPr userDrawn="1"/>
        </p:nvSpPr>
        <p:spPr bwMode="gray">
          <a:xfrm>
            <a:off x="342900" y="636481"/>
            <a:ext cx="8457009" cy="415498"/>
          </a:xfrm>
          <a:prstGeom prst="rect">
            <a:avLst/>
          </a:prstGeom>
          <a:noFill/>
        </p:spPr>
        <p:txBody>
          <a:bodyPr wrap="square" lIns="0" tIns="0" rIns="0" bIns="0" rtlCol="0" anchor="t" anchorCtr="0">
            <a:spAutoFit/>
          </a:bodyPr>
          <a:lstStyle>
            <a:defPPr>
              <a:defRPr lang="en-US"/>
            </a:defPPr>
            <a:lvl1pPr lvl="0">
              <a:defRPr sz="1400" b="0"/>
            </a:lvl1pPr>
          </a:lstStyle>
          <a:p>
            <a:r>
              <a:rPr lang="en-US" sz="1350" dirty="0"/>
              <a:t>To learn more about access to Gartner research, expert analyst insight, and peer communities, contact your Gartner representative or click on “Become A Client” on </a:t>
            </a:r>
            <a:r>
              <a:rPr lang="en-US" sz="1350" dirty="0">
                <a:hlinkClick r:id="rId4"/>
              </a:rPr>
              <a:t>gartner.com</a:t>
            </a:r>
            <a:r>
              <a:rPr lang="en-US" sz="1350" dirty="0"/>
              <a:t> to speak with one of our specialists.</a:t>
            </a:r>
          </a:p>
        </p:txBody>
      </p:sp>
    </p:spTree>
    <p:extLst>
      <p:ext uri="{BB962C8B-B14F-4D97-AF65-F5344CB8AC3E}">
        <p14:creationId xmlns:p14="http://schemas.microsoft.com/office/powerpoint/2010/main" val="28662726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 Statement/Insight image">
    <p:spTree>
      <p:nvGrpSpPr>
        <p:cNvPr id="1" name=""/>
        <p:cNvGrpSpPr/>
        <p:nvPr/>
      </p:nvGrpSpPr>
      <p:grpSpPr>
        <a:xfrm>
          <a:off x="0" y="0"/>
          <a:ext cx="0" cy="0"/>
          <a:chOff x="0" y="0"/>
          <a:chExt cx="0" cy="0"/>
        </a:xfrm>
      </p:grpSpPr>
      <p:sp>
        <p:nvSpPr>
          <p:cNvPr id="3" name="Background image">
            <a:extLst>
              <a:ext uri="{FF2B5EF4-FFF2-40B4-BE49-F238E27FC236}">
                <a16:creationId xmlns:a16="http://schemas.microsoft.com/office/drawing/2014/main" id="{25798999-2A1E-2547-A8D5-4373B7132ADB}"/>
              </a:ext>
            </a:extLst>
          </p:cNvPr>
          <p:cNvSpPr>
            <a:spLocks noGrp="1"/>
          </p:cNvSpPr>
          <p:nvPr>
            <p:ph type="pic" sz="quarter" idx="10" hasCustomPrompt="1"/>
          </p:nvPr>
        </p:nvSpPr>
        <p:spPr>
          <a:xfrm>
            <a:off x="179388" y="158750"/>
            <a:ext cx="8785322" cy="4681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Select placeholder and select Insert &gt; Pictures</a:t>
            </a:r>
          </a:p>
        </p:txBody>
      </p:sp>
      <p:sp>
        <p:nvSpPr>
          <p:cNvPr id="7" name="Title">
            <a:extLst>
              <a:ext uri="{FF2B5EF4-FFF2-40B4-BE49-F238E27FC236}">
                <a16:creationId xmlns:a16="http://schemas.microsoft.com/office/drawing/2014/main" id="{A55878FD-9E3E-1D42-8830-1CCBED7F67BF}"/>
              </a:ext>
            </a:extLst>
          </p:cNvPr>
          <p:cNvSpPr>
            <a:spLocks noGrp="1"/>
          </p:cNvSpPr>
          <p:nvPr>
            <p:ph type="title" hasCustomPrompt="1"/>
          </p:nvPr>
        </p:nvSpPr>
        <p:spPr>
          <a:xfrm>
            <a:off x="324000" y="1719827"/>
            <a:ext cx="8496000" cy="1560972"/>
          </a:xfrm>
        </p:spPr>
        <p:txBody>
          <a:bodyPr lIns="216000" rIns="216000" anchor="ctr"/>
          <a:lstStyle>
            <a:lvl1pPr algn="ctr">
              <a:defRPr sz="4400">
                <a:solidFill>
                  <a:schemeClr val="bg1"/>
                </a:solidFill>
              </a:defRPr>
            </a:lvl1pPr>
          </a:lstStyle>
          <a:p>
            <a:r>
              <a:rPr lang="en-GB" noProof="0"/>
              <a:t>Click to add statement </a:t>
            </a:r>
            <a:br>
              <a:rPr lang="en-GB" noProof="0"/>
            </a:br>
            <a:r>
              <a:rPr lang="en-GB" noProof="0"/>
              <a:t>or insight</a:t>
            </a:r>
          </a:p>
        </p:txBody>
      </p:sp>
      <p:sp>
        <p:nvSpPr>
          <p:cNvPr id="11" name="Date">
            <a:extLst>
              <a:ext uri="{FF2B5EF4-FFF2-40B4-BE49-F238E27FC236}">
                <a16:creationId xmlns:a16="http://schemas.microsoft.com/office/drawing/2014/main" id="{38CA3AD7-12F8-9F43-820D-33071C26D41A}"/>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42B0ED69-275B-45C0-8274-D8F0BF4EAE59}" type="datetime1">
              <a:rPr lang="sv-SE" noProof="0" smtClean="0"/>
              <a:t>2025-09-04</a:t>
            </a:fld>
            <a:endParaRPr lang="en-GB" noProof="0"/>
          </a:p>
        </p:txBody>
      </p:sp>
      <p:sp>
        <p:nvSpPr>
          <p:cNvPr id="12" name="Number">
            <a:extLst>
              <a:ext uri="{FF2B5EF4-FFF2-40B4-BE49-F238E27FC236}">
                <a16:creationId xmlns:a16="http://schemas.microsoft.com/office/drawing/2014/main" id="{DFED6C3B-4A73-344C-A9A5-F8224178884F}"/>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9" name="Footer">
            <a:extLst>
              <a:ext uri="{FF2B5EF4-FFF2-40B4-BE49-F238E27FC236}">
                <a16:creationId xmlns:a16="http://schemas.microsoft.com/office/drawing/2014/main" id="{3AFBD1D1-32D7-814D-842E-EBEF1C14001E}"/>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479553038"/>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Action Ite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4" name="Text Placeholder 3"/>
          <p:cNvSpPr>
            <a:spLocks noGrp="1"/>
          </p:cNvSpPr>
          <p:nvPr>
            <p:ph type="body" sz="quarter" idx="10" hasCustomPrompt="1"/>
          </p:nvPr>
        </p:nvSpPr>
        <p:spPr>
          <a:xfrm>
            <a:off x="342900" y="1145381"/>
            <a:ext cx="8457010" cy="2438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6"/>
          <p:cNvSpPr>
            <a:spLocks noGrp="1"/>
          </p:cNvSpPr>
          <p:nvPr>
            <p:ph type="body" sz="quarter" idx="11" hasCustomPrompt="1"/>
          </p:nvPr>
        </p:nvSpPr>
        <p:spPr bwMode="ltGray">
          <a:xfrm>
            <a:off x="342900" y="3583782"/>
            <a:ext cx="8457010" cy="907256"/>
          </a:xfrm>
          <a:solidFill>
            <a:srgbClr val="002856"/>
          </a:solidFill>
        </p:spPr>
        <p:txBody>
          <a:bodyPr lIns="137160" tIns="91440" rIns="91440" bIns="91440" anchor="ctr" anchorCtr="0"/>
          <a:lstStyle>
            <a:lvl1pPr marL="0" indent="0">
              <a:spcBef>
                <a:spcPts val="450"/>
              </a:spcBef>
              <a:buNone/>
              <a:defRPr>
                <a:solidFill>
                  <a:srgbClr val="FFFFFF"/>
                </a:solidFill>
              </a:defRPr>
            </a:lvl1pPr>
          </a:lstStyle>
          <a:p>
            <a:pPr lvl="0"/>
            <a:r>
              <a:rPr lang="en-US"/>
              <a:t>Edit Master text styles</a:t>
            </a:r>
          </a:p>
        </p:txBody>
      </p:sp>
    </p:spTree>
    <p:extLst>
      <p:ext uri="{BB962C8B-B14F-4D97-AF65-F5344CB8AC3E}">
        <p14:creationId xmlns:p14="http://schemas.microsoft.com/office/powerpoint/2010/main" val="349247160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Action_Thre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60C105-BC1A-B557-2B22-B75CE3621B41}"/>
              </a:ext>
            </a:extLst>
          </p:cNvPr>
          <p:cNvSpPr>
            <a:spLocks noGrp="1"/>
          </p:cNvSpPr>
          <p:nvPr>
            <p:ph type="title"/>
          </p:nvPr>
        </p:nvSpPr>
        <p:spPr/>
        <p:txBody>
          <a:bodyPr/>
          <a:lstStyle>
            <a:lvl1pPr>
              <a:defRPr>
                <a:latin typeface="+mj-lt"/>
              </a:defRPr>
            </a:lvl1pPr>
          </a:lstStyle>
          <a:p>
            <a:r>
              <a:rPr lang="en-US"/>
              <a:t>Click to edit Master title style</a:t>
            </a:r>
          </a:p>
        </p:txBody>
      </p:sp>
      <p:sp>
        <p:nvSpPr>
          <p:cNvPr id="3" name="Text Placeholder 3">
            <a:extLst>
              <a:ext uri="{FF2B5EF4-FFF2-40B4-BE49-F238E27FC236}">
                <a16:creationId xmlns:a16="http://schemas.microsoft.com/office/drawing/2014/main" id="{9C87B120-4F04-14E8-FCA3-D1A2753B757B}"/>
              </a:ext>
            </a:extLst>
          </p:cNvPr>
          <p:cNvSpPr>
            <a:spLocks noGrp="1"/>
          </p:cNvSpPr>
          <p:nvPr>
            <p:ph type="body" sz="quarter" idx="18" hasCustomPrompt="1"/>
          </p:nvPr>
        </p:nvSpPr>
        <p:spPr>
          <a:xfrm>
            <a:off x="342900" y="1007269"/>
            <a:ext cx="2502694" cy="618527"/>
          </a:xfrm>
          <a:solidFill>
            <a:schemeClr val="tx2"/>
          </a:solidFill>
        </p:spPr>
        <p:txBody>
          <a:bodyPr anchor="ctr" anchorCtr="0"/>
          <a:lstStyle>
            <a:lvl1pPr marL="0" indent="0" algn="ctr">
              <a:spcBef>
                <a:spcPts val="450"/>
              </a:spcBef>
              <a:buFont typeface="Arial" panose="020B0604020202020204" pitchFamily="34" charset="0"/>
              <a:buChar char="​"/>
              <a:defRPr sz="1500" b="1">
                <a:solidFill>
                  <a:schemeClr val="bg2"/>
                </a:solidFill>
              </a:defRPr>
            </a:lvl1pPr>
            <a:lvl2pPr marL="0" indent="0" algn="ctr">
              <a:spcBef>
                <a:spcPts val="450"/>
              </a:spcBef>
              <a:buFont typeface="Arial" panose="020B0604020202020204" pitchFamily="34" charset="0"/>
              <a:buChar char="​"/>
              <a:defRPr sz="1350">
                <a:solidFill>
                  <a:schemeClr val="bg2"/>
                </a:solidFill>
              </a:defRPr>
            </a:lvl2pPr>
            <a:lvl3pPr marL="0">
              <a:spcBef>
                <a:spcPts val="450"/>
              </a:spcBef>
              <a:defRPr sz="1350">
                <a:solidFill>
                  <a:schemeClr val="bg2">
                    <a:lumMod val="85000"/>
                  </a:schemeClr>
                </a:solidFill>
              </a:defRPr>
            </a:lvl3pPr>
            <a:lvl4pPr marL="514350">
              <a:spcBef>
                <a:spcPts val="450"/>
              </a:spcBef>
              <a:defRPr sz="1350">
                <a:solidFill>
                  <a:schemeClr val="bg2">
                    <a:lumMod val="85000"/>
                  </a:schemeClr>
                </a:solidFill>
              </a:defRPr>
            </a:lvl4pPr>
            <a:lvl5pPr marL="754380">
              <a:spcBef>
                <a:spcPts val="450"/>
              </a:spcBef>
              <a:defRPr sz="1350">
                <a:solidFill>
                  <a:schemeClr val="bg2">
                    <a:lumMod val="85000"/>
                  </a:schemeClr>
                </a:solidFill>
              </a:defRPr>
            </a:lvl5pPr>
          </a:lstStyle>
          <a:p>
            <a:pPr lvl="0"/>
            <a:r>
              <a:rPr lang="en-US"/>
              <a:t>Click to edit text</a:t>
            </a:r>
          </a:p>
          <a:p>
            <a:pPr lvl="1"/>
            <a:r>
              <a:rPr lang="en-US"/>
              <a:t>Second level</a:t>
            </a:r>
          </a:p>
        </p:txBody>
      </p:sp>
      <p:sp>
        <p:nvSpPr>
          <p:cNvPr id="4" name="Text Placeholder 3">
            <a:extLst>
              <a:ext uri="{FF2B5EF4-FFF2-40B4-BE49-F238E27FC236}">
                <a16:creationId xmlns:a16="http://schemas.microsoft.com/office/drawing/2014/main" id="{CF84DBFC-B23C-1A5C-DA55-3AF1D9D7934A}"/>
              </a:ext>
            </a:extLst>
          </p:cNvPr>
          <p:cNvSpPr>
            <a:spLocks noGrp="1"/>
          </p:cNvSpPr>
          <p:nvPr>
            <p:ph type="body" sz="quarter" idx="19" hasCustomPrompt="1"/>
          </p:nvPr>
        </p:nvSpPr>
        <p:spPr>
          <a:xfrm>
            <a:off x="3320058" y="1007269"/>
            <a:ext cx="2502694" cy="618527"/>
          </a:xfrm>
          <a:solidFill>
            <a:schemeClr val="tx2"/>
          </a:solidFill>
        </p:spPr>
        <p:txBody>
          <a:bodyPr anchor="ctr" anchorCtr="0"/>
          <a:lstStyle>
            <a:lvl1pPr marL="0" indent="0" algn="ctr">
              <a:spcBef>
                <a:spcPts val="450"/>
              </a:spcBef>
              <a:buFont typeface="Arial" panose="020B0604020202020204" pitchFamily="34" charset="0"/>
              <a:buChar char="​"/>
              <a:defRPr sz="1500" b="1">
                <a:solidFill>
                  <a:schemeClr val="bg2"/>
                </a:solidFill>
              </a:defRPr>
            </a:lvl1pPr>
            <a:lvl2pPr marL="0" indent="0" algn="ctr">
              <a:spcBef>
                <a:spcPts val="450"/>
              </a:spcBef>
              <a:buFont typeface="Arial" panose="020B0604020202020204" pitchFamily="34" charset="0"/>
              <a:buChar char="​"/>
              <a:defRPr sz="1350">
                <a:solidFill>
                  <a:schemeClr val="bg2"/>
                </a:solidFill>
              </a:defRPr>
            </a:lvl2pPr>
            <a:lvl3pPr marL="0">
              <a:spcBef>
                <a:spcPts val="450"/>
              </a:spcBef>
              <a:defRPr sz="1350">
                <a:solidFill>
                  <a:schemeClr val="bg2">
                    <a:lumMod val="85000"/>
                  </a:schemeClr>
                </a:solidFill>
              </a:defRPr>
            </a:lvl3pPr>
            <a:lvl4pPr marL="514350">
              <a:spcBef>
                <a:spcPts val="450"/>
              </a:spcBef>
              <a:defRPr sz="1350">
                <a:solidFill>
                  <a:schemeClr val="bg2">
                    <a:lumMod val="85000"/>
                  </a:schemeClr>
                </a:solidFill>
              </a:defRPr>
            </a:lvl4pPr>
            <a:lvl5pPr marL="754380">
              <a:spcBef>
                <a:spcPts val="450"/>
              </a:spcBef>
              <a:defRPr sz="1350">
                <a:solidFill>
                  <a:schemeClr val="bg2">
                    <a:lumMod val="85000"/>
                  </a:schemeClr>
                </a:solidFill>
              </a:defRPr>
            </a:lvl5pPr>
          </a:lstStyle>
          <a:p>
            <a:pPr lvl="0"/>
            <a:r>
              <a:rPr lang="en-US"/>
              <a:t>Click to edit text</a:t>
            </a:r>
          </a:p>
          <a:p>
            <a:pPr lvl="1"/>
            <a:r>
              <a:rPr lang="en-US"/>
              <a:t>Second level</a:t>
            </a:r>
          </a:p>
        </p:txBody>
      </p:sp>
      <p:sp>
        <p:nvSpPr>
          <p:cNvPr id="5" name="Text Placeholder 3">
            <a:extLst>
              <a:ext uri="{FF2B5EF4-FFF2-40B4-BE49-F238E27FC236}">
                <a16:creationId xmlns:a16="http://schemas.microsoft.com/office/drawing/2014/main" id="{E214C02B-9F13-21DA-CF49-9E3375168E9E}"/>
              </a:ext>
            </a:extLst>
          </p:cNvPr>
          <p:cNvSpPr>
            <a:spLocks noGrp="1"/>
          </p:cNvSpPr>
          <p:nvPr>
            <p:ph type="body" sz="quarter" idx="20" hasCustomPrompt="1"/>
          </p:nvPr>
        </p:nvSpPr>
        <p:spPr>
          <a:xfrm>
            <a:off x="6297216" y="1007269"/>
            <a:ext cx="2502694" cy="618527"/>
          </a:xfrm>
          <a:solidFill>
            <a:schemeClr val="tx2"/>
          </a:solidFill>
        </p:spPr>
        <p:txBody>
          <a:bodyPr anchor="ctr" anchorCtr="0"/>
          <a:lstStyle>
            <a:lvl1pPr marL="0" indent="0" algn="ctr">
              <a:spcBef>
                <a:spcPts val="450"/>
              </a:spcBef>
              <a:buFont typeface="Arial" panose="020B0604020202020204" pitchFamily="34" charset="0"/>
              <a:buChar char="​"/>
              <a:defRPr sz="1500" b="1">
                <a:solidFill>
                  <a:schemeClr val="bg2"/>
                </a:solidFill>
              </a:defRPr>
            </a:lvl1pPr>
            <a:lvl2pPr marL="0" indent="0" algn="ctr">
              <a:spcBef>
                <a:spcPts val="450"/>
              </a:spcBef>
              <a:buFont typeface="Arial" panose="020B0604020202020204" pitchFamily="34" charset="0"/>
              <a:buChar char="​"/>
              <a:defRPr sz="1350">
                <a:solidFill>
                  <a:schemeClr val="bg2"/>
                </a:solidFill>
              </a:defRPr>
            </a:lvl2pPr>
            <a:lvl3pPr marL="0">
              <a:spcBef>
                <a:spcPts val="450"/>
              </a:spcBef>
              <a:defRPr sz="1350">
                <a:solidFill>
                  <a:schemeClr val="bg2">
                    <a:lumMod val="85000"/>
                  </a:schemeClr>
                </a:solidFill>
              </a:defRPr>
            </a:lvl3pPr>
            <a:lvl4pPr marL="514350">
              <a:spcBef>
                <a:spcPts val="450"/>
              </a:spcBef>
              <a:defRPr sz="1350">
                <a:solidFill>
                  <a:schemeClr val="bg2">
                    <a:lumMod val="85000"/>
                  </a:schemeClr>
                </a:solidFill>
              </a:defRPr>
            </a:lvl4pPr>
            <a:lvl5pPr marL="754380">
              <a:spcBef>
                <a:spcPts val="450"/>
              </a:spcBef>
              <a:defRPr sz="1350">
                <a:solidFill>
                  <a:schemeClr val="bg2">
                    <a:lumMod val="85000"/>
                  </a:schemeClr>
                </a:solidFill>
              </a:defRPr>
            </a:lvl5pPr>
          </a:lstStyle>
          <a:p>
            <a:pPr lvl="0"/>
            <a:r>
              <a:rPr lang="en-US"/>
              <a:t>Click to edit text</a:t>
            </a:r>
          </a:p>
          <a:p>
            <a:pPr lvl="1"/>
            <a:r>
              <a:rPr lang="en-US"/>
              <a:t>Second level</a:t>
            </a:r>
          </a:p>
        </p:txBody>
      </p:sp>
      <p:sp>
        <p:nvSpPr>
          <p:cNvPr id="7" name="Text Placeholder 6">
            <a:extLst>
              <a:ext uri="{FF2B5EF4-FFF2-40B4-BE49-F238E27FC236}">
                <a16:creationId xmlns:a16="http://schemas.microsoft.com/office/drawing/2014/main" id="{2AA87207-E1A7-27B6-692F-E208AB9CC857}"/>
              </a:ext>
            </a:extLst>
          </p:cNvPr>
          <p:cNvSpPr>
            <a:spLocks noGrp="1"/>
          </p:cNvSpPr>
          <p:nvPr>
            <p:ph type="body" sz="quarter" idx="21"/>
          </p:nvPr>
        </p:nvSpPr>
        <p:spPr>
          <a:xfrm>
            <a:off x="342900" y="1769807"/>
            <a:ext cx="2502694" cy="2721231"/>
          </a:xfrm>
        </p:spPr>
        <p:txBody>
          <a:bodyPr>
            <a:noAutofit/>
          </a:bodyPr>
          <a:lstStyle>
            <a:lvl1pPr>
              <a:spcBef>
                <a:spcPts val="1350"/>
              </a:spcBef>
              <a:defRPr lang="en-US" sz="1500" dirty="0" smtClean="0"/>
            </a:lvl1pPr>
            <a:lvl2pPr>
              <a:spcBef>
                <a:spcPts val="1350"/>
              </a:spcBef>
              <a:defRPr lang="en-US" sz="1350" dirty="0" smtClean="0"/>
            </a:lvl2pPr>
            <a:lvl3pPr>
              <a:spcBef>
                <a:spcPts val="1350"/>
              </a:spcBef>
              <a:defRPr lang="en-US" sz="1350" dirty="0" smtClean="0"/>
            </a:lvl3pPr>
            <a:lvl4pPr>
              <a:spcBef>
                <a:spcPts val="1350"/>
              </a:spcBef>
              <a:defRPr lang="en-US" sz="1350" dirty="0" smtClean="0"/>
            </a:lvl4pPr>
            <a:lvl5pPr>
              <a:spcBef>
                <a:spcPts val="1350"/>
              </a:spcBef>
              <a:defRPr lang="en-US" sz="135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a:extLst>
              <a:ext uri="{FF2B5EF4-FFF2-40B4-BE49-F238E27FC236}">
                <a16:creationId xmlns:a16="http://schemas.microsoft.com/office/drawing/2014/main" id="{8092B0D7-15E7-760B-B4C1-66E27E7C2A8E}"/>
              </a:ext>
            </a:extLst>
          </p:cNvPr>
          <p:cNvSpPr>
            <a:spLocks noGrp="1"/>
          </p:cNvSpPr>
          <p:nvPr>
            <p:ph type="body" sz="quarter" idx="22"/>
          </p:nvPr>
        </p:nvSpPr>
        <p:spPr>
          <a:xfrm>
            <a:off x="3320058" y="1769807"/>
            <a:ext cx="2502694" cy="2721231"/>
          </a:xfrm>
        </p:spPr>
        <p:txBody>
          <a:bodyPr/>
          <a:lstStyle>
            <a:lvl1pPr>
              <a:spcBef>
                <a:spcPts val="1350"/>
              </a:spcBef>
              <a:defRPr sz="1500"/>
            </a:lvl1pPr>
            <a:lvl2pPr>
              <a:spcBef>
                <a:spcPts val="1350"/>
              </a:spcBef>
              <a:defRPr sz="1350"/>
            </a:lvl2pPr>
            <a:lvl3pPr>
              <a:spcBef>
                <a:spcPts val="1350"/>
              </a:spcBef>
              <a:defRPr sz="1350"/>
            </a:lvl3pPr>
            <a:lvl4pPr>
              <a:spcBef>
                <a:spcPts val="1350"/>
              </a:spcBef>
              <a:defRPr sz="1350"/>
            </a:lvl4pPr>
            <a:lvl5pPr>
              <a:spcBef>
                <a:spcPts val="1350"/>
              </a:spcBef>
              <a:defRPr sz="13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537DA3EC-132A-1F55-BE5A-335D1AFEDC78}"/>
              </a:ext>
            </a:extLst>
          </p:cNvPr>
          <p:cNvSpPr>
            <a:spLocks noGrp="1"/>
          </p:cNvSpPr>
          <p:nvPr>
            <p:ph type="body" sz="quarter" idx="23"/>
          </p:nvPr>
        </p:nvSpPr>
        <p:spPr>
          <a:xfrm>
            <a:off x="6297217" y="1769807"/>
            <a:ext cx="2502694" cy="2721231"/>
          </a:xfrm>
        </p:spPr>
        <p:txBody>
          <a:bodyPr/>
          <a:lstStyle>
            <a:lvl1pPr>
              <a:spcBef>
                <a:spcPts val="1350"/>
              </a:spcBef>
              <a:defRPr sz="1500"/>
            </a:lvl1pPr>
            <a:lvl2pPr>
              <a:spcBef>
                <a:spcPts val="1350"/>
              </a:spcBef>
              <a:defRPr sz="1350"/>
            </a:lvl2pPr>
            <a:lvl3pPr>
              <a:spcBef>
                <a:spcPts val="1350"/>
              </a:spcBef>
              <a:defRPr sz="1350"/>
            </a:lvl3pPr>
            <a:lvl4pPr>
              <a:spcBef>
                <a:spcPts val="1350"/>
              </a:spcBef>
              <a:defRPr sz="1350"/>
            </a:lvl4pPr>
            <a:lvl5pPr>
              <a:spcBef>
                <a:spcPts val="1350"/>
              </a:spcBef>
              <a:defRPr sz="13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69224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Action_Two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60C105-BC1A-B557-2B22-B75CE3621B41}"/>
              </a:ext>
            </a:extLst>
          </p:cNvPr>
          <p:cNvSpPr>
            <a:spLocks noGrp="1"/>
          </p:cNvSpPr>
          <p:nvPr>
            <p:ph type="title"/>
          </p:nvPr>
        </p:nvSpPr>
        <p:spPr/>
        <p:txBody>
          <a:bodyPr/>
          <a:lstStyle>
            <a:lvl1pPr>
              <a:defRPr>
                <a:latin typeface="+mj-lt"/>
              </a:defRPr>
            </a:lvl1pPr>
          </a:lstStyle>
          <a:p>
            <a:r>
              <a:rPr lang="en-US"/>
              <a:t>Click to edit Master title style</a:t>
            </a:r>
          </a:p>
        </p:txBody>
      </p:sp>
      <p:sp>
        <p:nvSpPr>
          <p:cNvPr id="3" name="Text Placeholder 3">
            <a:extLst>
              <a:ext uri="{FF2B5EF4-FFF2-40B4-BE49-F238E27FC236}">
                <a16:creationId xmlns:a16="http://schemas.microsoft.com/office/drawing/2014/main" id="{9C87B120-4F04-14E8-FCA3-D1A2753B757B}"/>
              </a:ext>
            </a:extLst>
          </p:cNvPr>
          <p:cNvSpPr>
            <a:spLocks noGrp="1"/>
          </p:cNvSpPr>
          <p:nvPr>
            <p:ph type="body" sz="quarter" idx="18" hasCustomPrompt="1"/>
          </p:nvPr>
        </p:nvSpPr>
        <p:spPr>
          <a:xfrm>
            <a:off x="342900" y="1007269"/>
            <a:ext cx="4124325" cy="618527"/>
          </a:xfrm>
          <a:solidFill>
            <a:schemeClr val="tx2"/>
          </a:solidFill>
        </p:spPr>
        <p:txBody>
          <a:bodyPr anchor="ctr" anchorCtr="0"/>
          <a:lstStyle>
            <a:lvl1pPr marL="0" indent="0" algn="ctr">
              <a:spcBef>
                <a:spcPts val="450"/>
              </a:spcBef>
              <a:buFont typeface="Arial" panose="020B0604020202020204" pitchFamily="34" charset="0"/>
              <a:buChar char="​"/>
              <a:defRPr sz="1800" b="1">
                <a:solidFill>
                  <a:schemeClr val="bg2"/>
                </a:solidFill>
              </a:defRPr>
            </a:lvl1pPr>
            <a:lvl2pPr marL="0" indent="0" algn="ctr">
              <a:spcBef>
                <a:spcPts val="450"/>
              </a:spcBef>
              <a:buFont typeface="Arial" panose="020B0604020202020204" pitchFamily="34" charset="0"/>
              <a:buChar char="​"/>
              <a:defRPr sz="1500">
                <a:solidFill>
                  <a:schemeClr val="bg2"/>
                </a:solidFill>
              </a:defRPr>
            </a:lvl2pPr>
            <a:lvl3pPr marL="0">
              <a:spcBef>
                <a:spcPts val="450"/>
              </a:spcBef>
              <a:defRPr sz="1350">
                <a:solidFill>
                  <a:schemeClr val="bg2">
                    <a:lumMod val="85000"/>
                  </a:schemeClr>
                </a:solidFill>
              </a:defRPr>
            </a:lvl3pPr>
            <a:lvl4pPr marL="514350">
              <a:spcBef>
                <a:spcPts val="450"/>
              </a:spcBef>
              <a:defRPr sz="1350">
                <a:solidFill>
                  <a:schemeClr val="bg2">
                    <a:lumMod val="85000"/>
                  </a:schemeClr>
                </a:solidFill>
              </a:defRPr>
            </a:lvl4pPr>
            <a:lvl5pPr marL="754380">
              <a:spcBef>
                <a:spcPts val="450"/>
              </a:spcBef>
              <a:defRPr sz="1350">
                <a:solidFill>
                  <a:schemeClr val="bg2">
                    <a:lumMod val="85000"/>
                  </a:schemeClr>
                </a:solidFill>
              </a:defRPr>
            </a:lvl5pPr>
          </a:lstStyle>
          <a:p>
            <a:pPr lvl="0"/>
            <a:r>
              <a:rPr lang="en-US"/>
              <a:t>Click to edit text</a:t>
            </a:r>
          </a:p>
          <a:p>
            <a:pPr lvl="1"/>
            <a:r>
              <a:rPr lang="en-US"/>
              <a:t>Second level</a:t>
            </a:r>
          </a:p>
        </p:txBody>
      </p:sp>
      <p:sp>
        <p:nvSpPr>
          <p:cNvPr id="4" name="Text Placeholder 3">
            <a:extLst>
              <a:ext uri="{FF2B5EF4-FFF2-40B4-BE49-F238E27FC236}">
                <a16:creationId xmlns:a16="http://schemas.microsoft.com/office/drawing/2014/main" id="{CF84DBFC-B23C-1A5C-DA55-3AF1D9D7934A}"/>
              </a:ext>
            </a:extLst>
          </p:cNvPr>
          <p:cNvSpPr>
            <a:spLocks noGrp="1"/>
          </p:cNvSpPr>
          <p:nvPr>
            <p:ph type="body" sz="quarter" idx="19" hasCustomPrompt="1"/>
          </p:nvPr>
        </p:nvSpPr>
        <p:spPr>
          <a:xfrm>
            <a:off x="4676777" y="1007269"/>
            <a:ext cx="4124326" cy="618527"/>
          </a:xfrm>
          <a:solidFill>
            <a:schemeClr val="tx2"/>
          </a:solidFill>
        </p:spPr>
        <p:txBody>
          <a:bodyPr anchor="ctr" anchorCtr="0"/>
          <a:lstStyle>
            <a:lvl1pPr marL="0" indent="0" algn="ctr">
              <a:spcBef>
                <a:spcPts val="450"/>
              </a:spcBef>
              <a:buFont typeface="Arial" panose="020B0604020202020204" pitchFamily="34" charset="0"/>
              <a:buChar char="​"/>
              <a:defRPr sz="1800" b="1">
                <a:solidFill>
                  <a:schemeClr val="bg2"/>
                </a:solidFill>
              </a:defRPr>
            </a:lvl1pPr>
            <a:lvl2pPr marL="0" indent="0" algn="ctr">
              <a:spcBef>
                <a:spcPts val="450"/>
              </a:spcBef>
              <a:buFont typeface="Arial" panose="020B0604020202020204" pitchFamily="34" charset="0"/>
              <a:buChar char="​"/>
              <a:defRPr sz="1500">
                <a:solidFill>
                  <a:schemeClr val="bg2"/>
                </a:solidFill>
              </a:defRPr>
            </a:lvl2pPr>
            <a:lvl3pPr marL="0">
              <a:spcBef>
                <a:spcPts val="450"/>
              </a:spcBef>
              <a:defRPr sz="1350">
                <a:solidFill>
                  <a:schemeClr val="bg2">
                    <a:lumMod val="85000"/>
                  </a:schemeClr>
                </a:solidFill>
              </a:defRPr>
            </a:lvl3pPr>
            <a:lvl4pPr marL="514350">
              <a:spcBef>
                <a:spcPts val="450"/>
              </a:spcBef>
              <a:defRPr sz="1350">
                <a:solidFill>
                  <a:schemeClr val="bg2">
                    <a:lumMod val="85000"/>
                  </a:schemeClr>
                </a:solidFill>
              </a:defRPr>
            </a:lvl4pPr>
            <a:lvl5pPr marL="754380">
              <a:spcBef>
                <a:spcPts val="450"/>
              </a:spcBef>
              <a:defRPr sz="1350">
                <a:solidFill>
                  <a:schemeClr val="bg2">
                    <a:lumMod val="85000"/>
                  </a:schemeClr>
                </a:solidFill>
              </a:defRPr>
            </a:lvl5pPr>
          </a:lstStyle>
          <a:p>
            <a:pPr lvl="0"/>
            <a:r>
              <a:rPr lang="en-US"/>
              <a:t>Click to edit text</a:t>
            </a:r>
          </a:p>
          <a:p>
            <a:pPr lvl="1"/>
            <a:r>
              <a:rPr lang="en-US"/>
              <a:t>Second level</a:t>
            </a:r>
          </a:p>
        </p:txBody>
      </p:sp>
      <p:sp>
        <p:nvSpPr>
          <p:cNvPr id="7" name="Text Placeholder 6">
            <a:extLst>
              <a:ext uri="{FF2B5EF4-FFF2-40B4-BE49-F238E27FC236}">
                <a16:creationId xmlns:a16="http://schemas.microsoft.com/office/drawing/2014/main" id="{2AA87207-E1A7-27B6-692F-E208AB9CC857}"/>
              </a:ext>
            </a:extLst>
          </p:cNvPr>
          <p:cNvSpPr>
            <a:spLocks noGrp="1"/>
          </p:cNvSpPr>
          <p:nvPr>
            <p:ph type="body" sz="quarter" idx="21"/>
          </p:nvPr>
        </p:nvSpPr>
        <p:spPr>
          <a:xfrm>
            <a:off x="342900" y="1769807"/>
            <a:ext cx="4124324" cy="2721231"/>
          </a:xfrm>
        </p:spPr>
        <p:txBody>
          <a:bodyPr>
            <a:noAutofit/>
          </a:bodyPr>
          <a:lstStyle>
            <a:lvl1pPr>
              <a:spcBef>
                <a:spcPts val="1350"/>
              </a:spcBef>
              <a:defRPr lang="en-US" sz="1800" dirty="0" smtClean="0"/>
            </a:lvl1pPr>
            <a:lvl2pPr>
              <a:spcBef>
                <a:spcPts val="1350"/>
              </a:spcBef>
              <a:defRPr lang="en-US" sz="1500" dirty="0" smtClean="0"/>
            </a:lvl2pPr>
            <a:lvl3pPr>
              <a:spcBef>
                <a:spcPts val="1350"/>
              </a:spcBef>
              <a:defRPr lang="en-US" sz="1500" dirty="0" smtClean="0"/>
            </a:lvl3pPr>
            <a:lvl4pPr>
              <a:spcBef>
                <a:spcPts val="1350"/>
              </a:spcBef>
              <a:defRPr lang="en-US" sz="1500" dirty="0" smtClean="0"/>
            </a:lvl4pPr>
            <a:lvl5pPr>
              <a:spcBef>
                <a:spcPts val="1350"/>
              </a:spcBef>
              <a:defRPr lang="en-US" sz="15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a:extLst>
              <a:ext uri="{FF2B5EF4-FFF2-40B4-BE49-F238E27FC236}">
                <a16:creationId xmlns:a16="http://schemas.microsoft.com/office/drawing/2014/main" id="{8092B0D7-15E7-760B-B4C1-66E27E7C2A8E}"/>
              </a:ext>
            </a:extLst>
          </p:cNvPr>
          <p:cNvSpPr>
            <a:spLocks noGrp="1"/>
          </p:cNvSpPr>
          <p:nvPr>
            <p:ph type="body" sz="quarter" idx="22"/>
          </p:nvPr>
        </p:nvSpPr>
        <p:spPr>
          <a:xfrm>
            <a:off x="4676776" y="1769807"/>
            <a:ext cx="4124326" cy="2721231"/>
          </a:xfrm>
        </p:spPr>
        <p:txBody>
          <a:bodyPr/>
          <a:lstStyle>
            <a:lvl1pPr>
              <a:spcBef>
                <a:spcPts val="1350"/>
              </a:spcBef>
              <a:defRPr sz="1800"/>
            </a:lvl1pPr>
            <a:lvl2pPr>
              <a:spcBef>
                <a:spcPts val="1350"/>
              </a:spcBef>
              <a:defRPr sz="1500"/>
            </a:lvl2pPr>
            <a:lvl3pPr>
              <a:spcBef>
                <a:spcPts val="1350"/>
              </a:spcBef>
              <a:defRPr sz="1500"/>
            </a:lvl3pPr>
            <a:lvl4pPr>
              <a:spcBef>
                <a:spcPts val="1350"/>
              </a:spcBef>
              <a:defRPr sz="1500"/>
            </a:lvl4pPr>
            <a:lvl5pPr>
              <a:spcBef>
                <a:spcPts val="1350"/>
              </a:spcBef>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88102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Action_Two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12" name="Text Placeholder 11"/>
          <p:cNvSpPr>
            <a:spLocks noGrp="1"/>
          </p:cNvSpPr>
          <p:nvPr>
            <p:ph type="body" sz="quarter" idx="13" hasCustomPrompt="1"/>
          </p:nvPr>
        </p:nvSpPr>
        <p:spPr>
          <a:xfrm>
            <a:off x="342901" y="1145382"/>
            <a:ext cx="4124324" cy="3345656"/>
          </a:xfrm>
        </p:spPr>
        <p:txBody>
          <a:bodyPr>
            <a:noAutofit/>
          </a:bodyPr>
          <a:lstStyle>
            <a:lvl1pPr marL="0" indent="0">
              <a:spcBef>
                <a:spcPts val="1350"/>
              </a:spcBef>
              <a:buNone/>
              <a:defRPr sz="2100" b="1"/>
            </a:lvl1pPr>
            <a:lvl2pPr marL="342900" indent="-185166">
              <a:spcBef>
                <a:spcPts val="1350"/>
              </a:spcBef>
              <a:buClrTx/>
              <a:buSzPct val="100000"/>
              <a:buFont typeface="Arial" panose="020B0604020202020204" pitchFamily="34" charset="0"/>
              <a:buChar char="•"/>
              <a:defRPr sz="1800"/>
            </a:lvl2pPr>
            <a:lvl3pPr marL="699516" indent="-233172">
              <a:spcBef>
                <a:spcPts val="1350"/>
              </a:spcBef>
              <a:buFont typeface="Arial" panose="020B0604020202020204" pitchFamily="34" charset="0"/>
              <a:buChar char="–"/>
              <a:defRPr sz="1800"/>
            </a:lvl3pPr>
            <a:lvl4pPr marL="1028700" indent="-185166">
              <a:spcBef>
                <a:spcPts val="1350"/>
              </a:spcBef>
              <a:buSzPct val="100000"/>
              <a:buFont typeface="Arial" panose="020B0604020202020204" pitchFamily="34" charset="0"/>
              <a:buChar char="•"/>
              <a:defRPr sz="1800"/>
            </a:lvl4pPr>
            <a:lvl5pPr marL="1405890" indent="-240030">
              <a:spcBef>
                <a:spcPts val="1350"/>
              </a:spcBef>
              <a:buFont typeface="Arial" panose="020B0604020202020204" pitchFamily="34" charset="0"/>
              <a:buChar cha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1">
            <a:extLst>
              <a:ext uri="{FF2B5EF4-FFF2-40B4-BE49-F238E27FC236}">
                <a16:creationId xmlns:a16="http://schemas.microsoft.com/office/drawing/2014/main" id="{9E1731B5-C00B-0512-C1C9-56531E52DA7F}"/>
              </a:ext>
            </a:extLst>
          </p:cNvPr>
          <p:cNvSpPr>
            <a:spLocks noGrp="1"/>
          </p:cNvSpPr>
          <p:nvPr>
            <p:ph type="body" sz="quarter" idx="14" hasCustomPrompt="1"/>
          </p:nvPr>
        </p:nvSpPr>
        <p:spPr>
          <a:xfrm>
            <a:off x="4675585" y="1145382"/>
            <a:ext cx="4124325" cy="3345656"/>
          </a:xfrm>
        </p:spPr>
        <p:txBody>
          <a:bodyPr>
            <a:noAutofit/>
          </a:bodyPr>
          <a:lstStyle>
            <a:lvl1pPr marL="0" indent="0">
              <a:spcBef>
                <a:spcPts val="1350"/>
              </a:spcBef>
              <a:buNone/>
              <a:defRPr sz="2100" b="1"/>
            </a:lvl1pPr>
            <a:lvl2pPr marL="342900" indent="-185166">
              <a:spcBef>
                <a:spcPts val="1350"/>
              </a:spcBef>
              <a:buClrTx/>
              <a:buSzPct val="100000"/>
              <a:buFont typeface="Arial" panose="020B0604020202020204" pitchFamily="34" charset="0"/>
              <a:buChar char="•"/>
              <a:defRPr sz="1800"/>
            </a:lvl2pPr>
            <a:lvl3pPr marL="699516" indent="-233172">
              <a:spcBef>
                <a:spcPts val="1350"/>
              </a:spcBef>
              <a:buFont typeface="Arial" panose="020B0604020202020204" pitchFamily="34" charset="0"/>
              <a:buChar char="–"/>
              <a:defRPr sz="1800"/>
            </a:lvl3pPr>
            <a:lvl4pPr marL="1028700" indent="-185166">
              <a:spcBef>
                <a:spcPts val="1350"/>
              </a:spcBef>
              <a:buSzPct val="100000"/>
              <a:buFont typeface="Arial" panose="020B0604020202020204" pitchFamily="34" charset="0"/>
              <a:buChar char="•"/>
              <a:defRPr sz="1800"/>
            </a:lvl4pPr>
            <a:lvl5pPr marL="1405890" indent="-240030">
              <a:spcBef>
                <a:spcPts val="1350"/>
              </a:spcBef>
              <a:buFont typeface="Arial" panose="020B0604020202020204" pitchFamily="34" charset="0"/>
              <a:buChar cha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164388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6" name="Text Placeholder 11"/>
          <p:cNvSpPr>
            <a:spLocks noGrp="1"/>
          </p:cNvSpPr>
          <p:nvPr>
            <p:ph type="body" sz="quarter" idx="16" hasCustomPrompt="1"/>
          </p:nvPr>
        </p:nvSpPr>
        <p:spPr>
          <a:xfrm>
            <a:off x="3318145" y="1145382"/>
            <a:ext cx="2502694" cy="3345656"/>
          </a:xfrm>
        </p:spPr>
        <p:txBody>
          <a:bodyPr vert="horz" lIns="0" tIns="0" rIns="0" bIns="0" rtlCol="0">
            <a:noAutofit/>
          </a:bodyPr>
          <a:lstStyle>
            <a:lvl1pPr>
              <a:defRPr lang="en-US" sz="1500" b="1" dirty="0"/>
            </a:lvl1pPr>
            <a:lvl2pPr>
              <a:defRPr lang="en-US" sz="1500" dirty="0"/>
            </a:lvl2pPr>
            <a:lvl3pPr>
              <a:defRPr lang="en-US" sz="1500" dirty="0"/>
            </a:lvl3pPr>
            <a:lvl4pPr>
              <a:defRPr lang="en-US" sz="1500" dirty="0"/>
            </a:lvl4pPr>
            <a:lvl5pPr>
              <a:defRPr lang="en-US" sz="1500" dirty="0"/>
            </a:lvl5pPr>
          </a:lstStyle>
          <a:p>
            <a:pPr marL="0" lvl="0" indent="0">
              <a:buNone/>
            </a:pPr>
            <a:r>
              <a:rPr lang="en-US"/>
              <a:t>Edit Master text styles</a:t>
            </a:r>
          </a:p>
          <a:p>
            <a:pPr marL="185166" lvl="1" indent="-185166">
              <a:buClrTx/>
              <a:buChar char="•"/>
            </a:pPr>
            <a:r>
              <a:rPr lang="en-US"/>
              <a:t>Second level</a:t>
            </a:r>
          </a:p>
          <a:p>
            <a:pPr marL="555498" lvl="2" indent="-233172">
              <a:buChar char="–"/>
            </a:pPr>
            <a:r>
              <a:rPr lang="en-US"/>
              <a:t>Third level</a:t>
            </a:r>
          </a:p>
          <a:p>
            <a:pPr marL="884682" lvl="3" indent="-185166">
              <a:buChar char="•"/>
            </a:pPr>
            <a:r>
              <a:rPr lang="en-US"/>
              <a:t>Fourth level</a:t>
            </a:r>
          </a:p>
          <a:p>
            <a:pPr marL="1255014" lvl="4">
              <a:buChar char="–"/>
            </a:pPr>
            <a:r>
              <a:rPr lang="en-US"/>
              <a:t>Fifth level</a:t>
            </a:r>
          </a:p>
        </p:txBody>
      </p:sp>
      <p:sp>
        <p:nvSpPr>
          <p:cNvPr id="2" name="Title 1"/>
          <p:cNvSpPr>
            <a:spLocks noGrp="1"/>
          </p:cNvSpPr>
          <p:nvPr>
            <p:ph type="title"/>
          </p:nvPr>
        </p:nvSpPr>
        <p:spPr>
          <a:xfrm>
            <a:off x="342900" y="275034"/>
            <a:ext cx="8457010" cy="332399"/>
          </a:xfrm>
        </p:spPr>
        <p:txBody>
          <a:bodyPr/>
          <a:lstStyle>
            <a:lvl1pPr>
              <a:defRPr>
                <a:latin typeface="+mj-lt"/>
              </a:defRPr>
            </a:lvl1pPr>
          </a:lstStyle>
          <a:p>
            <a:r>
              <a:rPr lang="en-US"/>
              <a:t>Click to edit Master title style</a:t>
            </a:r>
          </a:p>
        </p:txBody>
      </p:sp>
      <p:sp>
        <p:nvSpPr>
          <p:cNvPr id="12" name="Text Placeholder 11"/>
          <p:cNvSpPr>
            <a:spLocks noGrp="1"/>
          </p:cNvSpPr>
          <p:nvPr>
            <p:ph type="body" sz="quarter" idx="13" hasCustomPrompt="1"/>
          </p:nvPr>
        </p:nvSpPr>
        <p:spPr>
          <a:xfrm>
            <a:off x="342900" y="1145382"/>
            <a:ext cx="2502694" cy="3345656"/>
          </a:xfrm>
        </p:spPr>
        <p:txBody>
          <a:bodyPr>
            <a:noAutofit/>
          </a:bodyPr>
          <a:lstStyle>
            <a:lvl1pPr marL="0" indent="0">
              <a:buNone/>
              <a:defRPr sz="1500" b="1"/>
            </a:lvl1pPr>
            <a:lvl2pPr marL="185166" indent="-185166">
              <a:buClrTx/>
              <a:buSzPct val="100000"/>
              <a:buFont typeface="Arial" panose="020B0604020202020204" pitchFamily="34" charset="0"/>
              <a:buChar char="•"/>
              <a:defRPr sz="1500"/>
            </a:lvl2pPr>
            <a:lvl3pPr marL="555498" indent="-233172">
              <a:buFont typeface="Arial" panose="020B0604020202020204" pitchFamily="34" charset="0"/>
              <a:buChar char="–"/>
              <a:defRPr sz="1500"/>
            </a:lvl3pPr>
            <a:lvl4pPr marL="884682" indent="-185166">
              <a:buSzPct val="100000"/>
              <a:buFont typeface="Arial" panose="020B0604020202020204" pitchFamily="34" charset="0"/>
              <a:buChar char="•"/>
              <a:defRPr sz="1500"/>
            </a:lvl4pPr>
            <a:lvl5pPr marL="1255014" indent="-185166">
              <a:buFont typeface="Arial" panose="020B0604020202020204" pitchFamily="34" charset="0"/>
              <a:buChar cha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1">
            <a:extLst>
              <a:ext uri="{FF2B5EF4-FFF2-40B4-BE49-F238E27FC236}">
                <a16:creationId xmlns:a16="http://schemas.microsoft.com/office/drawing/2014/main" id="{CC79DA94-4E9A-445A-BBBE-92C436B37B59}"/>
              </a:ext>
            </a:extLst>
          </p:cNvPr>
          <p:cNvSpPr>
            <a:spLocks noGrp="1"/>
          </p:cNvSpPr>
          <p:nvPr>
            <p:ph type="body" sz="quarter" idx="17" hasCustomPrompt="1"/>
          </p:nvPr>
        </p:nvSpPr>
        <p:spPr>
          <a:xfrm>
            <a:off x="6297216" y="1145382"/>
            <a:ext cx="2502694" cy="3345656"/>
          </a:xfrm>
        </p:spPr>
        <p:txBody>
          <a:bodyPr vert="horz" lIns="0" tIns="0" rIns="0" bIns="0" rtlCol="0">
            <a:noAutofit/>
          </a:bodyPr>
          <a:lstStyle>
            <a:lvl1pPr>
              <a:defRPr lang="en-US" sz="1500" b="1" dirty="0"/>
            </a:lvl1pPr>
            <a:lvl2pPr>
              <a:defRPr lang="en-US" sz="1500" dirty="0"/>
            </a:lvl2pPr>
            <a:lvl3pPr>
              <a:defRPr lang="en-US" sz="1500" dirty="0"/>
            </a:lvl3pPr>
            <a:lvl4pPr>
              <a:defRPr lang="en-US" sz="1500" dirty="0"/>
            </a:lvl4pPr>
            <a:lvl5pPr>
              <a:defRPr lang="en-US" sz="1500" dirty="0"/>
            </a:lvl5pPr>
          </a:lstStyle>
          <a:p>
            <a:pPr marL="0" lvl="0" indent="0">
              <a:buNone/>
            </a:pPr>
            <a:r>
              <a:rPr lang="en-US"/>
              <a:t>Edit Master text styles</a:t>
            </a:r>
          </a:p>
          <a:p>
            <a:pPr marL="185166" lvl="1" indent="-185166">
              <a:buClrTx/>
              <a:buChar char="•"/>
            </a:pPr>
            <a:r>
              <a:rPr lang="en-US"/>
              <a:t>Second level</a:t>
            </a:r>
          </a:p>
          <a:p>
            <a:pPr marL="555498" lvl="2" indent="-233172">
              <a:buChar char="–"/>
            </a:pPr>
            <a:r>
              <a:rPr lang="en-US"/>
              <a:t>Third level</a:t>
            </a:r>
          </a:p>
          <a:p>
            <a:pPr marL="884682" lvl="3" indent="-185166">
              <a:buChar char="•"/>
            </a:pPr>
            <a:r>
              <a:rPr lang="en-US"/>
              <a:t>Fourth level</a:t>
            </a:r>
          </a:p>
          <a:p>
            <a:pPr marL="1255014" lvl="4">
              <a:buChar char="–"/>
            </a:pPr>
            <a:r>
              <a:rPr lang="en-US"/>
              <a:t>Fifth level</a:t>
            </a:r>
          </a:p>
        </p:txBody>
      </p:sp>
    </p:spTree>
    <p:extLst>
      <p:ext uri="{BB962C8B-B14F-4D97-AF65-F5344CB8AC3E}">
        <p14:creationId xmlns:p14="http://schemas.microsoft.com/office/powerpoint/2010/main" val="38209651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6" name="Text Placeholder 11"/>
          <p:cNvSpPr>
            <a:spLocks noGrp="1"/>
          </p:cNvSpPr>
          <p:nvPr>
            <p:ph type="body" sz="quarter" idx="16" hasCustomPrompt="1"/>
          </p:nvPr>
        </p:nvSpPr>
        <p:spPr>
          <a:xfrm>
            <a:off x="3318145" y="1145382"/>
            <a:ext cx="2502694" cy="3345656"/>
          </a:xfrm>
          <a:solidFill>
            <a:srgbClr val="D3D3D3"/>
          </a:solidFill>
        </p:spPr>
        <p:txBody>
          <a:bodyPr vert="horz" lIns="182880" tIns="182880" rIns="91440" bIns="182880" rtlCol="0">
            <a:noAutofit/>
          </a:bodyPr>
          <a:lstStyle>
            <a:lvl1pPr>
              <a:defRPr lang="en-US" sz="1500" b="1" dirty="0"/>
            </a:lvl1pPr>
            <a:lvl2pPr>
              <a:defRPr lang="en-US" sz="1500" dirty="0"/>
            </a:lvl2pPr>
            <a:lvl3pPr>
              <a:defRPr lang="en-US" sz="1500" dirty="0"/>
            </a:lvl3pPr>
            <a:lvl4pPr>
              <a:defRPr lang="en-US" sz="1500" dirty="0"/>
            </a:lvl4pPr>
            <a:lvl5pPr>
              <a:defRPr lang="en-US" sz="1500" dirty="0"/>
            </a:lvl5pPr>
          </a:lstStyle>
          <a:p>
            <a:pPr marL="0" lvl="0" indent="0">
              <a:buNone/>
            </a:pPr>
            <a:r>
              <a:rPr lang="en-US"/>
              <a:t>Edit Master text styles</a:t>
            </a:r>
          </a:p>
          <a:p>
            <a:pPr marL="185166" lvl="1" indent="-185166">
              <a:buClrTx/>
              <a:buChar char="•"/>
            </a:pPr>
            <a:r>
              <a:rPr lang="en-US"/>
              <a:t>Second level</a:t>
            </a:r>
          </a:p>
          <a:p>
            <a:pPr marL="555498" lvl="2" indent="-233172">
              <a:buChar char="–"/>
            </a:pPr>
            <a:r>
              <a:rPr lang="en-US"/>
              <a:t>Third level</a:t>
            </a:r>
          </a:p>
          <a:p>
            <a:pPr marL="884682" lvl="3" indent="-185166">
              <a:buChar char="•"/>
            </a:pPr>
            <a:r>
              <a:rPr lang="en-US"/>
              <a:t>Fourth level</a:t>
            </a:r>
          </a:p>
          <a:p>
            <a:pPr marL="1255014" lvl="4" indent="-240030">
              <a:buChar char="–"/>
            </a:pPr>
            <a:r>
              <a:rPr lang="en-US"/>
              <a:t>Fifth level</a:t>
            </a:r>
          </a:p>
        </p:txBody>
      </p:sp>
      <p:sp>
        <p:nvSpPr>
          <p:cNvPr id="2" name="Title 1"/>
          <p:cNvSpPr>
            <a:spLocks noGrp="1"/>
          </p:cNvSpPr>
          <p:nvPr>
            <p:ph type="title"/>
          </p:nvPr>
        </p:nvSpPr>
        <p:spPr>
          <a:xfrm>
            <a:off x="342900" y="275034"/>
            <a:ext cx="8457010" cy="332399"/>
          </a:xfrm>
        </p:spPr>
        <p:txBody>
          <a:bodyPr/>
          <a:lstStyle>
            <a:lvl1pPr>
              <a:defRPr>
                <a:latin typeface="+mj-lt"/>
              </a:defRPr>
            </a:lvl1pPr>
          </a:lstStyle>
          <a:p>
            <a:r>
              <a:rPr lang="en-US"/>
              <a:t>Click to edit Master title style</a:t>
            </a:r>
          </a:p>
        </p:txBody>
      </p:sp>
      <p:sp>
        <p:nvSpPr>
          <p:cNvPr id="12" name="Text Placeholder 11"/>
          <p:cNvSpPr>
            <a:spLocks noGrp="1"/>
          </p:cNvSpPr>
          <p:nvPr>
            <p:ph type="body" sz="quarter" idx="13" hasCustomPrompt="1"/>
          </p:nvPr>
        </p:nvSpPr>
        <p:spPr>
          <a:xfrm>
            <a:off x="342900" y="1145382"/>
            <a:ext cx="2502694" cy="3345656"/>
          </a:xfrm>
          <a:solidFill>
            <a:srgbClr val="D3D3D3"/>
          </a:solidFill>
        </p:spPr>
        <p:txBody>
          <a:bodyPr lIns="182880" tIns="182880" rIns="91440" bIns="182880">
            <a:noAutofit/>
          </a:bodyPr>
          <a:lstStyle>
            <a:lvl1pPr marL="0" indent="0">
              <a:buNone/>
              <a:defRPr sz="1500" b="1"/>
            </a:lvl1pPr>
            <a:lvl2pPr marL="185166" indent="-185166">
              <a:buClrTx/>
              <a:buSzPct val="100000"/>
              <a:buFont typeface="Arial" panose="020B0604020202020204" pitchFamily="34" charset="0"/>
              <a:buChar char="•"/>
              <a:defRPr sz="1500"/>
            </a:lvl2pPr>
            <a:lvl3pPr marL="555498" indent="-233172">
              <a:buFont typeface="Arial" panose="020B0604020202020204" pitchFamily="34" charset="0"/>
              <a:buChar char="–"/>
              <a:defRPr sz="1500"/>
            </a:lvl3pPr>
            <a:lvl4pPr marL="884682" indent="-185166">
              <a:buSzPct val="100000"/>
              <a:buFont typeface="Arial" panose="020B0604020202020204" pitchFamily="34" charset="0"/>
              <a:buChar char="•"/>
              <a:defRPr sz="1500"/>
            </a:lvl4pPr>
            <a:lvl5pPr marL="1255014" indent="-240030">
              <a:buFont typeface="Arial" panose="020B0604020202020204" pitchFamily="34" charset="0"/>
              <a:buChar cha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1">
            <a:extLst>
              <a:ext uri="{FF2B5EF4-FFF2-40B4-BE49-F238E27FC236}">
                <a16:creationId xmlns:a16="http://schemas.microsoft.com/office/drawing/2014/main" id="{F7B06725-09F7-4703-BCE3-493A95404A76}"/>
              </a:ext>
            </a:extLst>
          </p:cNvPr>
          <p:cNvSpPr>
            <a:spLocks noGrp="1"/>
          </p:cNvSpPr>
          <p:nvPr>
            <p:ph type="body" sz="quarter" idx="17" hasCustomPrompt="1"/>
          </p:nvPr>
        </p:nvSpPr>
        <p:spPr>
          <a:xfrm>
            <a:off x="6297216" y="1145382"/>
            <a:ext cx="2502694" cy="3345656"/>
          </a:xfrm>
          <a:solidFill>
            <a:srgbClr val="D3D3D3"/>
          </a:solidFill>
        </p:spPr>
        <p:txBody>
          <a:bodyPr vert="horz" lIns="182880" tIns="182880" rIns="91440" bIns="182880" rtlCol="0">
            <a:noAutofit/>
          </a:bodyPr>
          <a:lstStyle>
            <a:lvl1pPr>
              <a:defRPr lang="en-US" sz="1500" b="1" dirty="0"/>
            </a:lvl1pPr>
            <a:lvl2pPr>
              <a:defRPr lang="en-US" sz="1500" dirty="0"/>
            </a:lvl2pPr>
            <a:lvl3pPr>
              <a:defRPr lang="en-US" sz="1500" dirty="0"/>
            </a:lvl3pPr>
            <a:lvl4pPr>
              <a:defRPr lang="en-US" sz="1500" dirty="0"/>
            </a:lvl4pPr>
            <a:lvl5pPr>
              <a:defRPr lang="en-US" sz="1500" dirty="0"/>
            </a:lvl5pPr>
          </a:lstStyle>
          <a:p>
            <a:pPr marL="0" lvl="0" indent="0">
              <a:buNone/>
            </a:pPr>
            <a:r>
              <a:rPr lang="en-US"/>
              <a:t>Edit Master text styles</a:t>
            </a:r>
          </a:p>
          <a:p>
            <a:pPr marL="185166" lvl="1" indent="-185166">
              <a:buClrTx/>
              <a:buChar char="•"/>
            </a:pPr>
            <a:r>
              <a:rPr lang="en-US"/>
              <a:t>Second level</a:t>
            </a:r>
          </a:p>
          <a:p>
            <a:pPr marL="555498" lvl="2" indent="-233172">
              <a:buChar char="–"/>
            </a:pPr>
            <a:r>
              <a:rPr lang="en-US"/>
              <a:t>Third level</a:t>
            </a:r>
          </a:p>
          <a:p>
            <a:pPr marL="884682" lvl="3" indent="-185166">
              <a:buChar char="•"/>
            </a:pPr>
            <a:r>
              <a:rPr lang="en-US"/>
              <a:t>Fourth level</a:t>
            </a:r>
          </a:p>
          <a:p>
            <a:pPr marL="1255014" lvl="4" indent="-240030">
              <a:buChar char="–"/>
            </a:pPr>
            <a:r>
              <a:rPr lang="en-US"/>
              <a:t>Fifth level</a:t>
            </a:r>
          </a:p>
        </p:txBody>
      </p:sp>
    </p:spTree>
    <p:extLst>
      <p:ext uri="{BB962C8B-B14F-4D97-AF65-F5344CB8AC3E}">
        <p14:creationId xmlns:p14="http://schemas.microsoft.com/office/powerpoint/2010/main" val="318643252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Center">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5BE603-3E7D-4B30-B71E-D469C05829E1}"/>
              </a:ext>
            </a:extLst>
          </p:cNvPr>
          <p:cNvSpPr>
            <a:spLocks noGrp="1"/>
          </p:cNvSpPr>
          <p:nvPr>
            <p:ph type="title" hasCustomPrompt="1"/>
          </p:nvPr>
        </p:nvSpPr>
        <p:spPr>
          <a:xfrm>
            <a:off x="342900" y="2239351"/>
            <a:ext cx="8457010" cy="332399"/>
          </a:xfrm>
        </p:spPr>
        <p:txBody>
          <a:bodyPr anchor="ctr" anchorCtr="0"/>
          <a:lstStyle>
            <a:lvl1pPr algn="ctr">
              <a:defRPr sz="3000">
                <a:solidFill>
                  <a:schemeClr val="tx2"/>
                </a:solidFill>
                <a:latin typeface="+mj-lt"/>
              </a:defRPr>
            </a:lvl1pPr>
          </a:lstStyle>
          <a:p>
            <a:r>
              <a:rPr lang="en-US"/>
              <a:t>Title Center Layout</a:t>
            </a:r>
          </a:p>
        </p:txBody>
      </p:sp>
    </p:spTree>
    <p:extLst>
      <p:ext uri="{BB962C8B-B14F-4D97-AF65-F5344CB8AC3E}">
        <p14:creationId xmlns:p14="http://schemas.microsoft.com/office/powerpoint/2010/main" val="183121363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Top w Center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F96C7-DA47-4432-8469-F8EF70ADFA3C}"/>
              </a:ext>
            </a:extLst>
          </p:cNvPr>
          <p:cNvSpPr>
            <a:spLocks noGrp="1"/>
          </p:cNvSpPr>
          <p:nvPr>
            <p:ph type="title"/>
          </p:nvPr>
        </p:nvSpPr>
        <p:spPr/>
        <p:txBody>
          <a:bodyPr/>
          <a:lstStyle>
            <a:lvl1pPr>
              <a:defRPr>
                <a:latin typeface="+mj-lt"/>
              </a:defRPr>
            </a:lvl1pPr>
          </a:lstStyle>
          <a:p>
            <a:r>
              <a:rPr lang="en-US"/>
              <a:t>Click to edit Master title style</a:t>
            </a:r>
          </a:p>
        </p:txBody>
      </p:sp>
      <p:sp>
        <p:nvSpPr>
          <p:cNvPr id="4" name="Text Placeholder 3">
            <a:extLst>
              <a:ext uri="{FF2B5EF4-FFF2-40B4-BE49-F238E27FC236}">
                <a16:creationId xmlns:a16="http://schemas.microsoft.com/office/drawing/2014/main" id="{DF1984C1-A142-A5B3-40FF-9DCEB13526F5}"/>
              </a:ext>
            </a:extLst>
          </p:cNvPr>
          <p:cNvSpPr>
            <a:spLocks noGrp="1"/>
          </p:cNvSpPr>
          <p:nvPr>
            <p:ph type="body" sz="quarter" idx="10"/>
          </p:nvPr>
        </p:nvSpPr>
        <p:spPr>
          <a:xfrm>
            <a:off x="342900" y="2364001"/>
            <a:ext cx="8457010" cy="415499"/>
          </a:xfrm>
        </p:spPr>
        <p:txBody>
          <a:bodyPr anchor="ctr" anchorCtr="0">
            <a:spAutoFit/>
          </a:bodyPr>
          <a:lstStyle>
            <a:lvl1pPr marL="0" indent="0" algn="ctr">
              <a:buFont typeface="Arial" panose="020B0604020202020204" pitchFamily="34" charset="0"/>
              <a:buChar char="​"/>
              <a:defRPr sz="3000">
                <a:solidFill>
                  <a:schemeClr val="tx2"/>
                </a:solidFill>
                <a:latin typeface="+mj-lt"/>
              </a:defRPr>
            </a:lvl1pPr>
            <a:lvl2pPr marL="0" indent="0" algn="ctr">
              <a:buFont typeface="Arial" panose="020B0604020202020204" pitchFamily="34" charset="0"/>
              <a:buChar char="​"/>
              <a:defRPr/>
            </a:lvl2pPr>
            <a:lvl3pPr marL="0" indent="0" algn="ctr">
              <a:buFont typeface="Arial" panose="020B0604020202020204" pitchFamily="34" charset="0"/>
              <a:buChar char="​"/>
              <a:defRPr/>
            </a:lvl3pPr>
            <a:lvl4pPr marL="0" indent="0" algn="ctr">
              <a:buFont typeface="Arial" panose="020B0604020202020204" pitchFamily="34" charset="0"/>
              <a:buChar char="​"/>
              <a:defRPr/>
            </a:lvl4pPr>
            <a:lvl5pPr marL="0" indent="0" algn="ctr">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201271123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273EB3B-0AE2-7A48-BF35-D1CF1DB27874}"/>
              </a:ext>
            </a:extLst>
          </p:cNvPr>
          <p:cNvSpPr/>
          <p:nvPr userDrawn="1"/>
        </p:nvSpPr>
        <p:spPr bwMode="ltGray">
          <a:xfrm>
            <a:off x="5355674" y="1015529"/>
            <a:ext cx="3788325" cy="2465195"/>
          </a:xfrm>
          <a:prstGeom prst="rect">
            <a:avLst/>
          </a:prstGeom>
          <a:solidFill>
            <a:schemeClr val="tx2"/>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a:ln>
                <a:noFill/>
              </a:ln>
              <a:solidFill>
                <a:schemeClr val="bg1"/>
              </a:solidFill>
              <a:effectLst/>
              <a:latin typeface="Arial" charset="0"/>
            </a:endParaRPr>
          </a:p>
        </p:txBody>
      </p:sp>
      <p:sp>
        <p:nvSpPr>
          <p:cNvPr id="13" name="Title 5">
            <a:extLst>
              <a:ext uri="{FF2B5EF4-FFF2-40B4-BE49-F238E27FC236}">
                <a16:creationId xmlns:a16="http://schemas.microsoft.com/office/drawing/2014/main" id="{73370145-84B9-6A4C-AABF-9DA2C2415A28}"/>
              </a:ext>
            </a:extLst>
          </p:cNvPr>
          <p:cNvSpPr>
            <a:spLocks noGrp="1"/>
          </p:cNvSpPr>
          <p:nvPr>
            <p:ph type="title" hasCustomPrompt="1"/>
          </p:nvPr>
        </p:nvSpPr>
        <p:spPr>
          <a:xfrm>
            <a:off x="1541436" y="1145382"/>
            <a:ext cx="3680074" cy="2202937"/>
          </a:xfrm>
        </p:spPr>
        <p:txBody>
          <a:bodyPr vert="horz" lIns="0" tIns="0" rIns="0" bIns="0" rtlCol="0" anchor="ctr">
            <a:noAutofit/>
          </a:bodyPr>
          <a:lstStyle>
            <a:lvl1pPr>
              <a:lnSpc>
                <a:spcPct val="100000"/>
              </a:lnSpc>
              <a:spcBef>
                <a:spcPts val="0"/>
              </a:spcBef>
              <a:buClr>
                <a:schemeClr val="tx1"/>
              </a:buClr>
              <a:buSzPct val="90000"/>
              <a:buFont typeface="Wingdings" panose="05000000000000000000" pitchFamily="2" charset="2"/>
              <a:buNone/>
              <a:defRPr lang="en-US" sz="2400" b="0">
                <a:solidFill>
                  <a:schemeClr val="tx2"/>
                </a:solidFill>
                <a:latin typeface="+mj-lt"/>
                <a:ea typeface="+mn-ea"/>
                <a:cs typeface="Arial Black" panose="020B0A04020102020204" pitchFamily="34" charset="0"/>
              </a:defRPr>
            </a:lvl1pPr>
          </a:lstStyle>
          <a:p>
            <a:pPr lvl="0">
              <a:spcBef>
                <a:spcPts val="0"/>
              </a:spcBef>
              <a:buClr>
                <a:schemeClr val="tx1"/>
              </a:buClr>
              <a:buSzPct val="90000"/>
              <a:buFont typeface="Wingdings" panose="05000000000000000000" pitchFamily="2" charset="2"/>
              <a:buNone/>
            </a:pPr>
            <a:r>
              <a:rPr lang="en-US"/>
              <a:t>Divider Slide</a:t>
            </a:r>
            <a:br>
              <a:rPr lang="en-US"/>
            </a:br>
            <a:r>
              <a:rPr lang="en-US"/>
              <a:t>30 Characters</a:t>
            </a:r>
            <a:br>
              <a:rPr lang="en-US"/>
            </a:br>
            <a:r>
              <a:rPr lang="en-US"/>
              <a:t>Lorem Ipsum</a:t>
            </a:r>
          </a:p>
        </p:txBody>
      </p:sp>
      <p:sp>
        <p:nvSpPr>
          <p:cNvPr id="14" name="Rectangle 13">
            <a:extLst>
              <a:ext uri="{FF2B5EF4-FFF2-40B4-BE49-F238E27FC236}">
                <a16:creationId xmlns:a16="http://schemas.microsoft.com/office/drawing/2014/main" id="{D3C73678-BC25-BB4A-A678-83DD136C7174}"/>
              </a:ext>
            </a:extLst>
          </p:cNvPr>
          <p:cNvSpPr/>
          <p:nvPr userDrawn="1"/>
        </p:nvSpPr>
        <p:spPr bwMode="ltGray">
          <a:xfrm>
            <a:off x="-2" y="1015529"/>
            <a:ext cx="1315466" cy="2465195"/>
          </a:xfrm>
          <a:prstGeom prst="rect">
            <a:avLst/>
          </a:prstGeom>
          <a:solidFill>
            <a:schemeClr val="tx2"/>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370126756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ivider_Sk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5355674" y="1015529"/>
            <a:ext cx="3788325" cy="2465195"/>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015529"/>
            <a:ext cx="1315466" cy="2465195"/>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a:ln>
                <a:noFill/>
              </a:ln>
              <a:solidFill>
                <a:schemeClr val="bg1"/>
              </a:solidFill>
              <a:effectLst/>
              <a:latin typeface="Arial" charset="0"/>
            </a:endParaRPr>
          </a:p>
        </p:txBody>
      </p:sp>
      <p:sp>
        <p:nvSpPr>
          <p:cNvPr id="5" name="Title 3">
            <a:extLst>
              <a:ext uri="{FF2B5EF4-FFF2-40B4-BE49-F238E27FC236}">
                <a16:creationId xmlns:a16="http://schemas.microsoft.com/office/drawing/2014/main" id="{F4457FE3-0B4A-413C-9BD0-B43E27F3C7B0}"/>
              </a:ext>
            </a:extLst>
          </p:cNvPr>
          <p:cNvSpPr>
            <a:spLocks noGrp="1"/>
          </p:cNvSpPr>
          <p:nvPr>
            <p:ph type="title" hasCustomPrompt="1"/>
          </p:nvPr>
        </p:nvSpPr>
        <p:spPr>
          <a:xfrm>
            <a:off x="1543050" y="1145286"/>
            <a:ext cx="3682746" cy="2201418"/>
          </a:xfrm>
        </p:spPr>
        <p:txBody>
          <a:bodyPr anchor="ctr" anchorCtr="0"/>
          <a:lstStyle>
            <a:lvl1pPr>
              <a:lnSpc>
                <a:spcPct val="100000"/>
              </a:lnSpc>
              <a:defRPr sz="2400">
                <a:latin typeface="+mj-lt"/>
              </a:defRPr>
            </a:lvl1pPr>
          </a:lstStyle>
          <a:p>
            <a:r>
              <a:rPr lang="en-US"/>
              <a:t>Divider Slide</a:t>
            </a:r>
            <a:br>
              <a:rPr lang="en-US"/>
            </a:br>
            <a:r>
              <a:rPr lang="en-US"/>
              <a:t>30 Characters</a:t>
            </a:r>
            <a:br>
              <a:rPr lang="en-US"/>
            </a:br>
            <a:r>
              <a:rPr lang="en-US"/>
              <a:t>Lorem Ipsum</a:t>
            </a:r>
          </a:p>
        </p:txBody>
      </p:sp>
    </p:spTree>
    <p:extLst>
      <p:ext uri="{BB962C8B-B14F-4D97-AF65-F5344CB8AC3E}">
        <p14:creationId xmlns:p14="http://schemas.microsoft.com/office/powerpoint/2010/main" val="35878906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Quote image">
    <p:spTree>
      <p:nvGrpSpPr>
        <p:cNvPr id="1" name=""/>
        <p:cNvGrpSpPr/>
        <p:nvPr/>
      </p:nvGrpSpPr>
      <p:grpSpPr>
        <a:xfrm>
          <a:off x="0" y="0"/>
          <a:ext cx="0" cy="0"/>
          <a:chOff x="0" y="0"/>
          <a:chExt cx="0" cy="0"/>
        </a:xfrm>
      </p:grpSpPr>
      <p:sp>
        <p:nvSpPr>
          <p:cNvPr id="33" name="Background image">
            <a:extLst>
              <a:ext uri="{FF2B5EF4-FFF2-40B4-BE49-F238E27FC236}">
                <a16:creationId xmlns:a16="http://schemas.microsoft.com/office/drawing/2014/main" id="{99FB47D4-AFE7-B043-97C1-A69890F347EC}"/>
              </a:ext>
            </a:extLst>
          </p:cNvPr>
          <p:cNvSpPr>
            <a:spLocks noGrp="1"/>
          </p:cNvSpPr>
          <p:nvPr>
            <p:ph type="pic" sz="quarter" idx="10" hasCustomPrompt="1"/>
          </p:nvPr>
        </p:nvSpPr>
        <p:spPr>
          <a:xfrm>
            <a:off x="179388" y="158750"/>
            <a:ext cx="8785322" cy="4681538"/>
          </a:xfrm>
          <a:custGeom>
            <a:avLst/>
            <a:gdLst/>
            <a:ahLst/>
            <a:cxnLst/>
            <a:rect l="l" t="t" r="r" b="b"/>
            <a:pathLst>
              <a:path w="8785322" h="4681538">
                <a:moveTo>
                  <a:pt x="8379260" y="3874916"/>
                </a:moveTo>
                <a:lnTo>
                  <a:pt x="8379260" y="4136296"/>
                </a:lnTo>
                <a:lnTo>
                  <a:pt x="8504834" y="4136296"/>
                </a:lnTo>
                <a:cubicBezTo>
                  <a:pt x="8504214" y="4187766"/>
                  <a:pt x="8492586" y="4229003"/>
                  <a:pt x="8469952" y="4260009"/>
                </a:cubicBezTo>
                <a:cubicBezTo>
                  <a:pt x="8447318" y="4291015"/>
                  <a:pt x="8409956" y="4315200"/>
                  <a:pt x="8357866" y="4332563"/>
                </a:cubicBezTo>
                <a:lnTo>
                  <a:pt x="8409026" y="4441394"/>
                </a:lnTo>
                <a:cubicBezTo>
                  <a:pt x="8464216" y="4421550"/>
                  <a:pt x="8509950" y="4394110"/>
                  <a:pt x="8546226" y="4359073"/>
                </a:cubicBezTo>
                <a:cubicBezTo>
                  <a:pt x="8582503" y="4324036"/>
                  <a:pt x="8607308" y="4284814"/>
                  <a:pt x="8620640" y="4241406"/>
                </a:cubicBezTo>
                <a:cubicBezTo>
                  <a:pt x="8633973" y="4197998"/>
                  <a:pt x="8640639" y="4138466"/>
                  <a:pt x="8640639" y="4062812"/>
                </a:cubicBezTo>
                <a:lnTo>
                  <a:pt x="8640639" y="3874916"/>
                </a:lnTo>
                <a:close/>
                <a:moveTo>
                  <a:pt x="7940217" y="3874916"/>
                </a:moveTo>
                <a:lnTo>
                  <a:pt x="7940217" y="4136296"/>
                </a:lnTo>
                <a:lnTo>
                  <a:pt x="8066721" y="4136296"/>
                </a:lnTo>
                <a:cubicBezTo>
                  <a:pt x="8065481" y="4187766"/>
                  <a:pt x="8053699" y="4229003"/>
                  <a:pt x="8031374" y="4260009"/>
                </a:cubicBezTo>
                <a:cubicBezTo>
                  <a:pt x="8009050" y="4291015"/>
                  <a:pt x="7971533" y="4315200"/>
                  <a:pt x="7918823" y="4332563"/>
                </a:cubicBezTo>
                <a:lnTo>
                  <a:pt x="7969983" y="4441394"/>
                </a:lnTo>
                <a:cubicBezTo>
                  <a:pt x="8025793" y="4421550"/>
                  <a:pt x="8071837" y="4394110"/>
                  <a:pt x="8108114" y="4359073"/>
                </a:cubicBezTo>
                <a:cubicBezTo>
                  <a:pt x="8144391" y="4324036"/>
                  <a:pt x="8169040" y="4284814"/>
                  <a:pt x="8182063" y="4241406"/>
                </a:cubicBezTo>
                <a:cubicBezTo>
                  <a:pt x="8195085" y="4197998"/>
                  <a:pt x="8201597" y="4138466"/>
                  <a:pt x="8201597" y="4062812"/>
                </a:cubicBezTo>
                <a:lnTo>
                  <a:pt x="8201597" y="3874916"/>
                </a:lnTo>
                <a:close/>
                <a:moveTo>
                  <a:pt x="816817" y="173144"/>
                </a:moveTo>
                <a:cubicBezTo>
                  <a:pt x="761626" y="192988"/>
                  <a:pt x="715893" y="220273"/>
                  <a:pt x="679616" y="254999"/>
                </a:cubicBezTo>
                <a:cubicBezTo>
                  <a:pt x="643339" y="289726"/>
                  <a:pt x="618534" y="328793"/>
                  <a:pt x="605202" y="372202"/>
                </a:cubicBezTo>
                <a:cubicBezTo>
                  <a:pt x="591869" y="415610"/>
                  <a:pt x="585203" y="475451"/>
                  <a:pt x="585203" y="551726"/>
                </a:cubicBezTo>
                <a:lnTo>
                  <a:pt x="585203" y="738691"/>
                </a:lnTo>
                <a:lnTo>
                  <a:pt x="846582" y="738691"/>
                </a:lnTo>
                <a:lnTo>
                  <a:pt x="846582" y="477311"/>
                </a:lnTo>
                <a:lnTo>
                  <a:pt x="720078" y="477311"/>
                </a:lnTo>
                <a:cubicBezTo>
                  <a:pt x="721319" y="425842"/>
                  <a:pt x="733256" y="384604"/>
                  <a:pt x="755890" y="353598"/>
                </a:cubicBezTo>
                <a:cubicBezTo>
                  <a:pt x="778524" y="322592"/>
                  <a:pt x="815887" y="298408"/>
                  <a:pt x="867976" y="281044"/>
                </a:cubicBezTo>
                <a:close/>
                <a:moveTo>
                  <a:pt x="380564" y="173144"/>
                </a:moveTo>
                <a:cubicBezTo>
                  <a:pt x="324754" y="192988"/>
                  <a:pt x="278865" y="220273"/>
                  <a:pt x="242898" y="254999"/>
                </a:cubicBezTo>
                <a:cubicBezTo>
                  <a:pt x="206931" y="289726"/>
                  <a:pt x="182282" y="328948"/>
                  <a:pt x="168949" y="372667"/>
                </a:cubicBezTo>
                <a:cubicBezTo>
                  <a:pt x="155617" y="416385"/>
                  <a:pt x="148950" y="476071"/>
                  <a:pt x="148950" y="551726"/>
                </a:cubicBezTo>
                <a:lnTo>
                  <a:pt x="148950" y="738691"/>
                </a:lnTo>
                <a:lnTo>
                  <a:pt x="410330" y="738691"/>
                </a:lnTo>
                <a:lnTo>
                  <a:pt x="410330" y="477311"/>
                </a:lnTo>
                <a:lnTo>
                  <a:pt x="283826" y="477311"/>
                </a:lnTo>
                <a:cubicBezTo>
                  <a:pt x="285066" y="425842"/>
                  <a:pt x="297003" y="384604"/>
                  <a:pt x="319638" y="353598"/>
                </a:cubicBezTo>
                <a:cubicBezTo>
                  <a:pt x="342272" y="322592"/>
                  <a:pt x="379634" y="298408"/>
                  <a:pt x="431724" y="281044"/>
                </a:cubicBezTo>
                <a:close/>
                <a:moveTo>
                  <a:pt x="0" y="0"/>
                </a:moveTo>
                <a:lnTo>
                  <a:pt x="8785322" y="0"/>
                </a:lnTo>
                <a:lnTo>
                  <a:pt x="8785322" y="4681538"/>
                </a:lnTo>
                <a:lnTo>
                  <a:pt x="0" y="4681538"/>
                </a:lnTo>
                <a:close/>
              </a:path>
            </a:pathLst>
          </a:custGeom>
          <a:blipFill>
            <a:blip r:embed="rId2"/>
            <a:tile tx="0" ty="0" sx="100000" sy="100000" flip="none" algn="tl"/>
          </a:blipFill>
        </p:spPr>
        <p:txBody>
          <a:bodyPr wrap="square">
            <a:noAutofit/>
          </a:bodyPr>
          <a:lstStyle>
            <a:lvl1pPr algn="ctr">
              <a:buNone/>
              <a:defRPr sz="800">
                <a:solidFill>
                  <a:schemeClr val="bg1">
                    <a:lumMod val="75000"/>
                  </a:schemeClr>
                </a:solidFill>
              </a:defRPr>
            </a:lvl1pPr>
          </a:lstStyle>
          <a:p>
            <a:r>
              <a:rPr lang="en-GB" noProof="0"/>
              <a:t>Select placeholder and select Insert &gt; Pictures</a:t>
            </a:r>
          </a:p>
        </p:txBody>
      </p:sp>
      <p:sp>
        <p:nvSpPr>
          <p:cNvPr id="8" name="Title">
            <a:extLst>
              <a:ext uri="{FF2B5EF4-FFF2-40B4-BE49-F238E27FC236}">
                <a16:creationId xmlns:a16="http://schemas.microsoft.com/office/drawing/2014/main" id="{2AF8C6B0-2A99-6F45-B536-0E0C728FB39E}"/>
              </a:ext>
            </a:extLst>
          </p:cNvPr>
          <p:cNvSpPr>
            <a:spLocks noGrp="1"/>
          </p:cNvSpPr>
          <p:nvPr>
            <p:ph type="title" hasCustomPrompt="1"/>
          </p:nvPr>
        </p:nvSpPr>
        <p:spPr>
          <a:xfrm>
            <a:off x="324000" y="1031010"/>
            <a:ext cx="8496000" cy="2937018"/>
          </a:xfrm>
        </p:spPr>
        <p:txBody>
          <a:bodyPr lIns="216000" rIns="216000" anchor="ctr"/>
          <a:lstStyle>
            <a:lvl1pPr algn="ctr">
              <a:defRPr sz="4400">
                <a:solidFill>
                  <a:schemeClr val="bg1"/>
                </a:solidFill>
              </a:defRPr>
            </a:lvl1pPr>
          </a:lstStyle>
          <a:p>
            <a:r>
              <a:rPr lang="en-GB" noProof="0"/>
              <a:t>Click to add inspiring quote</a:t>
            </a:r>
          </a:p>
        </p:txBody>
      </p:sp>
      <p:sp>
        <p:nvSpPr>
          <p:cNvPr id="29" name="Text">
            <a:extLst>
              <a:ext uri="{FF2B5EF4-FFF2-40B4-BE49-F238E27FC236}">
                <a16:creationId xmlns:a16="http://schemas.microsoft.com/office/drawing/2014/main" id="{0752070A-41E1-7D46-9FFE-B3EB4F12E077}"/>
              </a:ext>
            </a:extLst>
          </p:cNvPr>
          <p:cNvSpPr>
            <a:spLocks noGrp="1"/>
          </p:cNvSpPr>
          <p:nvPr>
            <p:ph type="body" sz="quarter" idx="11" hasCustomPrompt="1"/>
          </p:nvPr>
        </p:nvSpPr>
        <p:spPr>
          <a:xfrm>
            <a:off x="3203575" y="3961777"/>
            <a:ext cx="2736850" cy="742286"/>
          </a:xfrm>
        </p:spPr>
        <p:txBody>
          <a:bodyPr anchor="t"/>
          <a:lstStyle>
            <a:lvl1pPr marL="0" indent="-12700" algn="ctr">
              <a:lnSpc>
                <a:spcPct val="95000"/>
              </a:lnSpc>
              <a:spcBef>
                <a:spcPts val="0"/>
              </a:spcBef>
              <a:buNone/>
              <a:tabLst/>
              <a:defRPr b="1" spc="0" baseline="0">
                <a:solidFill>
                  <a:schemeClr val="bg1"/>
                </a:solidFill>
              </a:defRPr>
            </a:lvl1pPr>
          </a:lstStyle>
          <a:p>
            <a:pPr lvl="0"/>
            <a:r>
              <a:rPr lang="en-GB" noProof="0"/>
              <a:t>– Source of quote</a:t>
            </a:r>
          </a:p>
        </p:txBody>
      </p:sp>
      <p:sp>
        <p:nvSpPr>
          <p:cNvPr id="11" name="Date">
            <a:extLst>
              <a:ext uri="{FF2B5EF4-FFF2-40B4-BE49-F238E27FC236}">
                <a16:creationId xmlns:a16="http://schemas.microsoft.com/office/drawing/2014/main" id="{38CA3AD7-12F8-9F43-820D-33071C26D41A}"/>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4A10B9F5-C805-43AE-8B35-8574F977468C}" type="datetime1">
              <a:rPr lang="sv-SE" noProof="0" smtClean="0"/>
              <a:t>2025-09-04</a:t>
            </a:fld>
            <a:endParaRPr lang="en-GB" noProof="0"/>
          </a:p>
        </p:txBody>
      </p:sp>
      <p:sp>
        <p:nvSpPr>
          <p:cNvPr id="12" name="Number">
            <a:extLst>
              <a:ext uri="{FF2B5EF4-FFF2-40B4-BE49-F238E27FC236}">
                <a16:creationId xmlns:a16="http://schemas.microsoft.com/office/drawing/2014/main" id="{DFED6C3B-4A73-344C-A9A5-F8224178884F}"/>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9" name="Footer">
            <a:extLst>
              <a:ext uri="{FF2B5EF4-FFF2-40B4-BE49-F238E27FC236}">
                <a16:creationId xmlns:a16="http://schemas.microsoft.com/office/drawing/2014/main" id="{D235B6C8-FB19-4544-A8A8-260345B89FFC}"/>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1647672201"/>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ivider_Tangerin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5355674" y="1015529"/>
            <a:ext cx="3788325" cy="2465195"/>
          </a:xfrm>
          <a:prstGeom prst="rect">
            <a:avLst/>
          </a:prstGeom>
          <a:solidFill>
            <a:schemeClr val="accent5"/>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015529"/>
            <a:ext cx="1315466" cy="2465195"/>
          </a:xfrm>
          <a:prstGeom prst="rect">
            <a:avLst/>
          </a:prstGeom>
          <a:solidFill>
            <a:schemeClr val="accent5"/>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a:ln>
                <a:noFill/>
              </a:ln>
              <a:solidFill>
                <a:schemeClr val="bg1"/>
              </a:solidFill>
              <a:effectLst/>
              <a:latin typeface="Arial" charset="0"/>
            </a:endParaRPr>
          </a:p>
        </p:txBody>
      </p:sp>
      <p:sp>
        <p:nvSpPr>
          <p:cNvPr id="5" name="Title 3">
            <a:extLst>
              <a:ext uri="{FF2B5EF4-FFF2-40B4-BE49-F238E27FC236}">
                <a16:creationId xmlns:a16="http://schemas.microsoft.com/office/drawing/2014/main" id="{F4457FE3-0B4A-413C-9BD0-B43E27F3C7B0}"/>
              </a:ext>
            </a:extLst>
          </p:cNvPr>
          <p:cNvSpPr>
            <a:spLocks noGrp="1"/>
          </p:cNvSpPr>
          <p:nvPr>
            <p:ph type="title" hasCustomPrompt="1"/>
          </p:nvPr>
        </p:nvSpPr>
        <p:spPr>
          <a:xfrm>
            <a:off x="1543050" y="1145286"/>
            <a:ext cx="3682746" cy="2201418"/>
          </a:xfrm>
        </p:spPr>
        <p:txBody>
          <a:bodyPr anchor="ctr" anchorCtr="0"/>
          <a:lstStyle>
            <a:lvl1pPr>
              <a:lnSpc>
                <a:spcPct val="100000"/>
              </a:lnSpc>
              <a:defRPr sz="2400">
                <a:latin typeface="+mj-lt"/>
              </a:defRPr>
            </a:lvl1pPr>
          </a:lstStyle>
          <a:p>
            <a:r>
              <a:rPr lang="en-US"/>
              <a:t>Divider Slide</a:t>
            </a:r>
            <a:br>
              <a:rPr lang="en-US"/>
            </a:br>
            <a:r>
              <a:rPr lang="en-US"/>
              <a:t>30 Characters</a:t>
            </a:r>
            <a:br>
              <a:rPr lang="en-US"/>
            </a:br>
            <a:r>
              <a:rPr lang="en-US"/>
              <a:t>Lorem Ipsum</a:t>
            </a:r>
          </a:p>
        </p:txBody>
      </p:sp>
    </p:spTree>
    <p:extLst>
      <p:ext uri="{BB962C8B-B14F-4D97-AF65-F5344CB8AC3E}">
        <p14:creationId xmlns:p14="http://schemas.microsoft.com/office/powerpoint/2010/main" val="110486613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ivider_Lem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5355674" y="1015529"/>
            <a:ext cx="3788325" cy="2465195"/>
          </a:xfrm>
          <a:prstGeom prst="rect">
            <a:avLst/>
          </a:prstGeom>
          <a:solidFill>
            <a:schemeClr val="accent6"/>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015529"/>
            <a:ext cx="1315466" cy="2465195"/>
          </a:xfrm>
          <a:prstGeom prst="rect">
            <a:avLst/>
          </a:prstGeom>
          <a:solidFill>
            <a:schemeClr val="accent6"/>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a:ln>
                <a:noFill/>
              </a:ln>
              <a:solidFill>
                <a:schemeClr val="bg1"/>
              </a:solidFill>
              <a:effectLst/>
              <a:latin typeface="Arial" charset="0"/>
            </a:endParaRPr>
          </a:p>
        </p:txBody>
      </p:sp>
      <p:sp>
        <p:nvSpPr>
          <p:cNvPr id="5" name="Title 3">
            <a:extLst>
              <a:ext uri="{FF2B5EF4-FFF2-40B4-BE49-F238E27FC236}">
                <a16:creationId xmlns:a16="http://schemas.microsoft.com/office/drawing/2014/main" id="{F4457FE3-0B4A-413C-9BD0-B43E27F3C7B0}"/>
              </a:ext>
            </a:extLst>
          </p:cNvPr>
          <p:cNvSpPr>
            <a:spLocks noGrp="1"/>
          </p:cNvSpPr>
          <p:nvPr>
            <p:ph type="title" hasCustomPrompt="1"/>
          </p:nvPr>
        </p:nvSpPr>
        <p:spPr>
          <a:xfrm>
            <a:off x="1543050" y="1145286"/>
            <a:ext cx="3682746" cy="2201418"/>
          </a:xfrm>
        </p:spPr>
        <p:txBody>
          <a:bodyPr anchor="ctr" anchorCtr="0"/>
          <a:lstStyle>
            <a:lvl1pPr>
              <a:lnSpc>
                <a:spcPct val="100000"/>
              </a:lnSpc>
              <a:defRPr sz="2400">
                <a:latin typeface="+mj-lt"/>
              </a:defRPr>
            </a:lvl1pPr>
          </a:lstStyle>
          <a:p>
            <a:r>
              <a:rPr lang="en-US"/>
              <a:t>Divider Slide</a:t>
            </a:r>
            <a:br>
              <a:rPr lang="en-US"/>
            </a:br>
            <a:r>
              <a:rPr lang="en-US"/>
              <a:t>30 Characters</a:t>
            </a:r>
            <a:br>
              <a:rPr lang="en-US"/>
            </a:br>
            <a:r>
              <a:rPr lang="en-US"/>
              <a:t>Lorem Ipsum</a:t>
            </a:r>
          </a:p>
        </p:txBody>
      </p:sp>
    </p:spTree>
    <p:extLst>
      <p:ext uri="{BB962C8B-B14F-4D97-AF65-F5344CB8AC3E}">
        <p14:creationId xmlns:p14="http://schemas.microsoft.com/office/powerpoint/2010/main" val="230656967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ivider_Ros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5355674" y="1015529"/>
            <a:ext cx="3788325" cy="2465195"/>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015529"/>
            <a:ext cx="1315466" cy="2465195"/>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a:ln>
                <a:noFill/>
              </a:ln>
              <a:solidFill>
                <a:schemeClr val="bg1"/>
              </a:solidFill>
              <a:effectLst/>
              <a:latin typeface="Arial" charset="0"/>
            </a:endParaRPr>
          </a:p>
        </p:txBody>
      </p:sp>
      <p:sp>
        <p:nvSpPr>
          <p:cNvPr id="5" name="Title 3">
            <a:extLst>
              <a:ext uri="{FF2B5EF4-FFF2-40B4-BE49-F238E27FC236}">
                <a16:creationId xmlns:a16="http://schemas.microsoft.com/office/drawing/2014/main" id="{F4457FE3-0B4A-413C-9BD0-B43E27F3C7B0}"/>
              </a:ext>
            </a:extLst>
          </p:cNvPr>
          <p:cNvSpPr>
            <a:spLocks noGrp="1"/>
          </p:cNvSpPr>
          <p:nvPr>
            <p:ph type="title" hasCustomPrompt="1"/>
          </p:nvPr>
        </p:nvSpPr>
        <p:spPr>
          <a:xfrm>
            <a:off x="1543050" y="1145286"/>
            <a:ext cx="3682746" cy="2201418"/>
          </a:xfrm>
        </p:spPr>
        <p:txBody>
          <a:bodyPr anchor="ctr" anchorCtr="0"/>
          <a:lstStyle>
            <a:lvl1pPr>
              <a:lnSpc>
                <a:spcPct val="100000"/>
              </a:lnSpc>
              <a:defRPr sz="2400">
                <a:latin typeface="+mj-lt"/>
              </a:defRPr>
            </a:lvl1pPr>
          </a:lstStyle>
          <a:p>
            <a:r>
              <a:rPr lang="en-US"/>
              <a:t>Divider Slide</a:t>
            </a:r>
            <a:br>
              <a:rPr lang="en-US"/>
            </a:br>
            <a:r>
              <a:rPr lang="en-US"/>
              <a:t>30 Characters</a:t>
            </a:r>
            <a:br>
              <a:rPr lang="en-US"/>
            </a:br>
            <a:r>
              <a:rPr lang="en-US"/>
              <a:t>Lorem Ipsum</a:t>
            </a:r>
          </a:p>
        </p:txBody>
      </p:sp>
    </p:spTree>
    <p:extLst>
      <p:ext uri="{BB962C8B-B14F-4D97-AF65-F5344CB8AC3E}">
        <p14:creationId xmlns:p14="http://schemas.microsoft.com/office/powerpoint/2010/main" val="101527487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ivider_Surf">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5355674" y="1015529"/>
            <a:ext cx="3788325" cy="2465195"/>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015529"/>
            <a:ext cx="1315466" cy="2465195"/>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a:ln>
                <a:noFill/>
              </a:ln>
              <a:solidFill>
                <a:schemeClr val="bg1"/>
              </a:solidFill>
              <a:effectLst/>
              <a:latin typeface="Arial" charset="0"/>
            </a:endParaRPr>
          </a:p>
        </p:txBody>
      </p:sp>
      <p:sp>
        <p:nvSpPr>
          <p:cNvPr id="5" name="Title 3">
            <a:extLst>
              <a:ext uri="{FF2B5EF4-FFF2-40B4-BE49-F238E27FC236}">
                <a16:creationId xmlns:a16="http://schemas.microsoft.com/office/drawing/2014/main" id="{F4457FE3-0B4A-413C-9BD0-B43E27F3C7B0}"/>
              </a:ext>
            </a:extLst>
          </p:cNvPr>
          <p:cNvSpPr>
            <a:spLocks noGrp="1"/>
          </p:cNvSpPr>
          <p:nvPr>
            <p:ph type="title" hasCustomPrompt="1"/>
          </p:nvPr>
        </p:nvSpPr>
        <p:spPr>
          <a:xfrm>
            <a:off x="1543050" y="1145286"/>
            <a:ext cx="3682746" cy="2201418"/>
          </a:xfrm>
        </p:spPr>
        <p:txBody>
          <a:bodyPr anchor="ctr" anchorCtr="0"/>
          <a:lstStyle>
            <a:lvl1pPr>
              <a:lnSpc>
                <a:spcPct val="100000"/>
              </a:lnSpc>
              <a:defRPr sz="2400">
                <a:latin typeface="+mj-lt"/>
              </a:defRPr>
            </a:lvl1pPr>
          </a:lstStyle>
          <a:p>
            <a:r>
              <a:rPr lang="en-US"/>
              <a:t>Divider Slide</a:t>
            </a:r>
            <a:br>
              <a:rPr lang="en-US"/>
            </a:br>
            <a:r>
              <a:rPr lang="en-US"/>
              <a:t>30 Characters</a:t>
            </a:r>
            <a:br>
              <a:rPr lang="en-US"/>
            </a:br>
            <a:r>
              <a:rPr lang="en-US"/>
              <a:t>Lorem Ipsum</a:t>
            </a:r>
          </a:p>
        </p:txBody>
      </p:sp>
    </p:spTree>
    <p:extLst>
      <p:ext uri="{BB962C8B-B14F-4D97-AF65-F5344CB8AC3E}">
        <p14:creationId xmlns:p14="http://schemas.microsoft.com/office/powerpoint/2010/main" val="158495903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42900" y="756952"/>
            <a:ext cx="4545106" cy="3357086"/>
          </a:xfrm>
        </p:spPr>
        <p:txBody>
          <a:bodyPr anchor="ctr" anchorCtr="0"/>
          <a:lstStyle>
            <a:lvl1pPr marL="0" indent="0">
              <a:lnSpc>
                <a:spcPct val="100000"/>
              </a:lnSpc>
              <a:defRPr>
                <a:latin typeface="+mj-lt"/>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6" name="Text Placeholder 5">
            <a:extLst>
              <a:ext uri="{FF2B5EF4-FFF2-40B4-BE49-F238E27FC236}">
                <a16:creationId xmlns:a16="http://schemas.microsoft.com/office/drawing/2014/main" id="{B5A5ABB7-A574-4F00-8EBF-4F95BF5684D9}"/>
              </a:ext>
            </a:extLst>
          </p:cNvPr>
          <p:cNvSpPr>
            <a:spLocks noGrp="1"/>
          </p:cNvSpPr>
          <p:nvPr>
            <p:ph type="body" sz="quarter" idx="12" hasCustomPrompt="1"/>
          </p:nvPr>
        </p:nvSpPr>
        <p:spPr>
          <a:xfrm>
            <a:off x="342900" y="4114038"/>
            <a:ext cx="4545106" cy="260604"/>
          </a:xfrm>
        </p:spPr>
        <p:txBody>
          <a:bodyPr/>
          <a:lstStyle>
            <a:lvl1pPr marL="0" indent="0">
              <a:buNone/>
              <a:defRPr sz="1050"/>
            </a:lvl1pPr>
            <a:lvl2pPr marL="240030" indent="0">
              <a:buNone/>
              <a:defRPr sz="1050"/>
            </a:lvl2pPr>
            <a:lvl3pPr marL="411480" indent="0">
              <a:buNone/>
              <a:defRPr sz="1050"/>
            </a:lvl3pPr>
            <a:lvl4pPr marL="617220" indent="0">
              <a:buNone/>
              <a:defRPr sz="1050"/>
            </a:lvl4pPr>
            <a:lvl5pPr marL="788670" indent="0">
              <a:buNone/>
              <a:defRPr sz="1050"/>
            </a:lvl5pPr>
          </a:lstStyle>
          <a:p>
            <a:pPr lvl="0"/>
            <a:r>
              <a:rPr lang="en-US"/>
              <a:t>Quote attribution placeholder</a:t>
            </a:r>
          </a:p>
        </p:txBody>
      </p:sp>
    </p:spTree>
    <p:extLst>
      <p:ext uri="{BB962C8B-B14F-4D97-AF65-F5344CB8AC3E}">
        <p14:creationId xmlns:p14="http://schemas.microsoft.com/office/powerpoint/2010/main" val="313750738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Quote_large">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342900" y="756952"/>
            <a:ext cx="6275071" cy="3357086"/>
          </a:xfrm>
        </p:spPr>
        <p:txBody>
          <a:bodyPr anchor="ctr" anchorCtr="0"/>
          <a:lstStyle>
            <a:lvl1pPr marL="0" indent="0">
              <a:lnSpc>
                <a:spcPct val="100000"/>
              </a:lnSpc>
              <a:defRPr>
                <a:latin typeface="+mj-lt"/>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342900" y="4114038"/>
            <a:ext cx="6275071" cy="260604"/>
          </a:xfrm>
        </p:spPr>
        <p:txBody>
          <a:bodyPr/>
          <a:lstStyle>
            <a:lvl1pPr marL="0" indent="0">
              <a:buNone/>
              <a:defRPr sz="1050"/>
            </a:lvl1pPr>
            <a:lvl2pPr marL="240030" indent="0">
              <a:buNone/>
              <a:defRPr sz="1050"/>
            </a:lvl2pPr>
            <a:lvl3pPr marL="411480" indent="0">
              <a:buNone/>
              <a:defRPr sz="1050"/>
            </a:lvl3pPr>
            <a:lvl4pPr marL="617220" indent="0">
              <a:buNone/>
              <a:defRPr sz="1050"/>
            </a:lvl4pPr>
            <a:lvl5pPr marL="788670" indent="0">
              <a:buNone/>
              <a:defRPr sz="1050"/>
            </a:lvl5pPr>
          </a:lstStyle>
          <a:p>
            <a:pPr lvl="0"/>
            <a:r>
              <a:rPr lang="en-US"/>
              <a:t>Quote attribution placeholder</a:t>
            </a:r>
          </a:p>
        </p:txBody>
      </p:sp>
    </p:spTree>
    <p:extLst>
      <p:ext uri="{BB962C8B-B14F-4D97-AF65-F5344CB8AC3E}">
        <p14:creationId xmlns:p14="http://schemas.microsoft.com/office/powerpoint/2010/main" val="61423811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A_Quote_Sky">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761038" y="1588117"/>
            <a:ext cx="7619771" cy="1661993"/>
          </a:xfrm>
        </p:spPr>
        <p:txBody>
          <a:bodyPr anchor="ctr" anchorCtr="0">
            <a:noAutofit/>
          </a:bodyPr>
          <a:lstStyle>
            <a:lvl1pPr marL="0" indent="0">
              <a:lnSpc>
                <a:spcPct val="100000"/>
              </a:lnSpc>
              <a:defRPr sz="2700">
                <a:latin typeface="+mj-lt"/>
              </a:defRPr>
            </a:lvl1pPr>
          </a:lstStyle>
          <a:p>
            <a:r>
              <a:rPr lang="en-US"/>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761038" y="3317174"/>
            <a:ext cx="7618809" cy="323165"/>
          </a:xfrm>
        </p:spPr>
        <p:txBody>
          <a:bodyPr vert="horz" lIns="0" tIns="0" rIns="0" bIns="0" rtlCol="0">
            <a:noAutofit/>
          </a:bodyPr>
          <a:lstStyle>
            <a:lvl1pPr marL="0" indent="0">
              <a:buNone/>
              <a:defRPr lang="en-US" sz="1200" dirty="0"/>
            </a:lvl1pPr>
          </a:lstStyle>
          <a:p>
            <a:pPr marL="205740" lvl="0" indent="-205740"/>
            <a:r>
              <a:rPr lang="en-US"/>
              <a:t>Quote 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0" y="1007269"/>
            <a:ext cx="380519" cy="3128963"/>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8763481" y="1007269"/>
            <a:ext cx="380519" cy="3128963"/>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137144997"/>
      </p:ext>
    </p:extLst>
  </p:cSld>
  <p:clrMapOvr>
    <a:masterClrMapping/>
  </p:clrMapOvr>
  <p:extLst>
    <p:ext uri="{DCECCB84-F9BA-43D5-87BE-67443E8EF086}">
      <p15:sldGuideLst xmlns:p15="http://schemas.microsoft.com/office/powerpoint/2012/main">
        <p15:guide id="1" pos="641">
          <p15:clr>
            <a:srgbClr val="FBAE40"/>
          </p15:clr>
        </p15:guide>
        <p15:guide id="2" pos="7040">
          <p15:clr>
            <a:srgbClr val="FBAE40"/>
          </p15:clr>
        </p15:guide>
        <p15:guide id="3" orient="horz" pos="1170">
          <p15:clr>
            <a:srgbClr val="FBAE40"/>
          </p15:clr>
        </p15:guide>
        <p15:guide id="4" orient="horz" pos="3147">
          <p15:clr>
            <a:srgbClr val="FBAE40"/>
          </p15:clr>
        </p15:guide>
        <p15:guide id="5" orient="horz" pos="3468">
          <p15:clr>
            <a:srgbClr val="FBAE40"/>
          </p15:clr>
        </p15:guide>
        <p15:guide id="6" orient="horz" pos="846">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A_Quote_Lemon">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761038" y="1588117"/>
            <a:ext cx="7619771" cy="1661993"/>
          </a:xfrm>
        </p:spPr>
        <p:txBody>
          <a:bodyPr anchor="ctr" anchorCtr="0">
            <a:noAutofit/>
          </a:bodyPr>
          <a:lstStyle>
            <a:lvl1pPr marL="0" indent="0">
              <a:lnSpc>
                <a:spcPct val="100000"/>
              </a:lnSpc>
              <a:defRPr sz="2700">
                <a:latin typeface="+mj-lt"/>
              </a:defRPr>
            </a:lvl1pPr>
          </a:lstStyle>
          <a:p>
            <a:r>
              <a:rPr lang="en-US"/>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761038" y="3317174"/>
            <a:ext cx="7618809" cy="323165"/>
          </a:xfrm>
        </p:spPr>
        <p:txBody>
          <a:bodyPr vert="horz" lIns="0" tIns="0" rIns="0" bIns="0" rtlCol="0">
            <a:noAutofit/>
          </a:bodyPr>
          <a:lstStyle>
            <a:lvl1pPr marL="0" indent="0">
              <a:buNone/>
              <a:defRPr lang="en-US" sz="1200" dirty="0"/>
            </a:lvl1pPr>
          </a:lstStyle>
          <a:p>
            <a:pPr marL="205740" lvl="0" indent="-205740"/>
            <a:r>
              <a:rPr lang="en-US"/>
              <a:t>Quote 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0" y="1007269"/>
            <a:ext cx="380519" cy="3128963"/>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8763481" y="1007269"/>
            <a:ext cx="380519" cy="3128963"/>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2894350079"/>
      </p:ext>
    </p:extLst>
  </p:cSld>
  <p:clrMapOvr>
    <a:masterClrMapping/>
  </p:clrMapOvr>
  <p:extLst>
    <p:ext uri="{DCECCB84-F9BA-43D5-87BE-67443E8EF086}">
      <p15:sldGuideLst xmlns:p15="http://schemas.microsoft.com/office/powerpoint/2012/main">
        <p15:guide id="1" pos="641">
          <p15:clr>
            <a:srgbClr val="FBAE40"/>
          </p15:clr>
        </p15:guide>
        <p15:guide id="2" pos="7040">
          <p15:clr>
            <a:srgbClr val="FBAE40"/>
          </p15:clr>
        </p15:guide>
        <p15:guide id="3" orient="horz" pos="1170">
          <p15:clr>
            <a:srgbClr val="FBAE40"/>
          </p15:clr>
        </p15:guide>
        <p15:guide id="4" orient="horz" pos="3147">
          <p15:clr>
            <a:srgbClr val="FBAE40"/>
          </p15:clr>
        </p15:guide>
        <p15:guide id="5" orient="horz" pos="3468">
          <p15:clr>
            <a:srgbClr val="FBAE40"/>
          </p15:clr>
        </p15:guide>
        <p15:guide id="6" orient="horz" pos="846">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A_Quote_Tangerine">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761038" y="1588117"/>
            <a:ext cx="7619771" cy="1661993"/>
          </a:xfrm>
        </p:spPr>
        <p:txBody>
          <a:bodyPr anchor="ctr" anchorCtr="0">
            <a:noAutofit/>
          </a:bodyPr>
          <a:lstStyle>
            <a:lvl1pPr marL="0" indent="0">
              <a:lnSpc>
                <a:spcPct val="100000"/>
              </a:lnSpc>
              <a:defRPr sz="2700">
                <a:latin typeface="+mj-lt"/>
              </a:defRPr>
            </a:lvl1pPr>
          </a:lstStyle>
          <a:p>
            <a:r>
              <a:rPr lang="en-US"/>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761038" y="3317174"/>
            <a:ext cx="7618809" cy="323165"/>
          </a:xfrm>
        </p:spPr>
        <p:txBody>
          <a:bodyPr vert="horz" lIns="0" tIns="0" rIns="0" bIns="0" rtlCol="0">
            <a:noAutofit/>
          </a:bodyPr>
          <a:lstStyle>
            <a:lvl1pPr marL="0" indent="0" algn="l">
              <a:buNone/>
              <a:defRPr lang="en-US" sz="1200" dirty="0"/>
            </a:lvl1pPr>
          </a:lstStyle>
          <a:p>
            <a:pPr marL="205740" lvl="0" indent="-205740"/>
            <a:r>
              <a:rPr lang="en-US"/>
              <a:t>Quote 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0" y="1007269"/>
            <a:ext cx="380519" cy="3128963"/>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8763481" y="1007269"/>
            <a:ext cx="380519" cy="3128963"/>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376265832"/>
      </p:ext>
    </p:extLst>
  </p:cSld>
  <p:clrMapOvr>
    <a:masterClrMapping/>
  </p:clrMapOvr>
  <p:extLst>
    <p:ext uri="{DCECCB84-F9BA-43D5-87BE-67443E8EF086}">
      <p15:sldGuideLst xmlns:p15="http://schemas.microsoft.com/office/powerpoint/2012/main">
        <p15:guide id="1" pos="641">
          <p15:clr>
            <a:srgbClr val="FBAE40"/>
          </p15:clr>
        </p15:guide>
        <p15:guide id="2" pos="7040">
          <p15:clr>
            <a:srgbClr val="FBAE40"/>
          </p15:clr>
        </p15:guide>
        <p15:guide id="3" orient="horz" pos="1170">
          <p15:clr>
            <a:srgbClr val="FBAE40"/>
          </p15:clr>
        </p15:guide>
        <p15:guide id="4" orient="horz" pos="3147">
          <p15:clr>
            <a:srgbClr val="FBAE40"/>
          </p15:clr>
        </p15:guide>
        <p15:guide id="5" orient="horz" pos="3468">
          <p15:clr>
            <a:srgbClr val="FBAE40"/>
          </p15:clr>
        </p15:guide>
        <p15:guide id="6" orient="horz" pos="846">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A_Quote_Rose">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761038" y="1588117"/>
            <a:ext cx="7619771" cy="1661993"/>
          </a:xfrm>
        </p:spPr>
        <p:txBody>
          <a:bodyPr anchor="ctr" anchorCtr="0">
            <a:noAutofit/>
          </a:bodyPr>
          <a:lstStyle>
            <a:lvl1pPr marL="0" indent="0">
              <a:lnSpc>
                <a:spcPct val="100000"/>
              </a:lnSpc>
              <a:defRPr sz="2700">
                <a:latin typeface="+mj-lt"/>
              </a:defRPr>
            </a:lvl1pPr>
          </a:lstStyle>
          <a:p>
            <a:r>
              <a:rPr lang="en-US"/>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761038" y="3317174"/>
            <a:ext cx="7618809" cy="323165"/>
          </a:xfrm>
        </p:spPr>
        <p:txBody>
          <a:bodyPr vert="horz" lIns="0" tIns="0" rIns="0" bIns="0" rtlCol="0">
            <a:noAutofit/>
          </a:bodyPr>
          <a:lstStyle>
            <a:lvl1pPr marL="0" indent="0">
              <a:buNone/>
              <a:defRPr lang="en-US" sz="1200" dirty="0"/>
            </a:lvl1pPr>
          </a:lstStyle>
          <a:p>
            <a:pPr marL="205740" lvl="0" indent="-205740"/>
            <a:r>
              <a:rPr lang="en-US"/>
              <a:t>Quote 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0" y="1007269"/>
            <a:ext cx="380519" cy="3128963"/>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8763481" y="1007269"/>
            <a:ext cx="380519" cy="3128963"/>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1853529717"/>
      </p:ext>
    </p:extLst>
  </p:cSld>
  <p:clrMapOvr>
    <a:masterClrMapping/>
  </p:clrMapOvr>
  <p:extLst>
    <p:ext uri="{DCECCB84-F9BA-43D5-87BE-67443E8EF086}">
      <p15:sldGuideLst xmlns:p15="http://schemas.microsoft.com/office/powerpoint/2012/main">
        <p15:guide id="1" pos="641">
          <p15:clr>
            <a:srgbClr val="FBAE40"/>
          </p15:clr>
        </p15:guide>
        <p15:guide id="2" pos="7040">
          <p15:clr>
            <a:srgbClr val="FBAE40"/>
          </p15:clr>
        </p15:guide>
        <p15:guide id="3" orient="horz" pos="1170">
          <p15:clr>
            <a:srgbClr val="FBAE40"/>
          </p15:clr>
        </p15:guide>
        <p15:guide id="4" orient="horz" pos="3147">
          <p15:clr>
            <a:srgbClr val="FBAE40"/>
          </p15:clr>
        </p15:guide>
        <p15:guide id="5" orient="horz" pos="3468">
          <p15:clr>
            <a:srgbClr val="FBAE40"/>
          </p15:clr>
        </p15:guide>
        <p15:guide id="6" orient="horz" pos="846">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 Text and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F46B149-EE35-5F76-5302-E64A76A85984}"/>
              </a:ext>
            </a:extLst>
          </p:cNvPr>
          <p:cNvSpPr/>
          <p:nvPr userDrawn="1"/>
        </p:nvSpPr>
        <p:spPr>
          <a:xfrm>
            <a:off x="4499769" y="158750"/>
            <a:ext cx="144462" cy="4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Image">
            <a:extLst>
              <a:ext uri="{FF2B5EF4-FFF2-40B4-BE49-F238E27FC236}">
                <a16:creationId xmlns:a16="http://schemas.microsoft.com/office/drawing/2014/main" id="{0C18E683-E62F-A04E-9D50-572DEA18E067}"/>
              </a:ext>
            </a:extLst>
          </p:cNvPr>
          <p:cNvSpPr>
            <a:spLocks noGrp="1"/>
          </p:cNvSpPr>
          <p:nvPr>
            <p:ph type="pic" sz="quarter" idx="15" hasCustomPrompt="1"/>
          </p:nvPr>
        </p:nvSpPr>
        <p:spPr>
          <a:xfrm>
            <a:off x="4643439" y="158750"/>
            <a:ext cx="4321272" cy="4681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323850" y="525600"/>
            <a:ext cx="4176713" cy="1583617"/>
          </a:xfrm>
        </p:spPr>
        <p:txBody>
          <a:bodyPr rIns="216000"/>
          <a:lstStyle>
            <a:lvl1pPr>
              <a:defRPr sz="3000" spc="-50"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50" y="276226"/>
            <a:ext cx="4176713" cy="276999"/>
          </a:xfrm>
        </p:spPr>
        <p:txBody>
          <a:bodyPr lIns="111600" rIns="216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chapter tracker</a:t>
            </a:r>
          </a:p>
          <a:p>
            <a:pPr lvl="0"/>
            <a:endParaRPr lang="en-GB" noProof="0"/>
          </a:p>
        </p:txBody>
      </p:sp>
      <p:sp>
        <p:nvSpPr>
          <p:cNvPr id="12" name="Text">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323851" y="2103438"/>
            <a:ext cx="4176712" cy="2607170"/>
          </a:xfrm>
        </p:spPr>
        <p:txBody>
          <a:bodyPr rIns="216000"/>
          <a:lstStyle>
            <a:lvl1pPr>
              <a:defRPr sz="1400"/>
            </a:lvl1pPr>
            <a:lvl2pPr>
              <a:defRPr sz="1200"/>
            </a:lvl2pPr>
            <a:lvl3pPr>
              <a:defRPr sz="1200"/>
            </a:lvl3pPr>
            <a:lvl4pPr>
              <a:defRPr sz="1200"/>
            </a:lvl4pPr>
            <a:lvl5pPr>
              <a:defRPr sz="12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Date">
            <a:extLst>
              <a:ext uri="{FF2B5EF4-FFF2-40B4-BE49-F238E27FC236}">
                <a16:creationId xmlns:a16="http://schemas.microsoft.com/office/drawing/2014/main" id="{B7D04508-015B-A24C-A068-9517A03041E5}"/>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B0163776-37E3-4FFA-A878-218DFE0C5225}" type="datetime1">
              <a:rPr lang="sv-SE" noProof="0" smtClean="0"/>
              <a:t>2025-09-04</a:t>
            </a:fld>
            <a:endParaRPr lang="en-GB" noProof="0"/>
          </a:p>
        </p:txBody>
      </p:sp>
      <p:sp>
        <p:nvSpPr>
          <p:cNvPr id="39" name="Number">
            <a:extLst>
              <a:ext uri="{FF2B5EF4-FFF2-40B4-BE49-F238E27FC236}">
                <a16:creationId xmlns:a16="http://schemas.microsoft.com/office/drawing/2014/main" id="{24E3E452-24F0-1B44-9014-429AC576B5B6}"/>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0" name="Footer">
            <a:extLst>
              <a:ext uri="{FF2B5EF4-FFF2-40B4-BE49-F238E27FC236}">
                <a16:creationId xmlns:a16="http://schemas.microsoft.com/office/drawing/2014/main" id="{9F273896-B1DA-2A4A-9AEB-368D26B986DD}"/>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3432090730"/>
      </p:ext>
    </p:extLst>
  </p:cSld>
  <p:clrMapOvr>
    <a:masterClrMapping/>
  </p:clrMapOvr>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A_Quote_Surf">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761038" y="1588117"/>
            <a:ext cx="7619771" cy="1661993"/>
          </a:xfrm>
        </p:spPr>
        <p:txBody>
          <a:bodyPr anchor="ctr" anchorCtr="0">
            <a:noAutofit/>
          </a:bodyPr>
          <a:lstStyle>
            <a:lvl1pPr marL="0" indent="0">
              <a:lnSpc>
                <a:spcPct val="100000"/>
              </a:lnSpc>
              <a:defRPr sz="2700">
                <a:latin typeface="+mj-lt"/>
              </a:defRPr>
            </a:lvl1pPr>
          </a:lstStyle>
          <a:p>
            <a:r>
              <a:rPr lang="en-US"/>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761038" y="3317174"/>
            <a:ext cx="7618809" cy="323165"/>
          </a:xfrm>
        </p:spPr>
        <p:txBody>
          <a:bodyPr vert="horz" lIns="0" tIns="0" rIns="0" bIns="0" rtlCol="0">
            <a:noAutofit/>
          </a:bodyPr>
          <a:lstStyle>
            <a:lvl1pPr marL="0" indent="0">
              <a:buNone/>
              <a:defRPr lang="en-US" sz="1200" dirty="0"/>
            </a:lvl1pPr>
          </a:lstStyle>
          <a:p>
            <a:pPr marL="205740" lvl="0" indent="-205740"/>
            <a:r>
              <a:rPr lang="en-US"/>
              <a:t>Quote 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0" y="1007269"/>
            <a:ext cx="380519" cy="3128963"/>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8763481" y="1007269"/>
            <a:ext cx="380519" cy="3128963"/>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3855348929"/>
      </p:ext>
    </p:extLst>
  </p:cSld>
  <p:clrMapOvr>
    <a:masterClrMapping/>
  </p:clrMapOvr>
  <p:extLst>
    <p:ext uri="{DCECCB84-F9BA-43D5-87BE-67443E8EF086}">
      <p15:sldGuideLst xmlns:p15="http://schemas.microsoft.com/office/powerpoint/2012/main">
        <p15:guide id="1" pos="641">
          <p15:clr>
            <a:srgbClr val="FBAE40"/>
          </p15:clr>
        </p15:guide>
        <p15:guide id="2" pos="7040">
          <p15:clr>
            <a:srgbClr val="FBAE40"/>
          </p15:clr>
        </p15:guide>
        <p15:guide id="3" orient="horz" pos="1170">
          <p15:clr>
            <a:srgbClr val="FBAE40"/>
          </p15:clr>
        </p15:guide>
        <p15:guide id="4" orient="horz" pos="3147">
          <p15:clr>
            <a:srgbClr val="FBAE40"/>
          </p15:clr>
        </p15:guide>
        <p15:guide id="5" orient="horz" pos="3468">
          <p15:clr>
            <a:srgbClr val="FBAE40"/>
          </p15:clr>
        </p15:guide>
        <p15:guide id="6" orient="horz" pos="846">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SummitCode_Title Slide">
    <p:spTree>
      <p:nvGrpSpPr>
        <p:cNvPr id="1" name=""/>
        <p:cNvGrpSpPr/>
        <p:nvPr/>
      </p:nvGrpSpPr>
      <p:grpSpPr>
        <a:xfrm>
          <a:off x="0" y="0"/>
          <a:ext cx="0" cy="0"/>
          <a:chOff x="0" y="0"/>
          <a:chExt cx="0" cy="0"/>
        </a:xfrm>
      </p:grpSpPr>
      <p:pic>
        <p:nvPicPr>
          <p:cNvPr id="27" name="Gartner Logo"/>
          <p:cNvPicPr>
            <a:picLocks noChangeAspect="1"/>
          </p:cNvPicPr>
          <p:nvPr userDrawn="1"/>
        </p:nvPicPr>
        <p:blipFill>
          <a:blip r:embed="rId2"/>
          <a:srcRect/>
          <a:stretch/>
        </p:blipFill>
        <p:spPr bwMode="black">
          <a:xfrm>
            <a:off x="7266194" y="4481653"/>
            <a:ext cx="1539912" cy="351613"/>
          </a:xfrm>
          <a:prstGeom prst="rect">
            <a:avLst/>
          </a:prstGeom>
        </p:spPr>
      </p:pic>
      <p:sp>
        <p:nvSpPr>
          <p:cNvPr id="20" name="Text - Presenter Name"/>
          <p:cNvSpPr>
            <a:spLocks noGrp="1" noChangeArrowheads="1"/>
          </p:cNvSpPr>
          <p:nvPr>
            <p:ph type="subTitle" idx="1" hasCustomPrompt="1"/>
          </p:nvPr>
        </p:nvSpPr>
        <p:spPr bwMode="black">
          <a:xfrm>
            <a:off x="740597" y="3140660"/>
            <a:ext cx="5421155" cy="207749"/>
          </a:xfrm>
          <a:prstGeom prst="rect">
            <a:avLst/>
          </a:prstGeom>
          <a:ln/>
        </p:spPr>
        <p:txBody>
          <a:bodyPr wrap="square" rIns="0" bIns="0" anchor="t" anchorCtr="0">
            <a:noAutofit/>
          </a:bodyPr>
          <a:lstStyle>
            <a:lvl1pPr marL="0" indent="0" algn="l">
              <a:lnSpc>
                <a:spcPct val="100000"/>
              </a:lnSpc>
              <a:spcBef>
                <a:spcPts val="0"/>
              </a:spcBef>
              <a:spcAft>
                <a:spcPts val="0"/>
              </a:spcAft>
              <a:buFont typeface="Arial" panose="020B0604020202020204" pitchFamily="34" charset="0"/>
              <a:buNone/>
              <a:defRPr sz="1350">
                <a:solidFill>
                  <a:srgbClr val="FFFFFF"/>
                </a:solidFill>
                <a:latin typeface="+mn-lt"/>
              </a:defRPr>
            </a:lvl1pPr>
          </a:lstStyle>
          <a:p>
            <a:pPr lvl="0"/>
            <a:r>
              <a:rPr lang="en-US"/>
              <a:t>Click to add Presenter Name</a:t>
            </a:r>
          </a:p>
        </p:txBody>
      </p:sp>
      <p:sp>
        <p:nvSpPr>
          <p:cNvPr id="19" name="Text - Presentation Title"/>
          <p:cNvSpPr>
            <a:spLocks noGrp="1" noChangeArrowheads="1"/>
          </p:cNvSpPr>
          <p:nvPr>
            <p:ph type="ctrTitle" hasCustomPrompt="1"/>
          </p:nvPr>
        </p:nvSpPr>
        <p:spPr bwMode="black">
          <a:xfrm>
            <a:off x="740598" y="1553061"/>
            <a:ext cx="5421154" cy="1495794"/>
          </a:xfrm>
          <a:ln>
            <a:noFill/>
          </a:ln>
        </p:spPr>
        <p:txBody>
          <a:bodyPr wrap="square" tIns="0" bIns="0" anchor="ctr" anchorCtr="0">
            <a:noAutofit/>
          </a:bodyPr>
          <a:lstStyle>
            <a:lvl1pPr>
              <a:lnSpc>
                <a:spcPct val="90000"/>
              </a:lnSpc>
              <a:spcBef>
                <a:spcPts val="750"/>
              </a:spcBef>
              <a:spcAft>
                <a:spcPts val="225"/>
              </a:spcAft>
              <a:defRPr sz="2700" b="0" baseline="0">
                <a:solidFill>
                  <a:srgbClr val="FFFFFF"/>
                </a:solidFill>
                <a:latin typeface="+mj-lt"/>
                <a:cs typeface="Arial"/>
              </a:defRPr>
            </a:lvl1pPr>
          </a:lstStyle>
          <a:p>
            <a:r>
              <a:rPr lang="en-US"/>
              <a:t>Title Here</a:t>
            </a:r>
          </a:p>
        </p:txBody>
      </p:sp>
      <p:sp>
        <p:nvSpPr>
          <p:cNvPr id="32" name="Focus Frame 2"/>
          <p:cNvSpPr>
            <a:spLocks noChangeAspect="1"/>
          </p:cNvSpPr>
          <p:nvPr userDrawn="1"/>
        </p:nvSpPr>
        <p:spPr bwMode="auto">
          <a:xfrm>
            <a:off x="6401667" y="1215020"/>
            <a:ext cx="120325" cy="2468880"/>
          </a:xfrm>
          <a:prstGeom prst="rect">
            <a:avLst/>
          </a:prstGeom>
          <a:solidFill>
            <a:schemeClr val="accent5"/>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350" dirty="0">
              <a:solidFill>
                <a:srgbClr val="000000"/>
              </a:solidFill>
              <a:ea typeface="+mn-ea"/>
              <a:cs typeface="+mn-cs"/>
            </a:endParaRPr>
          </a:p>
        </p:txBody>
      </p:sp>
      <p:sp>
        <p:nvSpPr>
          <p:cNvPr id="33" name="Focus Frame 2"/>
          <p:cNvSpPr>
            <a:spLocks noChangeAspect="1"/>
          </p:cNvSpPr>
          <p:nvPr userDrawn="1"/>
        </p:nvSpPr>
        <p:spPr bwMode="auto">
          <a:xfrm>
            <a:off x="345192" y="1215020"/>
            <a:ext cx="120325" cy="2468880"/>
          </a:xfrm>
          <a:prstGeom prst="rect">
            <a:avLst/>
          </a:prstGeom>
          <a:solidFill>
            <a:schemeClr val="accent5"/>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350" dirty="0">
              <a:solidFill>
                <a:srgbClr val="000000"/>
              </a:solidFill>
              <a:ea typeface="+mn-ea"/>
              <a:cs typeface="+mn-cs"/>
            </a:endParaRPr>
          </a:p>
        </p:txBody>
      </p:sp>
      <p:sp>
        <p:nvSpPr>
          <p:cNvPr id="10" name="Copyright Text">
            <a:extLst>
              <a:ext uri="{FF2B5EF4-FFF2-40B4-BE49-F238E27FC236}">
                <a16:creationId xmlns:a16="http://schemas.microsoft.com/office/drawing/2014/main" id="{CC1E8655-A643-4A64-93CB-E45163C0F10D}"/>
              </a:ext>
            </a:extLst>
          </p:cNvPr>
          <p:cNvSpPr txBox="1"/>
          <p:nvPr userDrawn="1"/>
        </p:nvSpPr>
        <p:spPr bwMode="gray">
          <a:xfrm>
            <a:off x="345192" y="4365287"/>
            <a:ext cx="5816559" cy="484748"/>
          </a:xfrm>
          <a:prstGeom prst="rect">
            <a:avLst/>
          </a:prstGeom>
          <a:noFill/>
        </p:spPr>
        <p:txBody>
          <a:bodyPr wrap="square" lIns="0" tIns="0" rIns="0" bIns="0" anchor="b" anchorCtr="0">
            <a:spAutoFit/>
          </a:bodyPr>
          <a:lstStyle>
            <a:defPPr>
              <a:defRPr lang="en-US"/>
            </a:defPPr>
            <a:lvl1pPr fontAlgn="auto">
              <a:lnSpc>
                <a:spcPct val="100000"/>
              </a:lnSpc>
              <a:spcBef>
                <a:spcPts val="0"/>
              </a:spcBef>
              <a:spcAft>
                <a:spcPts val="0"/>
              </a:spcAft>
              <a:defRPr sz="700">
                <a:solidFill>
                  <a:srgbClr val="D3D3D3"/>
                </a:solidFill>
              </a:defRPr>
            </a:lvl1pPr>
          </a:lstStyle>
          <a:p>
            <a:pPr lvl="0"/>
            <a:r>
              <a:rPr lang="en-US" sz="525" dirty="0">
                <a:solidFill>
                  <a:srgbClr val="BDBDBD"/>
                </a:solidFill>
              </a:rPr>
              <a:t>© 2024 Gartner, Inc. and/or its affiliates. All rights reserved. Gartner is a registered trademark of Gartner, Inc. and its affiliates. This publication may not be reproduced or distributed in any form without Gartner's prior written permission. It consists of the opinions of Gartner's research organization, which should not be construed as statements of fact. While the information contained in this publication has been obtained from sources believed to be reliable, Gartner disclaims all warranties as to the accuracy, completeness or adequacy of such information. Although Gartner research may address legal and financial issues, Gartner does not provide legal or investment advice and its research should not be construed or used as such. Your access and use of this publication are governed by </a:t>
            </a:r>
            <a:r>
              <a:rPr lang="en-US" sz="525" dirty="0">
                <a:solidFill>
                  <a:srgbClr val="BDBDBD"/>
                </a:solidFill>
                <a:hlinkClick r:id="rId3">
                  <a:extLst>
                    <a:ext uri="{A12FA001-AC4F-418D-AE19-62706E023703}">
                      <ahyp:hlinkClr xmlns:ahyp="http://schemas.microsoft.com/office/drawing/2018/hyperlinkcolor" val="tx"/>
                    </a:ext>
                  </a:extLst>
                </a:hlinkClick>
              </a:rPr>
              <a:t>Gartner’s Usage Policy</a:t>
            </a:r>
            <a:r>
              <a:rPr lang="en-US" sz="525" dirty="0">
                <a:solidFill>
                  <a:srgbClr val="BDBDBD"/>
                </a:solidFill>
              </a:rPr>
              <a:t>. Gartner prides itself on its reputation for independence and objectivity. Its research is produced independently by its research organization without input or influence from any third party. For further information, see "</a:t>
            </a:r>
            <a:r>
              <a:rPr lang="en-US" sz="525" dirty="0">
                <a:solidFill>
                  <a:srgbClr val="BDBDBD"/>
                </a:solidFill>
                <a:hlinkClick r:id="rId4">
                  <a:extLst>
                    <a:ext uri="{A12FA001-AC4F-418D-AE19-62706E023703}">
                      <ahyp:hlinkClr xmlns:ahyp="http://schemas.microsoft.com/office/drawing/2018/hyperlinkcolor" val="tx"/>
                    </a:ext>
                  </a:extLst>
                </a:hlinkClick>
              </a:rPr>
              <a:t>Guiding Principles on Independence and Objectivity</a:t>
            </a:r>
            <a:r>
              <a:rPr lang="en-US" sz="525" dirty="0">
                <a:solidFill>
                  <a:srgbClr val="BDBDBD"/>
                </a:solidFill>
              </a:rPr>
              <a:t>."</a:t>
            </a:r>
          </a:p>
        </p:txBody>
      </p:sp>
    </p:spTree>
    <p:extLst>
      <p:ext uri="{BB962C8B-B14F-4D97-AF65-F5344CB8AC3E}">
        <p14:creationId xmlns:p14="http://schemas.microsoft.com/office/powerpoint/2010/main" val="3961929658"/>
      </p:ext>
    </p:extLst>
  </p:cSld>
  <p:clrMapOvr>
    <a:masterClrMapping/>
  </p:clrMapOvr>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839740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936383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marL="185166" lvl="0" indent="-185166"/>
            <a:r>
              <a:rPr lang="en-US"/>
              <a:t>Edit Master text styles</a:t>
            </a:r>
          </a:p>
          <a:p>
            <a:pPr marL="555498" lvl="1" indent="-233172">
              <a:buSzPct val="100000"/>
            </a:pPr>
            <a:r>
              <a:rPr lang="en-US"/>
              <a:t>Second level</a:t>
            </a:r>
          </a:p>
          <a:p>
            <a:pPr marL="884682" lvl="2" indent="-185166"/>
            <a:r>
              <a:rPr lang="en-US"/>
              <a:t>Third level</a:t>
            </a:r>
          </a:p>
          <a:p>
            <a:pPr marL="1255014" lvl="3" indent="-240030">
              <a:buSzPct val="100000"/>
            </a:pPr>
            <a:r>
              <a:rPr lang="en-US"/>
              <a:t>Fourth level</a:t>
            </a:r>
          </a:p>
          <a:p>
            <a:pPr marL="1584198" lvl="4" indent="-185166"/>
            <a:r>
              <a:rPr lang="en-US"/>
              <a:t>Fifth level</a:t>
            </a:r>
          </a:p>
        </p:txBody>
      </p:sp>
    </p:spTree>
    <p:extLst>
      <p:ext uri="{BB962C8B-B14F-4D97-AF65-F5344CB8AC3E}">
        <p14:creationId xmlns:p14="http://schemas.microsoft.com/office/powerpoint/2010/main" val="423304602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Key Issu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marL="274320" lvl="0" indent="-274320">
              <a:buFont typeface="+mj-lt"/>
              <a:buAutoNum type="arabicPeriod"/>
            </a:pPr>
            <a:r>
              <a:rPr lang="en-US"/>
              <a:t>Edit Master text styles</a:t>
            </a:r>
          </a:p>
          <a:p>
            <a:pPr marL="644652" lvl="1" indent="-233172">
              <a:buSzPct val="100000"/>
            </a:pPr>
            <a:r>
              <a:rPr lang="en-US"/>
              <a:t>Second level</a:t>
            </a:r>
          </a:p>
          <a:p>
            <a:pPr marL="973836" lvl="2" indent="-185166"/>
            <a:r>
              <a:rPr lang="en-US"/>
              <a:t>Third level</a:t>
            </a:r>
          </a:p>
          <a:p>
            <a:pPr marL="1344168" lvl="3" indent="-240030">
              <a:buSzPct val="100000"/>
            </a:pPr>
            <a:r>
              <a:rPr lang="en-US"/>
              <a:t>Fourth level</a:t>
            </a:r>
          </a:p>
          <a:p>
            <a:pPr marL="1673352" lvl="4" indent="-185166"/>
            <a:r>
              <a:rPr lang="en-US"/>
              <a:t>Fifth level</a:t>
            </a:r>
          </a:p>
        </p:txBody>
      </p:sp>
    </p:spTree>
    <p:extLst>
      <p:ext uri="{BB962C8B-B14F-4D97-AF65-F5344CB8AC3E}">
        <p14:creationId xmlns:p14="http://schemas.microsoft.com/office/powerpoint/2010/main" val="106754071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Key Issues - Gre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p:txBody>
          <a:bodyPr vert="horz" lIns="0" tIns="0" rIns="0" bIns="0" rtlCol="0">
            <a:noAutofit/>
          </a:bodyPr>
          <a:lstStyle>
            <a:lvl1pPr>
              <a:defRPr lang="en-US" dirty="0">
                <a:solidFill>
                  <a:srgbClr val="BDBDBD"/>
                </a:solidFill>
              </a:defRPr>
            </a:lvl1pPr>
            <a:lvl2pPr>
              <a:defRPr lang="en-US" dirty="0">
                <a:solidFill>
                  <a:srgbClr val="BDBDBD"/>
                </a:solidFill>
              </a:defRPr>
            </a:lvl2pPr>
            <a:lvl3pPr>
              <a:defRPr lang="en-US" dirty="0">
                <a:solidFill>
                  <a:srgbClr val="BDBDBD"/>
                </a:solidFill>
              </a:defRPr>
            </a:lvl3pPr>
            <a:lvl4pPr>
              <a:defRPr lang="en-US" dirty="0">
                <a:solidFill>
                  <a:srgbClr val="BDBDBD"/>
                </a:solidFill>
              </a:defRPr>
            </a:lvl4pPr>
            <a:lvl5pPr>
              <a:defRPr lang="en-US" dirty="0">
                <a:solidFill>
                  <a:srgbClr val="BDBDBD"/>
                </a:solidFill>
              </a:defRPr>
            </a:lvl5pPr>
          </a:lstStyle>
          <a:p>
            <a:pPr marL="274320" lvl="0" indent="-274320">
              <a:buFont typeface="+mj-lt"/>
              <a:buAutoNum type="arabicPeriod"/>
            </a:pPr>
            <a:r>
              <a:rPr lang="en-US"/>
              <a:t>Click to edit Master text styles</a:t>
            </a:r>
          </a:p>
          <a:p>
            <a:pPr marL="644652" lvl="1" indent="-233172">
              <a:buClr>
                <a:srgbClr val="979D9D"/>
              </a:buClr>
              <a:buSzPct val="100000"/>
            </a:pPr>
            <a:r>
              <a:rPr lang="en-US"/>
              <a:t>Second level</a:t>
            </a:r>
          </a:p>
          <a:p>
            <a:pPr marL="973836" lvl="2" indent="-185166">
              <a:buClr>
                <a:srgbClr val="979D9D"/>
              </a:buClr>
            </a:pPr>
            <a:r>
              <a:rPr lang="en-US"/>
              <a:t>Third level</a:t>
            </a:r>
          </a:p>
          <a:p>
            <a:pPr marL="1344168" lvl="3" indent="-240030">
              <a:buClr>
                <a:srgbClr val="979D9D"/>
              </a:buClr>
              <a:buSzPct val="100000"/>
            </a:pPr>
            <a:r>
              <a:rPr lang="en-US"/>
              <a:t>Fourth level</a:t>
            </a:r>
          </a:p>
          <a:p>
            <a:pPr marL="1673352" lvl="4" indent="-185166">
              <a:buClr>
                <a:srgbClr val="979D9D"/>
              </a:buClr>
            </a:pPr>
            <a:r>
              <a:rPr lang="en-US"/>
              <a:t>Fifth level</a:t>
            </a:r>
          </a:p>
        </p:txBody>
      </p:sp>
    </p:spTree>
    <p:extLst>
      <p:ext uri="{BB962C8B-B14F-4D97-AF65-F5344CB8AC3E}">
        <p14:creationId xmlns:p14="http://schemas.microsoft.com/office/powerpoint/2010/main" val="392724384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4"/>
          <p:cNvSpPr>
            <a:spLocks noGrp="1"/>
          </p:cNvSpPr>
          <p:nvPr>
            <p:ph sz="quarter" idx="10"/>
          </p:nvPr>
        </p:nvSpPr>
        <p:spPr>
          <a:xfrm>
            <a:off x="342900" y="1145382"/>
            <a:ext cx="4124325" cy="3345656"/>
          </a:xfrm>
        </p:spPr>
        <p:txBody>
          <a:bodyPr vert="horz" lIns="0" tIns="0" rIns="0" bIns="0" rtlCol="0">
            <a:noAutofit/>
          </a:bodyPr>
          <a:lstStyle>
            <a:lvl1pPr>
              <a:defRPr lang="en-US"/>
            </a:lvl1pPr>
            <a:lvl2pPr>
              <a:defRPr lang="en-US"/>
            </a:lvl2pPr>
            <a:lvl3pPr>
              <a:defRPr lang="en-US"/>
            </a:lvl3pPr>
            <a:lvl4pPr>
              <a:defRPr lang="en-US"/>
            </a:lvl4pPr>
            <a:lvl5pPr>
              <a:defRPr lang="en-US" dirty="0"/>
            </a:lvl5pPr>
          </a:lstStyle>
          <a:p>
            <a:pPr marL="185166" lvl="0" indent="-185166"/>
            <a:r>
              <a:rPr lang="en-US"/>
              <a:t>Edit Master text styles</a:t>
            </a:r>
          </a:p>
          <a:p>
            <a:pPr marL="555498" lvl="1" indent="-233172">
              <a:buSzPct val="100000"/>
            </a:pPr>
            <a:r>
              <a:rPr lang="en-US"/>
              <a:t>Second level</a:t>
            </a:r>
          </a:p>
          <a:p>
            <a:pPr marL="884682" lvl="2" indent="-185166"/>
            <a:r>
              <a:rPr lang="en-US"/>
              <a:t>Third level</a:t>
            </a:r>
          </a:p>
          <a:p>
            <a:pPr marL="1255014" lvl="3" indent="-240030">
              <a:buSzPct val="100000"/>
            </a:pPr>
            <a:r>
              <a:rPr lang="en-US"/>
              <a:t>Fourth level</a:t>
            </a:r>
          </a:p>
          <a:p>
            <a:pPr marL="1584198" lvl="4" indent="-185166"/>
            <a:r>
              <a:rPr lang="en-US"/>
              <a:t>Fifth level</a:t>
            </a:r>
          </a:p>
        </p:txBody>
      </p:sp>
    </p:spTree>
    <p:extLst>
      <p:ext uri="{BB962C8B-B14F-4D97-AF65-F5344CB8AC3E}">
        <p14:creationId xmlns:p14="http://schemas.microsoft.com/office/powerpoint/2010/main" val="217517013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342900" y="1145382"/>
            <a:ext cx="4124325" cy="3345656"/>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marL="185166" lvl="0" indent="-185166"/>
            <a:r>
              <a:rPr lang="en-US"/>
              <a:t>Edit Master text styles</a:t>
            </a:r>
          </a:p>
          <a:p>
            <a:pPr marL="555498" lvl="1" indent="-233172">
              <a:buSzPct val="100000"/>
            </a:pPr>
            <a:r>
              <a:rPr lang="en-US"/>
              <a:t>Second level</a:t>
            </a:r>
          </a:p>
          <a:p>
            <a:pPr marL="884682" lvl="2" indent="-185166"/>
            <a:r>
              <a:rPr lang="en-US"/>
              <a:t>Third level</a:t>
            </a:r>
          </a:p>
          <a:p>
            <a:pPr marL="1255014" lvl="3" indent="-240030">
              <a:buSzPct val="100000"/>
            </a:pPr>
            <a:r>
              <a:rPr lang="en-US"/>
              <a:t>Fourth level</a:t>
            </a:r>
          </a:p>
          <a:p>
            <a:pPr marL="1584198" lvl="4" indent="-185166"/>
            <a:r>
              <a:rPr lang="en-US"/>
              <a:t>Fifth level</a:t>
            </a:r>
          </a:p>
        </p:txBody>
      </p:sp>
      <p:sp>
        <p:nvSpPr>
          <p:cNvPr id="8" name="Text Placeholder 7"/>
          <p:cNvSpPr>
            <a:spLocks noGrp="1"/>
          </p:cNvSpPr>
          <p:nvPr>
            <p:ph type="body" sz="quarter" idx="11"/>
          </p:nvPr>
        </p:nvSpPr>
        <p:spPr>
          <a:xfrm>
            <a:off x="4675585" y="1145382"/>
            <a:ext cx="4124325" cy="3345656"/>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marL="185166" lvl="0" indent="-185166"/>
            <a:r>
              <a:rPr lang="en-US"/>
              <a:t>Edit Master text styles</a:t>
            </a:r>
          </a:p>
          <a:p>
            <a:pPr marL="555498" lvl="1" indent="-233172">
              <a:buSzPct val="100000"/>
            </a:pPr>
            <a:r>
              <a:rPr lang="en-US"/>
              <a:t>Second level</a:t>
            </a:r>
          </a:p>
          <a:p>
            <a:pPr marL="884682" lvl="2" indent="-185166"/>
            <a:r>
              <a:rPr lang="en-US"/>
              <a:t>Third level</a:t>
            </a:r>
          </a:p>
          <a:p>
            <a:pPr marL="1255014" lvl="3" indent="-240030">
              <a:buSzPct val="100000"/>
            </a:pPr>
            <a:r>
              <a:rPr lang="en-US"/>
              <a:t>Fourth level</a:t>
            </a:r>
          </a:p>
          <a:p>
            <a:pPr marL="1584198" lvl="4" indent="-185166"/>
            <a:r>
              <a:rPr lang="en-US"/>
              <a:t>Fifth level</a:t>
            </a:r>
          </a:p>
        </p:txBody>
      </p:sp>
    </p:spTree>
    <p:extLst>
      <p:ext uri="{BB962C8B-B14F-4D97-AF65-F5344CB8AC3E}">
        <p14:creationId xmlns:p14="http://schemas.microsoft.com/office/powerpoint/2010/main" val="419667850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PA Ban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2" name="Text Placeholder 11"/>
          <p:cNvSpPr>
            <a:spLocks noGrp="1"/>
          </p:cNvSpPr>
          <p:nvPr>
            <p:ph type="body" sz="quarter" idx="13"/>
          </p:nvPr>
        </p:nvSpPr>
        <p:spPr>
          <a:xfrm>
            <a:off x="342901" y="1644968"/>
            <a:ext cx="4124325" cy="2846070"/>
          </a:xfrm>
        </p:spPr>
        <p:txBody>
          <a:bodyPr vert="horz" lIns="0" tIns="0" rIns="0" bIns="0" rtlCol="0">
            <a:noAutofit/>
          </a:bodyPr>
          <a:lstStyle>
            <a:lvl1pPr>
              <a:defRPr lang="en-US" sz="1800" b="1" dirty="0"/>
            </a:lvl1pPr>
            <a:lvl2pPr>
              <a:defRPr lang="en-US" dirty="0"/>
            </a:lvl2pPr>
            <a:lvl3pPr>
              <a:defRPr lang="en-US" dirty="0"/>
            </a:lvl3pPr>
            <a:lvl4pPr>
              <a:defRPr lang="en-US" dirty="0"/>
            </a:lvl4pPr>
            <a:lvl5pPr>
              <a:defRPr lang="en-US" dirty="0"/>
            </a:lvl5pPr>
          </a:lstStyle>
          <a:p>
            <a:pPr marL="0" lvl="0" indent="0">
              <a:buNone/>
            </a:pPr>
            <a:r>
              <a:rPr lang="en-US"/>
              <a:t>Edit Master text styles</a:t>
            </a:r>
          </a:p>
          <a:p>
            <a:pPr marL="185166" lvl="1" indent="-185166">
              <a:buClrTx/>
              <a:buSzPct val="100000"/>
              <a:buChar char="•"/>
            </a:pPr>
            <a:r>
              <a:rPr lang="en-US"/>
              <a:t>Second level</a:t>
            </a:r>
          </a:p>
          <a:p>
            <a:pPr marL="555498" lvl="2" indent="-233172">
              <a:buChar char="–"/>
            </a:pPr>
            <a:r>
              <a:rPr lang="en-US"/>
              <a:t>Third level</a:t>
            </a:r>
          </a:p>
          <a:p>
            <a:pPr marL="884682" lvl="3" indent="-185166">
              <a:buSzPct val="100000"/>
              <a:buChar char="•"/>
            </a:pPr>
            <a:r>
              <a:rPr lang="en-US"/>
              <a:t>Fourth level</a:t>
            </a:r>
          </a:p>
          <a:p>
            <a:pPr marL="1255014" lvl="4" indent="-240030">
              <a:buChar char="–"/>
            </a:pPr>
            <a:r>
              <a:rPr lang="en-US"/>
              <a:t>Fifth level</a:t>
            </a:r>
          </a:p>
        </p:txBody>
      </p:sp>
      <p:sp>
        <p:nvSpPr>
          <p:cNvPr id="5" name="Text Placeholder 4"/>
          <p:cNvSpPr>
            <a:spLocks noGrp="1"/>
          </p:cNvSpPr>
          <p:nvPr>
            <p:ph type="body" sz="quarter" idx="15" hasCustomPrompt="1"/>
          </p:nvPr>
        </p:nvSpPr>
        <p:spPr bwMode="gray">
          <a:xfrm>
            <a:off x="342900" y="732235"/>
            <a:ext cx="8457010" cy="785813"/>
          </a:xfrm>
          <a:solidFill>
            <a:srgbClr val="009AD7"/>
          </a:solidFill>
        </p:spPr>
        <p:txBody>
          <a:bodyPr lIns="137160" rIns="91440" anchor="ctr" anchorCtr="0"/>
          <a:lstStyle>
            <a:lvl1pPr marL="0" indent="0">
              <a:spcBef>
                <a:spcPts val="450"/>
              </a:spcBef>
              <a:buNone/>
              <a:defRPr sz="1800">
                <a:solidFill>
                  <a:srgbClr val="FFFFFF"/>
                </a:solidFill>
              </a:defRPr>
            </a:lvl1pPr>
          </a:lstStyle>
          <a:p>
            <a:pPr lvl="0"/>
            <a:r>
              <a:rPr lang="en-US"/>
              <a:t>Edit Master text styles</a:t>
            </a:r>
          </a:p>
        </p:txBody>
      </p:sp>
      <p:sp>
        <p:nvSpPr>
          <p:cNvPr id="7" name="Text Placeholder 11"/>
          <p:cNvSpPr>
            <a:spLocks noGrp="1"/>
          </p:cNvSpPr>
          <p:nvPr>
            <p:ph type="body" sz="quarter" idx="16"/>
          </p:nvPr>
        </p:nvSpPr>
        <p:spPr>
          <a:xfrm>
            <a:off x="4675585" y="1644968"/>
            <a:ext cx="4124325" cy="2846070"/>
          </a:xfrm>
        </p:spPr>
        <p:txBody>
          <a:bodyPr vert="horz" lIns="0" tIns="0" rIns="0" bIns="0" rtlCol="0">
            <a:noAutofit/>
          </a:bodyPr>
          <a:lstStyle>
            <a:lvl1pPr>
              <a:defRPr lang="en-US" sz="1800" b="1" dirty="0"/>
            </a:lvl1pPr>
            <a:lvl2pPr>
              <a:defRPr lang="en-US" dirty="0"/>
            </a:lvl2pPr>
            <a:lvl3pPr>
              <a:defRPr lang="en-US" dirty="0"/>
            </a:lvl3pPr>
            <a:lvl4pPr>
              <a:defRPr lang="en-US" dirty="0"/>
            </a:lvl4pPr>
            <a:lvl5pPr>
              <a:defRPr lang="en-US" dirty="0"/>
            </a:lvl5pPr>
          </a:lstStyle>
          <a:p>
            <a:pPr marL="0" lvl="0" indent="0">
              <a:buNone/>
            </a:pPr>
            <a:r>
              <a:rPr lang="en-US"/>
              <a:t>Edit Master text styles</a:t>
            </a:r>
          </a:p>
          <a:p>
            <a:pPr marL="185166" lvl="1" indent="-185166">
              <a:buClrTx/>
              <a:buSzPct val="100000"/>
              <a:buChar char="•"/>
            </a:pPr>
            <a:r>
              <a:rPr lang="en-US"/>
              <a:t>Second level</a:t>
            </a:r>
          </a:p>
          <a:p>
            <a:pPr marL="555498" lvl="2" indent="-233172">
              <a:buChar char="–"/>
            </a:pPr>
            <a:r>
              <a:rPr lang="en-US"/>
              <a:t>Third level</a:t>
            </a:r>
          </a:p>
          <a:p>
            <a:pPr marL="884682" lvl="3" indent="-185166">
              <a:buSzPct val="100000"/>
              <a:buChar char="•"/>
            </a:pPr>
            <a:r>
              <a:rPr lang="en-US"/>
              <a:t>Fourth level</a:t>
            </a:r>
          </a:p>
          <a:p>
            <a:pPr marL="1255014" lvl="4" indent="-240030">
              <a:buChar char="–"/>
            </a:pPr>
            <a:r>
              <a:rPr lang="en-US"/>
              <a:t>Fifth level</a:t>
            </a:r>
          </a:p>
        </p:txBody>
      </p:sp>
    </p:spTree>
    <p:extLst>
      <p:ext uri="{BB962C8B-B14F-4D97-AF65-F5344CB8AC3E}">
        <p14:creationId xmlns:p14="http://schemas.microsoft.com/office/powerpoint/2010/main" val="41030262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 Text and Small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831C907-1832-6462-0053-4E9B38292362}"/>
              </a:ext>
            </a:extLst>
          </p:cNvPr>
          <p:cNvSpPr/>
          <p:nvPr userDrawn="1"/>
        </p:nvSpPr>
        <p:spPr>
          <a:xfrm>
            <a:off x="5940425" y="158750"/>
            <a:ext cx="144462" cy="4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Image">
            <a:extLst>
              <a:ext uri="{FF2B5EF4-FFF2-40B4-BE49-F238E27FC236}">
                <a16:creationId xmlns:a16="http://schemas.microsoft.com/office/drawing/2014/main" id="{0C18E683-E62F-A04E-9D50-572DEA18E067}"/>
              </a:ext>
            </a:extLst>
          </p:cNvPr>
          <p:cNvSpPr>
            <a:spLocks noGrp="1"/>
          </p:cNvSpPr>
          <p:nvPr>
            <p:ph type="pic" sz="quarter" idx="15" hasCustomPrompt="1"/>
          </p:nvPr>
        </p:nvSpPr>
        <p:spPr>
          <a:xfrm>
            <a:off x="6084887" y="158750"/>
            <a:ext cx="2879725" cy="4681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a:p>
            <a:endParaRPr lang="en-GB" noProof="0"/>
          </a:p>
        </p:txBody>
      </p:sp>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323850" y="525600"/>
            <a:ext cx="5616576" cy="1498314"/>
          </a:xfrm>
        </p:spPr>
        <p:txBody>
          <a:bodyPr rIns="216000"/>
          <a:lstStyle>
            <a:lvl1pPr>
              <a:defRPr sz="3000" spc="-50"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50" y="276227"/>
            <a:ext cx="5616575" cy="249374"/>
          </a:xfrm>
        </p:spPr>
        <p:txBody>
          <a:bodyPr lIns="111600" rIns="216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chapter tracker</a:t>
            </a:r>
          </a:p>
        </p:txBody>
      </p:sp>
      <p:sp>
        <p:nvSpPr>
          <p:cNvPr id="12" name="Text 1">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323851" y="2103438"/>
            <a:ext cx="2735262" cy="2592387"/>
          </a:xfrm>
        </p:spPr>
        <p:txBody>
          <a:bodyPr rIns="216000"/>
          <a:lstStyle>
            <a:lvl1pPr>
              <a:defRPr sz="1400"/>
            </a:lvl1pPr>
            <a:lvl2pPr>
              <a:defRPr sz="1200"/>
            </a:lvl2pPr>
            <a:lvl3pPr>
              <a:defRPr sz="1200"/>
            </a:lvl3pPr>
            <a:lvl4pPr>
              <a:defRPr sz="1200"/>
            </a:lvl4pPr>
            <a:lvl5pPr>
              <a:defRPr sz="12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9" name="Text 2">
            <a:extLst>
              <a:ext uri="{FF2B5EF4-FFF2-40B4-BE49-F238E27FC236}">
                <a16:creationId xmlns:a16="http://schemas.microsoft.com/office/drawing/2014/main" id="{0FB76FD9-59CC-F342-90A0-4CBDA20D19ED}"/>
              </a:ext>
            </a:extLst>
          </p:cNvPr>
          <p:cNvSpPr>
            <a:spLocks noGrp="1"/>
          </p:cNvSpPr>
          <p:nvPr>
            <p:ph type="body" sz="quarter" idx="16" hasCustomPrompt="1"/>
          </p:nvPr>
        </p:nvSpPr>
        <p:spPr>
          <a:xfrm>
            <a:off x="3204369" y="2103438"/>
            <a:ext cx="2736056" cy="2592387"/>
          </a:xfrm>
        </p:spPr>
        <p:txBody>
          <a:bodyPr rIns="216000"/>
          <a:lstStyle>
            <a:lvl1pPr>
              <a:defRPr sz="1400"/>
            </a:lvl1pPr>
            <a:lvl2pPr>
              <a:defRPr sz="1200"/>
            </a:lvl2pPr>
            <a:lvl3pPr>
              <a:defRPr sz="1200"/>
            </a:lvl3pPr>
            <a:lvl4pPr>
              <a:defRPr sz="1200"/>
            </a:lvl4pPr>
            <a:lvl5pPr>
              <a:defRPr sz="12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5" name="Date">
            <a:extLst>
              <a:ext uri="{FF2B5EF4-FFF2-40B4-BE49-F238E27FC236}">
                <a16:creationId xmlns:a16="http://schemas.microsoft.com/office/drawing/2014/main" id="{EBF909F0-CE1B-3D46-83B7-E4DA279DC19B}"/>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C9E26BC9-7072-4750-985D-6E623E353D56}" type="datetime1">
              <a:rPr lang="sv-SE" noProof="0" smtClean="0"/>
              <a:t>2025-09-04</a:t>
            </a:fld>
            <a:endParaRPr lang="en-GB" noProof="0"/>
          </a:p>
        </p:txBody>
      </p:sp>
      <p:sp>
        <p:nvSpPr>
          <p:cNvPr id="36" name="Number">
            <a:extLst>
              <a:ext uri="{FF2B5EF4-FFF2-40B4-BE49-F238E27FC236}">
                <a16:creationId xmlns:a16="http://schemas.microsoft.com/office/drawing/2014/main" id="{EB2FF840-5D29-6845-91DA-E82490F28637}"/>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1" name="Footer">
            <a:extLst>
              <a:ext uri="{FF2B5EF4-FFF2-40B4-BE49-F238E27FC236}">
                <a16:creationId xmlns:a16="http://schemas.microsoft.com/office/drawing/2014/main" id="{82519C75-0594-8F47-9542-99B135CAA319}"/>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3505626483"/>
      </p:ext>
    </p:extLst>
  </p:cSld>
  <p:clrMapOvr>
    <a:masterClrMapping/>
  </p:clrMapOvr>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PA Ful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11"/>
          <p:cNvSpPr>
            <a:spLocks noGrp="1"/>
          </p:cNvSpPr>
          <p:nvPr>
            <p:ph type="body" sz="quarter" idx="13"/>
          </p:nvPr>
        </p:nvSpPr>
        <p:spPr>
          <a:xfrm>
            <a:off x="342901" y="1145382"/>
            <a:ext cx="8457009" cy="3345656"/>
          </a:xfrm>
        </p:spPr>
        <p:txBody>
          <a:bodyPr vert="horz" lIns="0" tIns="0" rIns="0" bIns="0" rtlCol="0">
            <a:noAutofit/>
          </a:bodyPr>
          <a:lstStyle>
            <a:lvl1pPr>
              <a:defRPr lang="en-US" b="1" dirty="0"/>
            </a:lvl1pPr>
            <a:lvl2pPr>
              <a:defRPr lang="en-US" dirty="0"/>
            </a:lvl2pPr>
            <a:lvl3pPr>
              <a:defRPr lang="en-US" dirty="0"/>
            </a:lvl3pPr>
            <a:lvl4pPr>
              <a:defRPr lang="en-US" dirty="0"/>
            </a:lvl4pPr>
            <a:lvl5pPr>
              <a:defRPr lang="en-US" dirty="0"/>
            </a:lvl5pPr>
          </a:lstStyle>
          <a:p>
            <a:pPr marL="0" lvl="0" indent="0">
              <a:buNone/>
            </a:pPr>
            <a:r>
              <a:rPr lang="en-US"/>
              <a:t>Click to edit Master text styles</a:t>
            </a:r>
          </a:p>
          <a:p>
            <a:pPr marL="342900" lvl="1" indent="-185166">
              <a:buClrTx/>
              <a:buSzPct val="100000"/>
              <a:buChar char="•"/>
            </a:pPr>
            <a:r>
              <a:rPr lang="en-US"/>
              <a:t>Second level</a:t>
            </a:r>
          </a:p>
          <a:p>
            <a:pPr marL="699516" lvl="2" indent="-233172">
              <a:buChar char="–"/>
            </a:pPr>
            <a:r>
              <a:rPr lang="en-US"/>
              <a:t>Third level</a:t>
            </a:r>
          </a:p>
          <a:p>
            <a:pPr marL="1028700" lvl="3" indent="-185166">
              <a:buSzPct val="100000"/>
              <a:buChar char="•"/>
            </a:pPr>
            <a:r>
              <a:rPr lang="en-US"/>
              <a:t>Fourth level</a:t>
            </a:r>
          </a:p>
          <a:p>
            <a:pPr marL="1405890" lvl="4" indent="-240030">
              <a:buChar char="–"/>
            </a:pPr>
            <a:r>
              <a:rPr lang="en-US"/>
              <a:t>Fifth level</a:t>
            </a:r>
          </a:p>
        </p:txBody>
      </p:sp>
    </p:spTree>
    <p:extLst>
      <p:ext uri="{BB962C8B-B14F-4D97-AF65-F5344CB8AC3E}">
        <p14:creationId xmlns:p14="http://schemas.microsoft.com/office/powerpoint/2010/main" val="20246171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Recommendatio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DE8D9AD6-0FE7-4371-839A-F97CD97F5DFF}"/>
              </a:ext>
            </a:extLst>
          </p:cNvPr>
          <p:cNvSpPr>
            <a:spLocks noGrp="1"/>
          </p:cNvSpPr>
          <p:nvPr>
            <p:ph type="body" sz="quarter" idx="10"/>
          </p:nvPr>
        </p:nvSpPr>
        <p:spPr/>
        <p:txBody>
          <a:bodyPr/>
          <a:lstStyle>
            <a:lvl1pPr marL="342900" indent="-342900">
              <a:buSzPct val="130000"/>
              <a:buFontTx/>
              <a:buBlip>
                <a:blip r:embed="rId2">
                  <a:extLst>
                    <a:ext uri="{96DAC541-7B7A-43D3-8B79-37D633B846F1}">
                      <asvg:svgBlip xmlns:asvg="http://schemas.microsoft.com/office/drawing/2016/SVG/main" r:embed="rId3"/>
                    </a:ext>
                  </a:extLst>
                </a:blip>
              </a:buBlip>
              <a:defRPr/>
            </a:lvl1pPr>
            <a:lvl2pPr marL="713232" indent="-233172">
              <a:defRPr/>
            </a:lvl2pPr>
            <a:lvl3pPr marL="1042416" indent="-185166">
              <a:defRPr/>
            </a:lvl3pPr>
            <a:lvl4pPr marL="1412748" indent="-240030">
              <a:defRPr/>
            </a:lvl4pPr>
            <a:lvl5pPr marL="1741932" indent="-185166">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084587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Action Pla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2" name="Text Placeholder 11"/>
          <p:cNvSpPr>
            <a:spLocks noGrp="1"/>
          </p:cNvSpPr>
          <p:nvPr>
            <p:ph type="body" sz="quarter" idx="13"/>
          </p:nvPr>
        </p:nvSpPr>
        <p:spPr>
          <a:xfrm>
            <a:off x="342901" y="1145382"/>
            <a:ext cx="8457009" cy="3345656"/>
          </a:xfrm>
        </p:spPr>
        <p:txBody>
          <a:bodyPr vert="horz" lIns="0" tIns="0" rIns="0" bIns="0" rtlCol="0">
            <a:noAutofit/>
          </a:bodyPr>
          <a:lstStyle>
            <a:lvl1pPr>
              <a:defRPr lang="en-US" b="1" dirty="0"/>
            </a:lvl1pPr>
            <a:lvl2pPr>
              <a:defRPr lang="en-US" dirty="0"/>
            </a:lvl2pPr>
            <a:lvl3pPr>
              <a:defRPr lang="en-US" dirty="0"/>
            </a:lvl3pPr>
            <a:lvl4pPr>
              <a:defRPr lang="en-US" dirty="0"/>
            </a:lvl4pPr>
            <a:lvl5pPr>
              <a:defRPr lang="en-US" dirty="0"/>
            </a:lvl5pPr>
          </a:lstStyle>
          <a:p>
            <a:pPr marL="0" lvl="0" indent="0">
              <a:buNone/>
            </a:pPr>
            <a:r>
              <a:rPr lang="en-US"/>
              <a:t>Edit Master text styles</a:t>
            </a:r>
          </a:p>
          <a:p>
            <a:pPr marL="342900" lvl="1" indent="-185166">
              <a:buClrTx/>
              <a:buSzPct val="100000"/>
              <a:buChar char="•"/>
            </a:pPr>
            <a:r>
              <a:rPr lang="en-US"/>
              <a:t>Second level</a:t>
            </a:r>
          </a:p>
          <a:p>
            <a:pPr marL="699516" lvl="2" indent="-233172">
              <a:buChar char="–"/>
            </a:pPr>
            <a:r>
              <a:rPr lang="en-US"/>
              <a:t>Third level</a:t>
            </a:r>
          </a:p>
          <a:p>
            <a:pPr marL="1028700" lvl="3" indent="-185166">
              <a:buSzPct val="100000"/>
              <a:buChar char="•"/>
            </a:pPr>
            <a:r>
              <a:rPr lang="en-US"/>
              <a:t>Fourth level</a:t>
            </a:r>
          </a:p>
          <a:p>
            <a:pPr marL="1405890" lvl="4" indent="-240030">
              <a:buChar char="–"/>
            </a:pPr>
            <a:r>
              <a:rPr lang="en-US"/>
              <a:t>Fifth level</a:t>
            </a:r>
          </a:p>
        </p:txBody>
      </p:sp>
    </p:spTree>
    <p:extLst>
      <p:ext uri="{BB962C8B-B14F-4D97-AF65-F5344CB8AC3E}">
        <p14:creationId xmlns:p14="http://schemas.microsoft.com/office/powerpoint/2010/main" val="122286398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Action Ite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342900" y="1145381"/>
            <a:ext cx="8457010" cy="24384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marL="185166" lvl="0" indent="-185166"/>
            <a:r>
              <a:rPr lang="en-US"/>
              <a:t>Edit Master text styles</a:t>
            </a:r>
          </a:p>
          <a:p>
            <a:pPr marL="555498" lvl="1" indent="-233172">
              <a:buSzPct val="100000"/>
            </a:pPr>
            <a:r>
              <a:rPr lang="en-US"/>
              <a:t>Second level</a:t>
            </a:r>
          </a:p>
          <a:p>
            <a:pPr marL="884682" lvl="2" indent="-185166"/>
            <a:r>
              <a:rPr lang="en-US"/>
              <a:t>Third level</a:t>
            </a:r>
          </a:p>
          <a:p>
            <a:pPr marL="1255014" lvl="3" indent="-240030">
              <a:buSzPct val="100000"/>
            </a:pPr>
            <a:r>
              <a:rPr lang="en-US"/>
              <a:t>Fourth level</a:t>
            </a:r>
          </a:p>
          <a:p>
            <a:pPr marL="1584198" lvl="4" indent="-185166"/>
            <a:r>
              <a:rPr lang="en-US"/>
              <a:t>Fifth level</a:t>
            </a:r>
          </a:p>
        </p:txBody>
      </p:sp>
      <p:sp>
        <p:nvSpPr>
          <p:cNvPr id="5" name="Text Placeholder 6"/>
          <p:cNvSpPr>
            <a:spLocks noGrp="1"/>
          </p:cNvSpPr>
          <p:nvPr>
            <p:ph type="body" sz="quarter" idx="11"/>
          </p:nvPr>
        </p:nvSpPr>
        <p:spPr>
          <a:xfrm>
            <a:off x="342900" y="3583782"/>
            <a:ext cx="8457010" cy="907256"/>
          </a:xfrm>
          <a:solidFill>
            <a:srgbClr val="009AD7"/>
          </a:solidFill>
        </p:spPr>
        <p:txBody>
          <a:bodyPr lIns="137160" tIns="91440" rIns="91440" bIns="91440" anchor="ctr" anchorCtr="0"/>
          <a:lstStyle>
            <a:lvl1pPr marL="0" indent="0">
              <a:spcBef>
                <a:spcPts val="450"/>
              </a:spcBef>
              <a:buNone/>
              <a:defRPr>
                <a:solidFill>
                  <a:srgbClr val="FFFFFF"/>
                </a:solidFill>
              </a:defRPr>
            </a:lvl1pPr>
          </a:lstStyle>
          <a:p>
            <a:pPr lvl="0"/>
            <a:r>
              <a:rPr lang="en-US"/>
              <a:t>Edit Master text styles</a:t>
            </a:r>
          </a:p>
        </p:txBody>
      </p:sp>
    </p:spTree>
    <p:extLst>
      <p:ext uri="{BB962C8B-B14F-4D97-AF65-F5344CB8AC3E}">
        <p14:creationId xmlns:p14="http://schemas.microsoft.com/office/powerpoint/2010/main" val="112837483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6" name="Text Placeholder 11"/>
          <p:cNvSpPr>
            <a:spLocks noGrp="1"/>
          </p:cNvSpPr>
          <p:nvPr>
            <p:ph type="body" sz="quarter" idx="16"/>
          </p:nvPr>
        </p:nvSpPr>
        <p:spPr>
          <a:xfrm>
            <a:off x="3318145" y="1145382"/>
            <a:ext cx="2502694" cy="3345656"/>
          </a:xfrm>
        </p:spPr>
        <p:txBody>
          <a:bodyPr vert="horz" lIns="0" tIns="0" rIns="0" bIns="0" rtlCol="0">
            <a:noAutofit/>
          </a:bodyPr>
          <a:lstStyle>
            <a:lvl1pPr>
              <a:defRPr lang="en-US" sz="1500" b="1" dirty="0"/>
            </a:lvl1pPr>
            <a:lvl2pPr>
              <a:defRPr lang="en-US" sz="1500" dirty="0"/>
            </a:lvl2pPr>
            <a:lvl3pPr>
              <a:defRPr lang="en-US" sz="1500" dirty="0"/>
            </a:lvl3pPr>
            <a:lvl4pPr>
              <a:defRPr lang="en-US" sz="1500" dirty="0"/>
            </a:lvl4pPr>
            <a:lvl5pPr>
              <a:defRPr lang="en-US" sz="1500" dirty="0"/>
            </a:lvl5pPr>
          </a:lstStyle>
          <a:p>
            <a:pPr marL="0" lvl="0" indent="0">
              <a:buNone/>
            </a:pPr>
            <a:r>
              <a:rPr lang="en-US"/>
              <a:t>Edit Master text styles</a:t>
            </a:r>
          </a:p>
          <a:p>
            <a:pPr marL="185166" lvl="1" indent="-185166">
              <a:buClrTx/>
              <a:buSzPct val="100000"/>
              <a:buChar char="•"/>
            </a:pPr>
            <a:r>
              <a:rPr lang="en-US"/>
              <a:t>Second level</a:t>
            </a:r>
          </a:p>
          <a:p>
            <a:pPr marL="555498" lvl="2" indent="-233172">
              <a:buChar char="–"/>
            </a:pPr>
            <a:r>
              <a:rPr lang="en-US"/>
              <a:t>Third level</a:t>
            </a:r>
          </a:p>
          <a:p>
            <a:pPr marL="884682" lvl="3" indent="-185166">
              <a:buSzPct val="100000"/>
              <a:buChar char="•"/>
            </a:pPr>
            <a:r>
              <a:rPr lang="en-US"/>
              <a:t>Fourth level</a:t>
            </a:r>
          </a:p>
          <a:p>
            <a:pPr marL="1255014" lvl="4" indent="-185166">
              <a:buChar char="–"/>
            </a:pPr>
            <a:r>
              <a:rPr lang="en-US"/>
              <a:t>Fifth level</a:t>
            </a:r>
          </a:p>
        </p:txBody>
      </p:sp>
      <p:sp>
        <p:nvSpPr>
          <p:cNvPr id="2" name="Title 1"/>
          <p:cNvSpPr>
            <a:spLocks noGrp="1"/>
          </p:cNvSpPr>
          <p:nvPr>
            <p:ph type="title"/>
          </p:nvPr>
        </p:nvSpPr>
        <p:spPr>
          <a:xfrm>
            <a:off x="342900" y="275034"/>
            <a:ext cx="8457010" cy="332399"/>
          </a:xfrm>
        </p:spPr>
        <p:txBody>
          <a:bodyPr/>
          <a:lstStyle/>
          <a:p>
            <a:r>
              <a:rPr lang="en-US"/>
              <a:t>Click to edit Master title style</a:t>
            </a:r>
          </a:p>
        </p:txBody>
      </p:sp>
      <p:sp>
        <p:nvSpPr>
          <p:cNvPr id="12" name="Text Placeholder 11"/>
          <p:cNvSpPr>
            <a:spLocks noGrp="1"/>
          </p:cNvSpPr>
          <p:nvPr>
            <p:ph type="body" sz="quarter" idx="13"/>
          </p:nvPr>
        </p:nvSpPr>
        <p:spPr>
          <a:xfrm>
            <a:off x="342900" y="1145382"/>
            <a:ext cx="2502694" cy="3345656"/>
          </a:xfrm>
        </p:spPr>
        <p:txBody>
          <a:bodyPr vert="horz" lIns="0" tIns="0" rIns="0" bIns="0" rtlCol="0">
            <a:noAutofit/>
          </a:bodyPr>
          <a:lstStyle>
            <a:lvl1pPr>
              <a:defRPr lang="en-US" sz="1500" b="1" dirty="0"/>
            </a:lvl1pPr>
            <a:lvl2pPr>
              <a:defRPr lang="en-US" sz="1500" dirty="0"/>
            </a:lvl2pPr>
            <a:lvl3pPr>
              <a:defRPr lang="en-US" sz="1500" dirty="0"/>
            </a:lvl3pPr>
            <a:lvl4pPr>
              <a:defRPr lang="en-US" sz="1500" dirty="0"/>
            </a:lvl4pPr>
            <a:lvl5pPr>
              <a:defRPr lang="en-US" sz="1500" dirty="0"/>
            </a:lvl5pPr>
          </a:lstStyle>
          <a:p>
            <a:pPr marL="0" lvl="0" indent="0">
              <a:buNone/>
            </a:pPr>
            <a:r>
              <a:rPr lang="en-US"/>
              <a:t>Edit Master text styles</a:t>
            </a:r>
          </a:p>
          <a:p>
            <a:pPr marL="185166" lvl="1" indent="-185166">
              <a:buClrTx/>
              <a:buSzPct val="100000"/>
              <a:buChar char="•"/>
            </a:pPr>
            <a:r>
              <a:rPr lang="en-US"/>
              <a:t>Second level</a:t>
            </a:r>
          </a:p>
          <a:p>
            <a:pPr marL="555498" lvl="2" indent="-233172">
              <a:buChar char="–"/>
            </a:pPr>
            <a:r>
              <a:rPr lang="en-US"/>
              <a:t>Third level</a:t>
            </a:r>
          </a:p>
          <a:p>
            <a:pPr marL="884682" lvl="3" indent="-185166">
              <a:buSzPct val="100000"/>
              <a:buChar char="•"/>
            </a:pPr>
            <a:r>
              <a:rPr lang="en-US"/>
              <a:t>Fourth level</a:t>
            </a:r>
          </a:p>
          <a:p>
            <a:pPr marL="1255014" lvl="4" indent="-185166">
              <a:buChar char="–"/>
            </a:pPr>
            <a:r>
              <a:rPr lang="en-US"/>
              <a:t>Fifth level</a:t>
            </a:r>
          </a:p>
        </p:txBody>
      </p:sp>
      <p:sp>
        <p:nvSpPr>
          <p:cNvPr id="8" name="Text Placeholder 11">
            <a:extLst>
              <a:ext uri="{FF2B5EF4-FFF2-40B4-BE49-F238E27FC236}">
                <a16:creationId xmlns:a16="http://schemas.microsoft.com/office/drawing/2014/main" id="{49681552-8EBF-4EC3-B323-EF2A28386B98}"/>
              </a:ext>
            </a:extLst>
          </p:cNvPr>
          <p:cNvSpPr>
            <a:spLocks noGrp="1"/>
          </p:cNvSpPr>
          <p:nvPr>
            <p:ph type="body" sz="quarter" idx="17"/>
          </p:nvPr>
        </p:nvSpPr>
        <p:spPr>
          <a:xfrm>
            <a:off x="6297216" y="1145382"/>
            <a:ext cx="2502694" cy="3345656"/>
          </a:xfrm>
        </p:spPr>
        <p:txBody>
          <a:bodyPr vert="horz" lIns="0" tIns="0" rIns="0" bIns="0" rtlCol="0">
            <a:noAutofit/>
          </a:bodyPr>
          <a:lstStyle>
            <a:lvl1pPr>
              <a:defRPr lang="en-US" sz="1500" b="1" dirty="0"/>
            </a:lvl1pPr>
            <a:lvl2pPr>
              <a:defRPr lang="en-US" sz="1500" dirty="0"/>
            </a:lvl2pPr>
            <a:lvl3pPr>
              <a:defRPr lang="en-US" sz="1500" dirty="0"/>
            </a:lvl3pPr>
            <a:lvl4pPr>
              <a:defRPr lang="en-US" sz="1500" dirty="0"/>
            </a:lvl4pPr>
            <a:lvl5pPr>
              <a:defRPr lang="en-US" sz="1500" dirty="0"/>
            </a:lvl5pPr>
          </a:lstStyle>
          <a:p>
            <a:pPr marL="0" lvl="0" indent="0">
              <a:buNone/>
            </a:pPr>
            <a:r>
              <a:rPr lang="en-US"/>
              <a:t>Edit Master text styles</a:t>
            </a:r>
          </a:p>
          <a:p>
            <a:pPr marL="185166" lvl="1" indent="-185166">
              <a:buClrTx/>
              <a:buSzPct val="100000"/>
              <a:buChar char="•"/>
            </a:pPr>
            <a:r>
              <a:rPr lang="en-US"/>
              <a:t>Second level</a:t>
            </a:r>
          </a:p>
          <a:p>
            <a:pPr marL="555498" lvl="2" indent="-233172">
              <a:buChar char="–"/>
            </a:pPr>
            <a:r>
              <a:rPr lang="en-US"/>
              <a:t>Third level</a:t>
            </a:r>
          </a:p>
          <a:p>
            <a:pPr marL="884682" lvl="3" indent="-185166">
              <a:buSzPct val="100000"/>
              <a:buChar char="•"/>
            </a:pPr>
            <a:r>
              <a:rPr lang="en-US"/>
              <a:t>Fourth level</a:t>
            </a:r>
          </a:p>
          <a:p>
            <a:pPr marL="1255014" lvl="4" indent="-185166">
              <a:buChar char="–"/>
            </a:pPr>
            <a:r>
              <a:rPr lang="en-US"/>
              <a:t>Fifth level</a:t>
            </a:r>
          </a:p>
        </p:txBody>
      </p:sp>
    </p:spTree>
    <p:extLst>
      <p:ext uri="{BB962C8B-B14F-4D97-AF65-F5344CB8AC3E}">
        <p14:creationId xmlns:p14="http://schemas.microsoft.com/office/powerpoint/2010/main" val="85116455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6" name="Text Placeholder 11"/>
          <p:cNvSpPr>
            <a:spLocks noGrp="1"/>
          </p:cNvSpPr>
          <p:nvPr>
            <p:ph type="body" sz="quarter" idx="16" hasCustomPrompt="1"/>
          </p:nvPr>
        </p:nvSpPr>
        <p:spPr bwMode="invGray">
          <a:xfrm>
            <a:off x="3318145" y="1145382"/>
            <a:ext cx="2502694" cy="3345656"/>
          </a:xfrm>
          <a:solidFill>
            <a:srgbClr val="355578"/>
          </a:solidFill>
        </p:spPr>
        <p:txBody>
          <a:bodyPr vert="horz" lIns="182880" tIns="182880" rIns="91440" bIns="182880" rtlCol="0">
            <a:noAutofit/>
          </a:bodyPr>
          <a:lstStyle>
            <a:lvl1pPr>
              <a:defRPr lang="en-US" sz="1500" b="1" dirty="0"/>
            </a:lvl1pPr>
            <a:lvl2pPr>
              <a:defRPr lang="en-US" sz="1500" dirty="0"/>
            </a:lvl2pPr>
            <a:lvl3pPr>
              <a:defRPr lang="en-US" sz="1500" dirty="0"/>
            </a:lvl3pPr>
            <a:lvl4pPr>
              <a:defRPr lang="en-US" sz="1500" dirty="0"/>
            </a:lvl4pPr>
            <a:lvl5pPr>
              <a:defRPr lang="en-US" sz="1500" dirty="0"/>
            </a:lvl5pPr>
          </a:lstStyle>
          <a:p>
            <a:pPr marL="0" lvl="0" indent="0">
              <a:buNone/>
            </a:pPr>
            <a:r>
              <a:rPr lang="en-US"/>
              <a:t>Edit Master text styles</a:t>
            </a:r>
          </a:p>
          <a:p>
            <a:pPr marL="185166" lvl="1" indent="-185166">
              <a:buClrTx/>
              <a:buSzPct val="100000"/>
              <a:buChar char="•"/>
            </a:pPr>
            <a:r>
              <a:rPr lang="en-US"/>
              <a:t>Second level</a:t>
            </a:r>
          </a:p>
          <a:p>
            <a:pPr marL="555498" lvl="2" indent="-233172">
              <a:buChar char="–"/>
            </a:pPr>
            <a:r>
              <a:rPr lang="en-US"/>
              <a:t>Third level</a:t>
            </a:r>
          </a:p>
          <a:p>
            <a:pPr marL="884682" lvl="3" indent="-185166">
              <a:buSzPct val="100000"/>
              <a:buChar char="•"/>
            </a:pPr>
            <a:r>
              <a:rPr lang="en-US"/>
              <a:t>Fourth level</a:t>
            </a:r>
          </a:p>
          <a:p>
            <a:pPr marL="1255014" lvl="4" indent="-240030">
              <a:buChar char="–"/>
            </a:pPr>
            <a:r>
              <a:rPr lang="en-US"/>
              <a:t>Fifth level</a:t>
            </a:r>
          </a:p>
        </p:txBody>
      </p:sp>
      <p:sp>
        <p:nvSpPr>
          <p:cNvPr id="2" name="Title 1"/>
          <p:cNvSpPr>
            <a:spLocks noGrp="1"/>
          </p:cNvSpPr>
          <p:nvPr>
            <p:ph type="title"/>
          </p:nvPr>
        </p:nvSpPr>
        <p:spPr>
          <a:xfrm>
            <a:off x="342900" y="275034"/>
            <a:ext cx="8457010" cy="332399"/>
          </a:xfrm>
        </p:spPr>
        <p:txBody>
          <a:bodyPr/>
          <a:lstStyle/>
          <a:p>
            <a:r>
              <a:rPr lang="en-US"/>
              <a:t>Click to edit Master title style</a:t>
            </a:r>
          </a:p>
        </p:txBody>
      </p:sp>
      <p:sp>
        <p:nvSpPr>
          <p:cNvPr id="12" name="Text Placeholder 11"/>
          <p:cNvSpPr>
            <a:spLocks noGrp="1"/>
          </p:cNvSpPr>
          <p:nvPr>
            <p:ph type="body" sz="quarter" idx="13" hasCustomPrompt="1"/>
          </p:nvPr>
        </p:nvSpPr>
        <p:spPr bwMode="invGray">
          <a:xfrm>
            <a:off x="342900" y="1145382"/>
            <a:ext cx="2502694" cy="3345656"/>
          </a:xfrm>
          <a:solidFill>
            <a:srgbClr val="355578"/>
          </a:solidFill>
        </p:spPr>
        <p:txBody>
          <a:bodyPr vert="horz" lIns="182880" tIns="182880" rIns="91440" bIns="182880" rtlCol="0">
            <a:noAutofit/>
          </a:bodyPr>
          <a:lstStyle>
            <a:lvl1pPr>
              <a:defRPr lang="en-US" sz="1500" b="1" dirty="0"/>
            </a:lvl1pPr>
            <a:lvl2pPr>
              <a:defRPr lang="en-US" sz="1500" dirty="0"/>
            </a:lvl2pPr>
            <a:lvl3pPr>
              <a:defRPr lang="en-US" sz="1500" dirty="0"/>
            </a:lvl3pPr>
            <a:lvl4pPr>
              <a:defRPr lang="en-US" sz="1500" dirty="0"/>
            </a:lvl4pPr>
            <a:lvl5pPr>
              <a:defRPr lang="en-US" sz="1500" dirty="0"/>
            </a:lvl5pPr>
          </a:lstStyle>
          <a:p>
            <a:pPr marL="0" lvl="0" indent="0">
              <a:buNone/>
            </a:pPr>
            <a:r>
              <a:rPr lang="en-US"/>
              <a:t>Edit Master text styles</a:t>
            </a:r>
          </a:p>
          <a:p>
            <a:pPr marL="185166" lvl="1" indent="-185166">
              <a:buClrTx/>
              <a:buSzPct val="100000"/>
              <a:buChar char="•"/>
            </a:pPr>
            <a:r>
              <a:rPr lang="en-US"/>
              <a:t>Second level</a:t>
            </a:r>
          </a:p>
          <a:p>
            <a:pPr marL="555498" lvl="2" indent="-233172">
              <a:buChar char="–"/>
            </a:pPr>
            <a:r>
              <a:rPr lang="en-US"/>
              <a:t>Third level</a:t>
            </a:r>
          </a:p>
          <a:p>
            <a:pPr marL="884682" lvl="3" indent="-185166">
              <a:buSzPct val="100000"/>
              <a:buChar char="•"/>
            </a:pPr>
            <a:r>
              <a:rPr lang="en-US"/>
              <a:t>Fourth level</a:t>
            </a:r>
          </a:p>
          <a:p>
            <a:pPr marL="1255014" lvl="4" indent="-240030">
              <a:buChar char="–"/>
            </a:pPr>
            <a:r>
              <a:rPr lang="en-US"/>
              <a:t>Fifth level</a:t>
            </a:r>
          </a:p>
        </p:txBody>
      </p:sp>
      <p:sp>
        <p:nvSpPr>
          <p:cNvPr id="8" name="Text Placeholder 11">
            <a:extLst>
              <a:ext uri="{FF2B5EF4-FFF2-40B4-BE49-F238E27FC236}">
                <a16:creationId xmlns:a16="http://schemas.microsoft.com/office/drawing/2014/main" id="{4386A93C-4A1E-4D7D-8056-21E3069C963B}"/>
              </a:ext>
            </a:extLst>
          </p:cNvPr>
          <p:cNvSpPr>
            <a:spLocks noGrp="1"/>
          </p:cNvSpPr>
          <p:nvPr>
            <p:ph type="body" sz="quarter" idx="17" hasCustomPrompt="1"/>
          </p:nvPr>
        </p:nvSpPr>
        <p:spPr bwMode="invGray">
          <a:xfrm>
            <a:off x="6297216" y="1145382"/>
            <a:ext cx="2502694" cy="3345656"/>
          </a:xfrm>
          <a:solidFill>
            <a:srgbClr val="355578"/>
          </a:solidFill>
        </p:spPr>
        <p:txBody>
          <a:bodyPr vert="horz" lIns="182880" tIns="182880" rIns="91440" bIns="182880" rtlCol="0">
            <a:noAutofit/>
          </a:bodyPr>
          <a:lstStyle>
            <a:lvl1pPr>
              <a:defRPr lang="en-US" sz="1500" b="1" dirty="0"/>
            </a:lvl1pPr>
            <a:lvl2pPr>
              <a:defRPr lang="en-US" sz="1500" dirty="0"/>
            </a:lvl2pPr>
            <a:lvl3pPr>
              <a:defRPr lang="en-US" sz="1500" dirty="0"/>
            </a:lvl3pPr>
            <a:lvl4pPr>
              <a:defRPr lang="en-US" sz="1500" dirty="0"/>
            </a:lvl4pPr>
            <a:lvl5pPr>
              <a:defRPr lang="en-US" sz="1500" dirty="0"/>
            </a:lvl5pPr>
          </a:lstStyle>
          <a:p>
            <a:pPr marL="0" lvl="0" indent="0">
              <a:buNone/>
            </a:pPr>
            <a:r>
              <a:rPr lang="en-US"/>
              <a:t>Edit Master text styles</a:t>
            </a:r>
          </a:p>
          <a:p>
            <a:pPr marL="185166" lvl="1" indent="-185166">
              <a:buClrTx/>
              <a:buSzPct val="100000"/>
              <a:buChar char="•"/>
            </a:pPr>
            <a:r>
              <a:rPr lang="en-US"/>
              <a:t>Second level</a:t>
            </a:r>
          </a:p>
          <a:p>
            <a:pPr marL="555498" lvl="2" indent="-233172">
              <a:buChar char="–"/>
            </a:pPr>
            <a:r>
              <a:rPr lang="en-US"/>
              <a:t>Third level</a:t>
            </a:r>
          </a:p>
          <a:p>
            <a:pPr marL="884682" lvl="3" indent="-185166">
              <a:buSzPct val="100000"/>
              <a:buChar char="•"/>
            </a:pPr>
            <a:r>
              <a:rPr lang="en-US"/>
              <a:t>Fourth level</a:t>
            </a:r>
          </a:p>
          <a:p>
            <a:pPr marL="1255014" lvl="4" indent="-240030">
              <a:buChar char="–"/>
            </a:pPr>
            <a:r>
              <a:rPr lang="en-US"/>
              <a:t>Fifth level</a:t>
            </a:r>
          </a:p>
        </p:txBody>
      </p:sp>
    </p:spTree>
    <p:extLst>
      <p:ext uri="{BB962C8B-B14F-4D97-AF65-F5344CB8AC3E}">
        <p14:creationId xmlns:p14="http://schemas.microsoft.com/office/powerpoint/2010/main" val="266260483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Center">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5BE603-3E7D-4B30-B71E-D469C05829E1}"/>
              </a:ext>
            </a:extLst>
          </p:cNvPr>
          <p:cNvSpPr>
            <a:spLocks noGrp="1"/>
          </p:cNvSpPr>
          <p:nvPr>
            <p:ph type="title" hasCustomPrompt="1"/>
          </p:nvPr>
        </p:nvSpPr>
        <p:spPr>
          <a:xfrm>
            <a:off x="342900" y="2239351"/>
            <a:ext cx="8457010" cy="332399"/>
          </a:xfrm>
        </p:spPr>
        <p:txBody>
          <a:bodyPr anchor="ctr" anchorCtr="0"/>
          <a:lstStyle>
            <a:lvl1pPr algn="ctr">
              <a:defRPr sz="3000">
                <a:solidFill>
                  <a:schemeClr val="tx2"/>
                </a:solidFill>
              </a:defRPr>
            </a:lvl1pPr>
          </a:lstStyle>
          <a:p>
            <a:r>
              <a:rPr lang="en-US"/>
              <a:t>Title Center Layout</a:t>
            </a:r>
          </a:p>
        </p:txBody>
      </p:sp>
    </p:spTree>
    <p:extLst>
      <p:ext uri="{BB962C8B-B14F-4D97-AF65-F5344CB8AC3E}">
        <p14:creationId xmlns:p14="http://schemas.microsoft.com/office/powerpoint/2010/main" val="74402536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Top w Center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F96C7-DA47-4432-8469-F8EF70ADFA3C}"/>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DF1984C1-A142-A5B3-40FF-9DCEB13526F5}"/>
              </a:ext>
            </a:extLst>
          </p:cNvPr>
          <p:cNvSpPr>
            <a:spLocks noGrp="1"/>
          </p:cNvSpPr>
          <p:nvPr>
            <p:ph type="body" sz="quarter" idx="10"/>
          </p:nvPr>
        </p:nvSpPr>
        <p:spPr>
          <a:xfrm>
            <a:off x="342900" y="2364001"/>
            <a:ext cx="8457010" cy="415499"/>
          </a:xfrm>
        </p:spPr>
        <p:txBody>
          <a:bodyPr anchor="ctr" anchorCtr="0">
            <a:spAutoFit/>
          </a:bodyPr>
          <a:lstStyle>
            <a:lvl1pPr marL="0" indent="0" algn="ctr">
              <a:buFont typeface="Arial" panose="020B0604020202020204" pitchFamily="34" charset="0"/>
              <a:buChar char="​"/>
              <a:defRPr sz="3000">
                <a:solidFill>
                  <a:schemeClr val="tx2"/>
                </a:solidFill>
                <a:latin typeface="+mj-lt"/>
              </a:defRPr>
            </a:lvl1pPr>
            <a:lvl2pPr marL="0" indent="0" algn="ctr">
              <a:buFont typeface="Arial" panose="020B0604020202020204" pitchFamily="34" charset="0"/>
              <a:buChar char="​"/>
              <a:defRPr/>
            </a:lvl2pPr>
            <a:lvl3pPr marL="0" indent="0" algn="ctr">
              <a:buFont typeface="Arial" panose="020B0604020202020204" pitchFamily="34" charset="0"/>
              <a:buChar char="​"/>
              <a:defRPr/>
            </a:lvl3pPr>
            <a:lvl4pPr marL="0" indent="0" algn="ctr">
              <a:buFont typeface="Arial" panose="020B0604020202020204" pitchFamily="34" charset="0"/>
              <a:buChar char="​"/>
              <a:defRPr/>
            </a:lvl4pPr>
            <a:lvl5pPr marL="0" indent="0" algn="ctr">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426614803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273EB3B-0AE2-7A48-BF35-D1CF1DB27874}"/>
              </a:ext>
            </a:extLst>
          </p:cNvPr>
          <p:cNvSpPr/>
          <p:nvPr userDrawn="1"/>
        </p:nvSpPr>
        <p:spPr bwMode="ltGray">
          <a:xfrm>
            <a:off x="5355674" y="1015529"/>
            <a:ext cx="3788325" cy="2465195"/>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a:ln>
                <a:noFill/>
              </a:ln>
              <a:solidFill>
                <a:schemeClr val="bg1"/>
              </a:solidFill>
              <a:effectLst/>
              <a:latin typeface="Arial" charset="0"/>
            </a:endParaRPr>
          </a:p>
        </p:txBody>
      </p:sp>
      <p:sp>
        <p:nvSpPr>
          <p:cNvPr id="13" name="Title 5">
            <a:extLst>
              <a:ext uri="{FF2B5EF4-FFF2-40B4-BE49-F238E27FC236}">
                <a16:creationId xmlns:a16="http://schemas.microsoft.com/office/drawing/2014/main" id="{73370145-84B9-6A4C-AABF-9DA2C2415A28}"/>
              </a:ext>
            </a:extLst>
          </p:cNvPr>
          <p:cNvSpPr>
            <a:spLocks noGrp="1"/>
          </p:cNvSpPr>
          <p:nvPr>
            <p:ph type="title" hasCustomPrompt="1"/>
          </p:nvPr>
        </p:nvSpPr>
        <p:spPr>
          <a:xfrm>
            <a:off x="1541436" y="1145382"/>
            <a:ext cx="3680074" cy="2202937"/>
          </a:xfrm>
        </p:spPr>
        <p:txBody>
          <a:bodyPr vert="horz" lIns="0" tIns="0" rIns="0" bIns="0" rtlCol="0" anchor="ctr">
            <a:noAutofit/>
          </a:bodyPr>
          <a:lstStyle>
            <a:lvl1pPr>
              <a:lnSpc>
                <a:spcPct val="100000"/>
              </a:lnSpc>
              <a:spcBef>
                <a:spcPts val="0"/>
              </a:spcBef>
              <a:buClr>
                <a:schemeClr val="tx1"/>
              </a:buClr>
              <a:buSzPct val="90000"/>
              <a:buFont typeface="Wingdings" panose="05000000000000000000" pitchFamily="2" charset="2"/>
              <a:buNone/>
              <a:defRPr lang="en-US" sz="2400" b="0">
                <a:solidFill>
                  <a:schemeClr val="tx2"/>
                </a:solidFill>
                <a:latin typeface="+mj-lt"/>
                <a:ea typeface="+mn-ea"/>
                <a:cs typeface="Arial Black" panose="020B0A04020102020204" pitchFamily="34" charset="0"/>
              </a:defRPr>
            </a:lvl1pPr>
          </a:lstStyle>
          <a:p>
            <a:pPr lvl="0">
              <a:spcBef>
                <a:spcPts val="0"/>
              </a:spcBef>
              <a:buClr>
                <a:schemeClr val="tx1"/>
              </a:buClr>
              <a:buSzPct val="90000"/>
              <a:buFont typeface="Wingdings" panose="05000000000000000000" pitchFamily="2" charset="2"/>
              <a:buNone/>
            </a:pPr>
            <a:r>
              <a:rPr lang="en-US"/>
              <a:t>Divider Slide</a:t>
            </a:r>
            <a:br>
              <a:rPr lang="en-US"/>
            </a:br>
            <a:r>
              <a:rPr lang="en-US"/>
              <a:t>30 Characters</a:t>
            </a:r>
            <a:br>
              <a:rPr lang="en-US"/>
            </a:br>
            <a:r>
              <a:rPr lang="en-US"/>
              <a:t>Lorem Ipsum</a:t>
            </a:r>
          </a:p>
        </p:txBody>
      </p:sp>
      <p:sp>
        <p:nvSpPr>
          <p:cNvPr id="14" name="Rectangle 13">
            <a:extLst>
              <a:ext uri="{FF2B5EF4-FFF2-40B4-BE49-F238E27FC236}">
                <a16:creationId xmlns:a16="http://schemas.microsoft.com/office/drawing/2014/main" id="{D3C73678-BC25-BB4A-A678-83DD136C7174}"/>
              </a:ext>
            </a:extLst>
          </p:cNvPr>
          <p:cNvSpPr/>
          <p:nvPr userDrawn="1"/>
        </p:nvSpPr>
        <p:spPr bwMode="ltGray">
          <a:xfrm>
            <a:off x="-2" y="1015529"/>
            <a:ext cx="1315466" cy="2465195"/>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429257320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ivider_Sk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5355674" y="1015529"/>
            <a:ext cx="3788325" cy="2465195"/>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015529"/>
            <a:ext cx="1315466" cy="2465195"/>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a:ln>
                <a:noFill/>
              </a:ln>
              <a:solidFill>
                <a:schemeClr val="bg1"/>
              </a:solidFill>
              <a:effectLst/>
              <a:latin typeface="Arial" charset="0"/>
            </a:endParaRPr>
          </a:p>
        </p:txBody>
      </p:sp>
      <p:sp>
        <p:nvSpPr>
          <p:cNvPr id="5" name="Title 3">
            <a:extLst>
              <a:ext uri="{FF2B5EF4-FFF2-40B4-BE49-F238E27FC236}">
                <a16:creationId xmlns:a16="http://schemas.microsoft.com/office/drawing/2014/main" id="{F4457FE3-0B4A-413C-9BD0-B43E27F3C7B0}"/>
              </a:ext>
            </a:extLst>
          </p:cNvPr>
          <p:cNvSpPr>
            <a:spLocks noGrp="1"/>
          </p:cNvSpPr>
          <p:nvPr>
            <p:ph type="title" hasCustomPrompt="1"/>
          </p:nvPr>
        </p:nvSpPr>
        <p:spPr>
          <a:xfrm>
            <a:off x="1543050" y="1145286"/>
            <a:ext cx="3682746" cy="2201418"/>
          </a:xfrm>
        </p:spPr>
        <p:txBody>
          <a:bodyPr anchor="ctr" anchorCtr="0"/>
          <a:lstStyle>
            <a:lvl1pPr>
              <a:lnSpc>
                <a:spcPct val="100000"/>
              </a:lnSpc>
              <a:defRPr sz="2400"/>
            </a:lvl1pPr>
          </a:lstStyle>
          <a:p>
            <a:r>
              <a:rPr lang="en-US"/>
              <a:t>Divider Slide</a:t>
            </a:r>
            <a:br>
              <a:rPr lang="en-US"/>
            </a:br>
            <a:r>
              <a:rPr lang="en-US"/>
              <a:t>30 Characters</a:t>
            </a:r>
            <a:br>
              <a:rPr lang="en-US"/>
            </a:br>
            <a:r>
              <a:rPr lang="en-US"/>
              <a:t>Lorem Ipsum</a:t>
            </a:r>
          </a:p>
        </p:txBody>
      </p:sp>
    </p:spTree>
    <p:extLst>
      <p:ext uri="{BB962C8B-B14F-4D97-AF65-F5344CB8AC3E}">
        <p14:creationId xmlns:p14="http://schemas.microsoft.com/office/powerpoint/2010/main" val="23725238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 Text on background image">
    <p:spTree>
      <p:nvGrpSpPr>
        <p:cNvPr id="1" name=""/>
        <p:cNvGrpSpPr/>
        <p:nvPr/>
      </p:nvGrpSpPr>
      <p:grpSpPr>
        <a:xfrm>
          <a:off x="0" y="0"/>
          <a:ext cx="0" cy="0"/>
          <a:chOff x="0" y="0"/>
          <a:chExt cx="0" cy="0"/>
        </a:xfrm>
      </p:grpSpPr>
      <p:sp>
        <p:nvSpPr>
          <p:cNvPr id="4" name="Background image">
            <a:extLst>
              <a:ext uri="{FF2B5EF4-FFF2-40B4-BE49-F238E27FC236}">
                <a16:creationId xmlns:a16="http://schemas.microsoft.com/office/drawing/2014/main" id="{0C18E683-E62F-A04E-9D50-572DEA18E067}"/>
              </a:ext>
            </a:extLst>
          </p:cNvPr>
          <p:cNvSpPr>
            <a:spLocks noGrp="1"/>
          </p:cNvSpPr>
          <p:nvPr>
            <p:ph type="pic" sz="quarter" idx="15" hasCustomPrompt="1"/>
          </p:nvPr>
        </p:nvSpPr>
        <p:spPr>
          <a:xfrm>
            <a:off x="179388" y="158750"/>
            <a:ext cx="8785225" cy="4681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323850" y="525600"/>
            <a:ext cx="4176713" cy="1498314"/>
          </a:xfrm>
        </p:spPr>
        <p:txBody>
          <a:bodyPr rIns="216000"/>
          <a:lstStyle>
            <a:lvl1pPr>
              <a:defRPr sz="3000" spc="-50" baseline="0">
                <a:solidFill>
                  <a:schemeClr val="bg1"/>
                </a:solidFill>
              </a:defRPr>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50" y="276226"/>
            <a:ext cx="4176713" cy="276999"/>
          </a:xfrm>
        </p:spPr>
        <p:txBody>
          <a:bodyPr lIns="111600" rIns="216000" anchor="t"/>
          <a:lstStyle>
            <a:lvl1pPr marL="3175" indent="-3175">
              <a:buNone/>
              <a:tabLst/>
              <a:defRPr sz="1200" b="1">
                <a:solidFill>
                  <a:schemeClr val="bg1"/>
                </a:solidFill>
              </a:defRPr>
            </a:lvl1pPr>
            <a:lvl2pPr>
              <a:buNone/>
              <a:defRPr/>
            </a:lvl2pPr>
            <a:lvl3pPr>
              <a:buNone/>
              <a:defRPr/>
            </a:lvl3pPr>
            <a:lvl4pPr>
              <a:buNone/>
              <a:defRPr/>
            </a:lvl4pPr>
            <a:lvl5pPr>
              <a:buNone/>
              <a:defRPr/>
            </a:lvl5pPr>
          </a:lstStyle>
          <a:p>
            <a:pPr lvl="0"/>
            <a:r>
              <a:rPr lang="en-GB" noProof="0"/>
              <a:t>Click to add navigation/chapter tracker</a:t>
            </a:r>
          </a:p>
        </p:txBody>
      </p:sp>
      <p:sp>
        <p:nvSpPr>
          <p:cNvPr id="12" name="Text">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323851" y="2103438"/>
            <a:ext cx="4176712" cy="2592387"/>
          </a:xfrm>
        </p:spPr>
        <p:txBody>
          <a:bodyPr rIns="216000"/>
          <a:lstStyle>
            <a:lvl1pPr>
              <a:defRPr sz="14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Date">
            <a:extLst>
              <a:ext uri="{FF2B5EF4-FFF2-40B4-BE49-F238E27FC236}">
                <a16:creationId xmlns:a16="http://schemas.microsoft.com/office/drawing/2014/main" id="{B7D04508-015B-A24C-A068-9517A03041E5}"/>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3BE6FB08-C79F-40EF-B8C5-04FFF6AEB21D}" type="datetime1">
              <a:rPr lang="sv-SE" noProof="0" smtClean="0"/>
              <a:t>2025-09-04</a:t>
            </a:fld>
            <a:endParaRPr lang="en-GB" noProof="0"/>
          </a:p>
        </p:txBody>
      </p:sp>
      <p:sp>
        <p:nvSpPr>
          <p:cNvPr id="39" name="Number">
            <a:extLst>
              <a:ext uri="{FF2B5EF4-FFF2-40B4-BE49-F238E27FC236}">
                <a16:creationId xmlns:a16="http://schemas.microsoft.com/office/drawing/2014/main" id="{24E3E452-24F0-1B44-9014-429AC576B5B6}"/>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0" name="Footer">
            <a:extLst>
              <a:ext uri="{FF2B5EF4-FFF2-40B4-BE49-F238E27FC236}">
                <a16:creationId xmlns:a16="http://schemas.microsoft.com/office/drawing/2014/main" id="{5CA8B606-3188-9643-98F0-31B8738AF063}"/>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1185726181"/>
      </p:ext>
    </p:extLst>
  </p:cSld>
  <p:clrMapOvr>
    <a:masterClrMapping/>
  </p:clrMapOvr>
  <p:extLst>
    <p:ext uri="{DCECCB84-F9BA-43D5-87BE-67443E8EF086}">
      <p15:sldGuideLst xmlns:p15="http://schemas.microsoft.com/office/powerpoint/2012/main"/>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ivider_Tangerin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5355674" y="1015529"/>
            <a:ext cx="3788325" cy="2465195"/>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015529"/>
            <a:ext cx="1315466" cy="2465195"/>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a:ln>
                <a:noFill/>
              </a:ln>
              <a:solidFill>
                <a:schemeClr val="bg1"/>
              </a:solidFill>
              <a:effectLst/>
              <a:latin typeface="Arial" charset="0"/>
            </a:endParaRPr>
          </a:p>
        </p:txBody>
      </p:sp>
      <p:sp>
        <p:nvSpPr>
          <p:cNvPr id="5" name="Title 3">
            <a:extLst>
              <a:ext uri="{FF2B5EF4-FFF2-40B4-BE49-F238E27FC236}">
                <a16:creationId xmlns:a16="http://schemas.microsoft.com/office/drawing/2014/main" id="{F4457FE3-0B4A-413C-9BD0-B43E27F3C7B0}"/>
              </a:ext>
            </a:extLst>
          </p:cNvPr>
          <p:cNvSpPr>
            <a:spLocks noGrp="1"/>
          </p:cNvSpPr>
          <p:nvPr>
            <p:ph type="title" hasCustomPrompt="1"/>
          </p:nvPr>
        </p:nvSpPr>
        <p:spPr>
          <a:xfrm>
            <a:off x="1543050" y="1145286"/>
            <a:ext cx="3682746" cy="2201418"/>
          </a:xfrm>
        </p:spPr>
        <p:txBody>
          <a:bodyPr anchor="ctr" anchorCtr="0"/>
          <a:lstStyle>
            <a:lvl1pPr>
              <a:lnSpc>
                <a:spcPct val="100000"/>
              </a:lnSpc>
              <a:defRPr sz="2400"/>
            </a:lvl1pPr>
          </a:lstStyle>
          <a:p>
            <a:r>
              <a:rPr lang="en-US"/>
              <a:t>Divider Slide</a:t>
            </a:r>
            <a:br>
              <a:rPr lang="en-US"/>
            </a:br>
            <a:r>
              <a:rPr lang="en-US"/>
              <a:t>30 Characters</a:t>
            </a:r>
            <a:br>
              <a:rPr lang="en-US"/>
            </a:br>
            <a:r>
              <a:rPr lang="en-US"/>
              <a:t>Lorem Ipsum</a:t>
            </a:r>
          </a:p>
        </p:txBody>
      </p:sp>
    </p:spTree>
    <p:extLst>
      <p:ext uri="{BB962C8B-B14F-4D97-AF65-F5344CB8AC3E}">
        <p14:creationId xmlns:p14="http://schemas.microsoft.com/office/powerpoint/2010/main" val="261256257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ivider_Ros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5355674" y="1015529"/>
            <a:ext cx="3788325" cy="2465195"/>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015529"/>
            <a:ext cx="1315466" cy="2465195"/>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a:ln>
                <a:noFill/>
              </a:ln>
              <a:solidFill>
                <a:schemeClr val="bg1"/>
              </a:solidFill>
              <a:effectLst/>
              <a:latin typeface="Arial" charset="0"/>
            </a:endParaRPr>
          </a:p>
        </p:txBody>
      </p:sp>
      <p:sp>
        <p:nvSpPr>
          <p:cNvPr id="5" name="Title 3">
            <a:extLst>
              <a:ext uri="{FF2B5EF4-FFF2-40B4-BE49-F238E27FC236}">
                <a16:creationId xmlns:a16="http://schemas.microsoft.com/office/drawing/2014/main" id="{F4457FE3-0B4A-413C-9BD0-B43E27F3C7B0}"/>
              </a:ext>
            </a:extLst>
          </p:cNvPr>
          <p:cNvSpPr>
            <a:spLocks noGrp="1"/>
          </p:cNvSpPr>
          <p:nvPr>
            <p:ph type="title" hasCustomPrompt="1"/>
          </p:nvPr>
        </p:nvSpPr>
        <p:spPr>
          <a:xfrm>
            <a:off x="1543050" y="1145286"/>
            <a:ext cx="3682746" cy="2201418"/>
          </a:xfrm>
        </p:spPr>
        <p:txBody>
          <a:bodyPr anchor="ctr" anchorCtr="0"/>
          <a:lstStyle>
            <a:lvl1pPr>
              <a:lnSpc>
                <a:spcPct val="100000"/>
              </a:lnSpc>
              <a:defRPr sz="2400"/>
            </a:lvl1pPr>
          </a:lstStyle>
          <a:p>
            <a:r>
              <a:rPr lang="en-US"/>
              <a:t>Divider Slide</a:t>
            </a:r>
            <a:br>
              <a:rPr lang="en-US"/>
            </a:br>
            <a:r>
              <a:rPr lang="en-US"/>
              <a:t>30 Characters</a:t>
            </a:r>
            <a:br>
              <a:rPr lang="en-US"/>
            </a:br>
            <a:r>
              <a:rPr lang="en-US"/>
              <a:t>Lorem Ipsum</a:t>
            </a:r>
          </a:p>
        </p:txBody>
      </p:sp>
    </p:spTree>
    <p:extLst>
      <p:ext uri="{BB962C8B-B14F-4D97-AF65-F5344CB8AC3E}">
        <p14:creationId xmlns:p14="http://schemas.microsoft.com/office/powerpoint/2010/main" val="99690770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ivider_Surf">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5355674" y="1015529"/>
            <a:ext cx="3788325" cy="2465195"/>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015529"/>
            <a:ext cx="1315466" cy="2465195"/>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a:ln>
                <a:noFill/>
              </a:ln>
              <a:solidFill>
                <a:schemeClr val="bg1"/>
              </a:solidFill>
              <a:effectLst/>
              <a:latin typeface="Arial" charset="0"/>
            </a:endParaRPr>
          </a:p>
        </p:txBody>
      </p:sp>
      <p:sp>
        <p:nvSpPr>
          <p:cNvPr id="5" name="Title 3">
            <a:extLst>
              <a:ext uri="{FF2B5EF4-FFF2-40B4-BE49-F238E27FC236}">
                <a16:creationId xmlns:a16="http://schemas.microsoft.com/office/drawing/2014/main" id="{F4457FE3-0B4A-413C-9BD0-B43E27F3C7B0}"/>
              </a:ext>
            </a:extLst>
          </p:cNvPr>
          <p:cNvSpPr>
            <a:spLocks noGrp="1"/>
          </p:cNvSpPr>
          <p:nvPr>
            <p:ph type="title" hasCustomPrompt="1"/>
          </p:nvPr>
        </p:nvSpPr>
        <p:spPr>
          <a:xfrm>
            <a:off x="1543050" y="1145286"/>
            <a:ext cx="3682746" cy="2201418"/>
          </a:xfrm>
        </p:spPr>
        <p:txBody>
          <a:bodyPr anchor="ctr" anchorCtr="0"/>
          <a:lstStyle>
            <a:lvl1pPr>
              <a:lnSpc>
                <a:spcPct val="100000"/>
              </a:lnSpc>
              <a:defRPr sz="2400"/>
            </a:lvl1pPr>
          </a:lstStyle>
          <a:p>
            <a:r>
              <a:rPr lang="en-US"/>
              <a:t>Divider Slide</a:t>
            </a:r>
            <a:br>
              <a:rPr lang="en-US"/>
            </a:br>
            <a:r>
              <a:rPr lang="en-US"/>
              <a:t>30 Characters</a:t>
            </a:r>
            <a:br>
              <a:rPr lang="en-US"/>
            </a:br>
            <a:r>
              <a:rPr lang="en-US"/>
              <a:t>Lorem Ipsum</a:t>
            </a:r>
          </a:p>
        </p:txBody>
      </p:sp>
    </p:spTree>
    <p:extLst>
      <p:ext uri="{BB962C8B-B14F-4D97-AF65-F5344CB8AC3E}">
        <p14:creationId xmlns:p14="http://schemas.microsoft.com/office/powerpoint/2010/main" val="152439756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42900" y="756952"/>
            <a:ext cx="4545106" cy="3357086"/>
          </a:xfrm>
        </p:spPr>
        <p:txBody>
          <a:bodyPr anchor="ctr" anchorCtr="0"/>
          <a:lstStyle>
            <a:lvl1pPr marL="0" indent="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iscing</a:t>
            </a:r>
            <a:r>
              <a:rPr lang="en-US"/>
              <a:t> </a:t>
            </a:r>
            <a:r>
              <a:rPr lang="en-US" err="1"/>
              <a:t>elit</a:t>
            </a:r>
            <a:r>
              <a:rPr lang="en-US"/>
              <a:t>. </a:t>
            </a:r>
            <a:r>
              <a:rPr lang="en-US" err="1"/>
              <a:t>Mauris</a:t>
            </a:r>
            <a:r>
              <a:rPr lang="en-US"/>
              <a:t> </a:t>
            </a:r>
            <a:r>
              <a:rPr lang="en-US" err="1"/>
              <a:t>accum</a:t>
            </a:r>
            <a:r>
              <a:rPr lang="en-US"/>
              <a:t> </a:t>
            </a:r>
            <a:r>
              <a:rPr lang="en-US" err="1"/>
              <a:t>san</a:t>
            </a:r>
            <a:r>
              <a:rPr lang="en-US"/>
              <a:t> </a:t>
            </a:r>
            <a:r>
              <a:rPr lang="en-US" err="1"/>
              <a:t>urna</a:t>
            </a:r>
            <a:r>
              <a:rPr lang="en-US"/>
              <a:t>. Sus </a:t>
            </a:r>
            <a:r>
              <a:rPr lang="en-US" err="1"/>
              <a:t>pendisse</a:t>
            </a:r>
            <a:r>
              <a:rPr lang="en-US"/>
              <a:t> </a:t>
            </a:r>
            <a:r>
              <a:rPr lang="en-US" err="1"/>
              <a:t>sem</a:t>
            </a:r>
            <a:r>
              <a:rPr lang="en-US"/>
              <a:t> per semper </a:t>
            </a:r>
            <a:r>
              <a:rPr lang="en-US" err="1"/>
              <a:t>commodo</a:t>
            </a:r>
            <a:r>
              <a:rPr lang="en-US"/>
              <a:t>.”</a:t>
            </a:r>
          </a:p>
        </p:txBody>
      </p:sp>
      <p:sp>
        <p:nvSpPr>
          <p:cNvPr id="6" name="Text Placeholder 5">
            <a:extLst>
              <a:ext uri="{FF2B5EF4-FFF2-40B4-BE49-F238E27FC236}">
                <a16:creationId xmlns:a16="http://schemas.microsoft.com/office/drawing/2014/main" id="{B5A5ABB7-A574-4F00-8EBF-4F95BF5684D9}"/>
              </a:ext>
            </a:extLst>
          </p:cNvPr>
          <p:cNvSpPr>
            <a:spLocks noGrp="1"/>
          </p:cNvSpPr>
          <p:nvPr>
            <p:ph type="body" sz="quarter" idx="12" hasCustomPrompt="1"/>
          </p:nvPr>
        </p:nvSpPr>
        <p:spPr>
          <a:xfrm>
            <a:off x="342900" y="4114038"/>
            <a:ext cx="4545106" cy="260604"/>
          </a:xfrm>
        </p:spPr>
        <p:txBody>
          <a:bodyPr/>
          <a:lstStyle>
            <a:lvl1pPr marL="0" indent="0">
              <a:buNone/>
              <a:defRPr sz="1050"/>
            </a:lvl1pPr>
            <a:lvl2pPr marL="240030" indent="0">
              <a:buNone/>
              <a:defRPr sz="1050"/>
            </a:lvl2pPr>
            <a:lvl3pPr marL="411480" indent="0">
              <a:buNone/>
              <a:defRPr sz="1050"/>
            </a:lvl3pPr>
            <a:lvl4pPr marL="617220" indent="0">
              <a:buNone/>
              <a:defRPr sz="1050"/>
            </a:lvl4pPr>
            <a:lvl5pPr marL="788670" indent="0">
              <a:buNone/>
              <a:defRPr sz="1050"/>
            </a:lvl5pPr>
          </a:lstStyle>
          <a:p>
            <a:pPr lvl="0"/>
            <a:r>
              <a:rPr lang="en-US"/>
              <a:t>Quote attribution placeholder</a:t>
            </a:r>
          </a:p>
        </p:txBody>
      </p:sp>
    </p:spTree>
    <p:extLst>
      <p:ext uri="{BB962C8B-B14F-4D97-AF65-F5344CB8AC3E}">
        <p14:creationId xmlns:p14="http://schemas.microsoft.com/office/powerpoint/2010/main" val="286680006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Quote_large">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342900" y="756952"/>
            <a:ext cx="6275071" cy="3357086"/>
          </a:xfrm>
        </p:spPr>
        <p:txBody>
          <a:bodyPr anchor="ctr" anchorCtr="0"/>
          <a:lstStyle>
            <a:lvl1pPr marL="0" indent="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342900" y="4114038"/>
            <a:ext cx="6275071" cy="260604"/>
          </a:xfrm>
        </p:spPr>
        <p:txBody>
          <a:bodyPr/>
          <a:lstStyle>
            <a:lvl1pPr marL="0" indent="0">
              <a:buNone/>
              <a:defRPr sz="1050"/>
            </a:lvl1pPr>
            <a:lvl2pPr marL="240030" indent="0">
              <a:buNone/>
              <a:defRPr sz="1050"/>
            </a:lvl2pPr>
            <a:lvl3pPr marL="411480" indent="0">
              <a:buNone/>
              <a:defRPr sz="1050"/>
            </a:lvl3pPr>
            <a:lvl4pPr marL="617220" indent="0">
              <a:buNone/>
              <a:defRPr sz="1050"/>
            </a:lvl4pPr>
            <a:lvl5pPr marL="788670" indent="0">
              <a:buNone/>
              <a:defRPr sz="1050"/>
            </a:lvl5pPr>
          </a:lstStyle>
          <a:p>
            <a:pPr lvl="0"/>
            <a:r>
              <a:rPr lang="en-US"/>
              <a:t>Quote attribution placeholder</a:t>
            </a:r>
          </a:p>
        </p:txBody>
      </p:sp>
    </p:spTree>
    <p:extLst>
      <p:ext uri="{BB962C8B-B14F-4D97-AF65-F5344CB8AC3E}">
        <p14:creationId xmlns:p14="http://schemas.microsoft.com/office/powerpoint/2010/main" val="297423646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A_Quote_Sky">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761038" y="1588117"/>
            <a:ext cx="7619771" cy="1661993"/>
          </a:xfrm>
        </p:spPr>
        <p:txBody>
          <a:bodyPr anchor="ctr" anchorCtr="0">
            <a:noAutofit/>
          </a:bodyPr>
          <a:lstStyle>
            <a:lvl1pPr marL="0" indent="0">
              <a:lnSpc>
                <a:spcPct val="100000"/>
              </a:lnSpc>
              <a:defRPr sz="2700"/>
            </a:lvl1pPr>
          </a:lstStyle>
          <a:p>
            <a:r>
              <a:rPr lang="en-US"/>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761038" y="3317174"/>
            <a:ext cx="7618809" cy="323165"/>
          </a:xfrm>
        </p:spPr>
        <p:txBody>
          <a:bodyPr vert="horz" lIns="0" tIns="0" rIns="0" bIns="0" rtlCol="0">
            <a:noAutofit/>
          </a:bodyPr>
          <a:lstStyle>
            <a:lvl1pPr marL="0" indent="0">
              <a:buNone/>
              <a:defRPr lang="en-US" sz="1200" dirty="0"/>
            </a:lvl1pPr>
          </a:lstStyle>
          <a:p>
            <a:pPr marL="205740" lvl="0" indent="-205740"/>
            <a:r>
              <a:rPr lang="en-US"/>
              <a:t>Quote 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0" y="1007269"/>
            <a:ext cx="380519" cy="3128963"/>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8763481" y="1007269"/>
            <a:ext cx="380519" cy="3128963"/>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2195114593"/>
      </p:ext>
    </p:extLst>
  </p:cSld>
  <p:clrMapOvr>
    <a:masterClrMapping/>
  </p:clrMapOvr>
  <p:extLst>
    <p:ext uri="{DCECCB84-F9BA-43D5-87BE-67443E8EF086}">
      <p15:sldGuideLst xmlns:p15="http://schemas.microsoft.com/office/powerpoint/2012/main">
        <p15:guide id="1" pos="641">
          <p15:clr>
            <a:srgbClr val="FBAE40"/>
          </p15:clr>
        </p15:guide>
        <p15:guide id="2" pos="7040">
          <p15:clr>
            <a:srgbClr val="FBAE40"/>
          </p15:clr>
        </p15:guide>
        <p15:guide id="3" orient="horz" pos="1170">
          <p15:clr>
            <a:srgbClr val="FBAE40"/>
          </p15:clr>
        </p15:guide>
        <p15:guide id="4" orient="horz" pos="3147">
          <p15:clr>
            <a:srgbClr val="FBAE40"/>
          </p15:clr>
        </p15:guide>
        <p15:guide id="5" orient="horz" pos="3468">
          <p15:clr>
            <a:srgbClr val="FBAE40"/>
          </p15:clr>
        </p15:guide>
        <p15:guide id="6" orient="horz" pos="846">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A_Quote_Lemon">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761038" y="1588117"/>
            <a:ext cx="7619771" cy="1661993"/>
          </a:xfrm>
        </p:spPr>
        <p:txBody>
          <a:bodyPr anchor="ctr" anchorCtr="0">
            <a:noAutofit/>
          </a:bodyPr>
          <a:lstStyle>
            <a:lvl1pPr marL="0" indent="0">
              <a:lnSpc>
                <a:spcPct val="100000"/>
              </a:lnSpc>
              <a:defRPr sz="2700"/>
            </a:lvl1pPr>
          </a:lstStyle>
          <a:p>
            <a:r>
              <a:rPr lang="en-US"/>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761038" y="3317174"/>
            <a:ext cx="7618809" cy="323165"/>
          </a:xfrm>
        </p:spPr>
        <p:txBody>
          <a:bodyPr vert="horz" lIns="0" tIns="0" rIns="0" bIns="0" rtlCol="0">
            <a:noAutofit/>
          </a:bodyPr>
          <a:lstStyle>
            <a:lvl1pPr marL="0" indent="0">
              <a:buNone/>
              <a:defRPr lang="en-US" sz="1200" dirty="0"/>
            </a:lvl1pPr>
          </a:lstStyle>
          <a:p>
            <a:pPr marL="205740" lvl="0" indent="-205740"/>
            <a:r>
              <a:rPr lang="en-US"/>
              <a:t>Quote 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0" y="1007269"/>
            <a:ext cx="380519" cy="3128963"/>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8763481" y="1007269"/>
            <a:ext cx="380519" cy="3128963"/>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2647101262"/>
      </p:ext>
    </p:extLst>
  </p:cSld>
  <p:clrMapOvr>
    <a:masterClrMapping/>
  </p:clrMapOvr>
  <p:extLst>
    <p:ext uri="{DCECCB84-F9BA-43D5-87BE-67443E8EF086}">
      <p15:sldGuideLst xmlns:p15="http://schemas.microsoft.com/office/powerpoint/2012/main">
        <p15:guide id="1" pos="641">
          <p15:clr>
            <a:srgbClr val="FBAE40"/>
          </p15:clr>
        </p15:guide>
        <p15:guide id="2" pos="7040">
          <p15:clr>
            <a:srgbClr val="FBAE40"/>
          </p15:clr>
        </p15:guide>
        <p15:guide id="3" orient="horz" pos="1170">
          <p15:clr>
            <a:srgbClr val="FBAE40"/>
          </p15:clr>
        </p15:guide>
        <p15:guide id="4" orient="horz" pos="3147">
          <p15:clr>
            <a:srgbClr val="FBAE40"/>
          </p15:clr>
        </p15:guide>
        <p15:guide id="5" orient="horz" pos="3468">
          <p15:clr>
            <a:srgbClr val="FBAE40"/>
          </p15:clr>
        </p15:guide>
        <p15:guide id="6" orient="horz" pos="846">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A_Quote_Tangerine">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761038" y="1588117"/>
            <a:ext cx="7619771" cy="1661993"/>
          </a:xfrm>
        </p:spPr>
        <p:txBody>
          <a:bodyPr anchor="ctr" anchorCtr="0">
            <a:noAutofit/>
          </a:bodyPr>
          <a:lstStyle>
            <a:lvl1pPr marL="0" indent="0">
              <a:lnSpc>
                <a:spcPct val="100000"/>
              </a:lnSpc>
              <a:defRPr sz="2700"/>
            </a:lvl1pPr>
          </a:lstStyle>
          <a:p>
            <a:r>
              <a:rPr lang="en-US"/>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761038" y="3317174"/>
            <a:ext cx="7618809" cy="323165"/>
          </a:xfrm>
        </p:spPr>
        <p:txBody>
          <a:bodyPr vert="horz" lIns="0" tIns="0" rIns="0" bIns="0" rtlCol="0">
            <a:noAutofit/>
          </a:bodyPr>
          <a:lstStyle>
            <a:lvl1pPr marL="0" indent="0" algn="l">
              <a:buNone/>
              <a:defRPr lang="en-US" sz="1200" dirty="0"/>
            </a:lvl1pPr>
          </a:lstStyle>
          <a:p>
            <a:pPr marL="205740" lvl="0" indent="-205740"/>
            <a:r>
              <a:rPr lang="en-US"/>
              <a:t>Quote 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0" y="1007269"/>
            <a:ext cx="380519" cy="3128963"/>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8763481" y="1007269"/>
            <a:ext cx="380519" cy="3128963"/>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556081333"/>
      </p:ext>
    </p:extLst>
  </p:cSld>
  <p:clrMapOvr>
    <a:masterClrMapping/>
  </p:clrMapOvr>
  <p:extLst>
    <p:ext uri="{DCECCB84-F9BA-43D5-87BE-67443E8EF086}">
      <p15:sldGuideLst xmlns:p15="http://schemas.microsoft.com/office/powerpoint/2012/main">
        <p15:guide id="1" pos="641">
          <p15:clr>
            <a:srgbClr val="FBAE40"/>
          </p15:clr>
        </p15:guide>
        <p15:guide id="2" pos="7040">
          <p15:clr>
            <a:srgbClr val="FBAE40"/>
          </p15:clr>
        </p15:guide>
        <p15:guide id="3" orient="horz" pos="1170">
          <p15:clr>
            <a:srgbClr val="FBAE40"/>
          </p15:clr>
        </p15:guide>
        <p15:guide id="4" orient="horz" pos="3147">
          <p15:clr>
            <a:srgbClr val="FBAE40"/>
          </p15:clr>
        </p15:guide>
        <p15:guide id="5" orient="horz" pos="3468">
          <p15:clr>
            <a:srgbClr val="FBAE40"/>
          </p15:clr>
        </p15:guide>
        <p15:guide id="6" orient="horz" pos="846">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A_Quote_Rose">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761038" y="1588117"/>
            <a:ext cx="7619771" cy="1661993"/>
          </a:xfrm>
        </p:spPr>
        <p:txBody>
          <a:bodyPr anchor="ctr" anchorCtr="0">
            <a:noAutofit/>
          </a:bodyPr>
          <a:lstStyle>
            <a:lvl1pPr marL="0" indent="0">
              <a:lnSpc>
                <a:spcPct val="100000"/>
              </a:lnSpc>
              <a:defRPr sz="2700"/>
            </a:lvl1pPr>
          </a:lstStyle>
          <a:p>
            <a:r>
              <a:rPr lang="en-US"/>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761038" y="3317174"/>
            <a:ext cx="7618809" cy="323165"/>
          </a:xfrm>
        </p:spPr>
        <p:txBody>
          <a:bodyPr vert="horz" lIns="0" tIns="0" rIns="0" bIns="0" rtlCol="0">
            <a:noAutofit/>
          </a:bodyPr>
          <a:lstStyle>
            <a:lvl1pPr marL="0" indent="0">
              <a:buNone/>
              <a:defRPr lang="en-US" sz="1200" dirty="0"/>
            </a:lvl1pPr>
          </a:lstStyle>
          <a:p>
            <a:pPr marL="205740" lvl="0" indent="-205740"/>
            <a:r>
              <a:rPr lang="en-US"/>
              <a:t>Quote 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0" y="1007269"/>
            <a:ext cx="380519" cy="3128963"/>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8763481" y="1007269"/>
            <a:ext cx="380519" cy="3128963"/>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2133193338"/>
      </p:ext>
    </p:extLst>
  </p:cSld>
  <p:clrMapOvr>
    <a:masterClrMapping/>
  </p:clrMapOvr>
  <p:extLst>
    <p:ext uri="{DCECCB84-F9BA-43D5-87BE-67443E8EF086}">
      <p15:sldGuideLst xmlns:p15="http://schemas.microsoft.com/office/powerpoint/2012/main">
        <p15:guide id="1" pos="641">
          <p15:clr>
            <a:srgbClr val="FBAE40"/>
          </p15:clr>
        </p15:guide>
        <p15:guide id="2" pos="7040">
          <p15:clr>
            <a:srgbClr val="FBAE40"/>
          </p15:clr>
        </p15:guide>
        <p15:guide id="3" orient="horz" pos="1170">
          <p15:clr>
            <a:srgbClr val="FBAE40"/>
          </p15:clr>
        </p15:guide>
        <p15:guide id="4" orient="horz" pos="3147">
          <p15:clr>
            <a:srgbClr val="FBAE40"/>
          </p15:clr>
        </p15:guide>
        <p15:guide id="5" orient="horz" pos="3468">
          <p15:clr>
            <a:srgbClr val="FBAE40"/>
          </p15:clr>
        </p15:guide>
        <p15:guide id="6" orient="horz" pos="846">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A_Quote_Surf">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761038" y="1588117"/>
            <a:ext cx="7619771" cy="1661993"/>
          </a:xfrm>
        </p:spPr>
        <p:txBody>
          <a:bodyPr anchor="ctr" anchorCtr="0">
            <a:noAutofit/>
          </a:bodyPr>
          <a:lstStyle>
            <a:lvl1pPr marL="0" indent="0">
              <a:lnSpc>
                <a:spcPct val="100000"/>
              </a:lnSpc>
              <a:defRPr sz="2700"/>
            </a:lvl1pPr>
          </a:lstStyle>
          <a:p>
            <a:r>
              <a:rPr lang="en-US"/>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761038" y="3317174"/>
            <a:ext cx="7618809" cy="323165"/>
          </a:xfrm>
        </p:spPr>
        <p:txBody>
          <a:bodyPr vert="horz" lIns="0" tIns="0" rIns="0" bIns="0" rtlCol="0">
            <a:noAutofit/>
          </a:bodyPr>
          <a:lstStyle>
            <a:lvl1pPr marL="0" indent="0">
              <a:buNone/>
              <a:defRPr lang="en-US" sz="1200" dirty="0"/>
            </a:lvl1pPr>
          </a:lstStyle>
          <a:p>
            <a:pPr marL="205740" lvl="0" indent="-205740"/>
            <a:r>
              <a:rPr lang="en-US"/>
              <a:t>Quote 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0" y="1007269"/>
            <a:ext cx="380519" cy="3128963"/>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8763481" y="1007269"/>
            <a:ext cx="380519" cy="3128963"/>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2690036802"/>
      </p:ext>
    </p:extLst>
  </p:cSld>
  <p:clrMapOvr>
    <a:masterClrMapping/>
  </p:clrMapOvr>
  <p:extLst>
    <p:ext uri="{DCECCB84-F9BA-43D5-87BE-67443E8EF086}">
      <p15:sldGuideLst xmlns:p15="http://schemas.microsoft.com/office/powerpoint/2012/main">
        <p15:guide id="1" pos="641">
          <p15:clr>
            <a:srgbClr val="FBAE40"/>
          </p15:clr>
        </p15:guide>
        <p15:guide id="2" pos="7040">
          <p15:clr>
            <a:srgbClr val="FBAE40"/>
          </p15:clr>
        </p15:guide>
        <p15:guide id="3" orient="horz" pos="1170">
          <p15:clr>
            <a:srgbClr val="FBAE40"/>
          </p15:clr>
        </p15:guide>
        <p15:guide id="4" orient="horz" pos="3147">
          <p15:clr>
            <a:srgbClr val="FBAE40"/>
          </p15:clr>
        </p15:guide>
        <p15:guide id="5" orient="horz" pos="3468">
          <p15:clr>
            <a:srgbClr val="FBAE40"/>
          </p15:clr>
        </p15:guide>
        <p15:guide id="6" orient="horz" pos="84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 Large image small text">
    <p:bg>
      <p:bgPr>
        <a:solidFill>
          <a:srgbClr val="EBF2F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3BCD082-6D86-921B-1F86-51388796B050}"/>
              </a:ext>
            </a:extLst>
          </p:cNvPr>
          <p:cNvSpPr/>
          <p:nvPr userDrawn="1"/>
        </p:nvSpPr>
        <p:spPr>
          <a:xfrm>
            <a:off x="5940425" y="158750"/>
            <a:ext cx="144462" cy="4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Image">
            <a:extLst>
              <a:ext uri="{FF2B5EF4-FFF2-40B4-BE49-F238E27FC236}">
                <a16:creationId xmlns:a16="http://schemas.microsoft.com/office/drawing/2014/main" id="{25798999-2A1E-2547-A8D5-4373B7132ADB}"/>
              </a:ext>
            </a:extLst>
          </p:cNvPr>
          <p:cNvSpPr>
            <a:spLocks noGrp="1"/>
          </p:cNvSpPr>
          <p:nvPr>
            <p:ph type="pic" sz="quarter" idx="10" hasCustomPrompt="1"/>
          </p:nvPr>
        </p:nvSpPr>
        <p:spPr>
          <a:xfrm>
            <a:off x="179388" y="158750"/>
            <a:ext cx="5761037" cy="4681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11" name="Date">
            <a:extLst>
              <a:ext uri="{FF2B5EF4-FFF2-40B4-BE49-F238E27FC236}">
                <a16:creationId xmlns:a16="http://schemas.microsoft.com/office/drawing/2014/main" id="{38CA3AD7-12F8-9F43-820D-33071C26D41A}"/>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C536D038-436B-4CBC-9BCD-F32C2DFFCCE6}" type="datetime1">
              <a:rPr lang="sv-SE" noProof="0" smtClean="0"/>
              <a:t>2025-09-04</a:t>
            </a:fld>
            <a:endParaRPr lang="en-GB" noProof="0"/>
          </a:p>
        </p:txBody>
      </p:sp>
      <p:sp>
        <p:nvSpPr>
          <p:cNvPr id="12" name="Number">
            <a:extLst>
              <a:ext uri="{FF2B5EF4-FFF2-40B4-BE49-F238E27FC236}">
                <a16:creationId xmlns:a16="http://schemas.microsoft.com/office/drawing/2014/main" id="{DFED6C3B-4A73-344C-A9A5-F8224178884F}"/>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4" name="Footer">
            <a:extLst>
              <a:ext uri="{FF2B5EF4-FFF2-40B4-BE49-F238E27FC236}">
                <a16:creationId xmlns:a16="http://schemas.microsoft.com/office/drawing/2014/main" id="{373FE5A1-132B-B247-9BF4-ED02DBE7E9C2}"/>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
        <p:nvSpPr>
          <p:cNvPr id="8" name="Title">
            <a:extLst>
              <a:ext uri="{FF2B5EF4-FFF2-40B4-BE49-F238E27FC236}">
                <a16:creationId xmlns:a16="http://schemas.microsoft.com/office/drawing/2014/main" id="{57BA0AC4-7B61-A491-A4CA-FDB8858B8831}"/>
              </a:ext>
            </a:extLst>
          </p:cNvPr>
          <p:cNvSpPr>
            <a:spLocks noGrp="1"/>
          </p:cNvSpPr>
          <p:nvPr>
            <p:ph type="title" hasCustomPrompt="1"/>
          </p:nvPr>
        </p:nvSpPr>
        <p:spPr>
          <a:xfrm>
            <a:off x="6084889" y="525599"/>
            <a:ext cx="2735262" cy="2872740"/>
          </a:xfrm>
        </p:spPr>
        <p:txBody>
          <a:bodyPr lIns="154800" rIns="144000"/>
          <a:lstStyle>
            <a:lvl1pPr>
              <a:defRPr sz="3000" spc="-50" baseline="0">
                <a:solidFill>
                  <a:schemeClr val="tx1"/>
                </a:solidFill>
              </a:defRPr>
            </a:lvl1pPr>
          </a:lstStyle>
          <a:p>
            <a:r>
              <a:rPr lang="en-GB" noProof="0"/>
              <a:t>Click to add a headline of one to six lines of text</a:t>
            </a:r>
          </a:p>
        </p:txBody>
      </p:sp>
      <p:sp>
        <p:nvSpPr>
          <p:cNvPr id="9" name="Navigation">
            <a:extLst>
              <a:ext uri="{FF2B5EF4-FFF2-40B4-BE49-F238E27FC236}">
                <a16:creationId xmlns:a16="http://schemas.microsoft.com/office/drawing/2014/main" id="{BFCEBC49-E251-C34D-23C9-35EC0903C583}"/>
              </a:ext>
            </a:extLst>
          </p:cNvPr>
          <p:cNvSpPr>
            <a:spLocks noGrp="1"/>
          </p:cNvSpPr>
          <p:nvPr>
            <p:ph type="body" sz="quarter" idx="14" hasCustomPrompt="1"/>
          </p:nvPr>
        </p:nvSpPr>
        <p:spPr>
          <a:xfrm>
            <a:off x="6084889" y="276226"/>
            <a:ext cx="2735262" cy="276999"/>
          </a:xfrm>
        </p:spPr>
        <p:txBody>
          <a:bodyPr lIns="154800" rIns="216000" anchor="t"/>
          <a:lstStyle>
            <a:lvl1pPr marL="3175" indent="-3175">
              <a:buNone/>
              <a:tabLst/>
              <a:defRPr sz="1200" b="1">
                <a:solidFill>
                  <a:schemeClr val="tx1"/>
                </a:solidFill>
              </a:defRPr>
            </a:lvl1pPr>
            <a:lvl2pPr>
              <a:buNone/>
              <a:defRPr/>
            </a:lvl2pPr>
            <a:lvl3pPr>
              <a:buNone/>
              <a:defRPr/>
            </a:lvl3pPr>
            <a:lvl4pPr>
              <a:buNone/>
              <a:defRPr/>
            </a:lvl4pPr>
            <a:lvl5pPr>
              <a:buNone/>
              <a:defRPr/>
            </a:lvl5pPr>
          </a:lstStyle>
          <a:p>
            <a:pPr lvl="0"/>
            <a:r>
              <a:rPr lang="en-GB" noProof="0"/>
              <a:t>Click to add short tracker</a:t>
            </a:r>
          </a:p>
        </p:txBody>
      </p:sp>
      <p:sp>
        <p:nvSpPr>
          <p:cNvPr id="10" name="Text">
            <a:extLst>
              <a:ext uri="{FF2B5EF4-FFF2-40B4-BE49-F238E27FC236}">
                <a16:creationId xmlns:a16="http://schemas.microsoft.com/office/drawing/2014/main" id="{FB92BDDD-CC14-2C4C-9D78-0BB5C9D6D22B}"/>
              </a:ext>
            </a:extLst>
          </p:cNvPr>
          <p:cNvSpPr>
            <a:spLocks noGrp="1"/>
          </p:cNvSpPr>
          <p:nvPr>
            <p:ph type="body" sz="quarter" idx="13" hasCustomPrompt="1"/>
          </p:nvPr>
        </p:nvSpPr>
        <p:spPr>
          <a:xfrm>
            <a:off x="6084889" y="3603811"/>
            <a:ext cx="2735261" cy="1092013"/>
          </a:xfrm>
        </p:spPr>
        <p:txBody>
          <a:bodyPr lIns="154800" rIns="216000"/>
          <a:lstStyle>
            <a:lvl1pPr marL="0" indent="0">
              <a:buNone/>
              <a:defRPr sz="14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GB" noProof="0"/>
              <a:t>Click to add a short description text in a few lines</a:t>
            </a:r>
          </a:p>
        </p:txBody>
      </p:sp>
    </p:spTree>
    <p:extLst>
      <p:ext uri="{BB962C8B-B14F-4D97-AF65-F5344CB8AC3E}">
        <p14:creationId xmlns:p14="http://schemas.microsoft.com/office/powerpoint/2010/main" val="803545454"/>
      </p:ext>
    </p:extLst>
  </p:cSld>
  <p:clrMapOvr>
    <a:masterClrMapping/>
  </p:clrMapOvr>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Key Issue - Takeaway1">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8578134-C757-4EB6-8CBA-C93029B5AF5B}"/>
              </a:ext>
            </a:extLst>
          </p:cNvPr>
          <p:cNvSpPr txBox="1"/>
          <p:nvPr userDrawn="1"/>
        </p:nvSpPr>
        <p:spPr>
          <a:xfrm>
            <a:off x="799602" y="1499652"/>
            <a:ext cx="7029949" cy="507831"/>
          </a:xfrm>
          <a:prstGeom prst="rect">
            <a:avLst/>
          </a:prstGeom>
          <a:noFill/>
        </p:spPr>
        <p:txBody>
          <a:bodyPr wrap="square" lIns="0" rtlCol="0">
            <a:spAutoFit/>
          </a:bodyPr>
          <a:lstStyle/>
          <a:p>
            <a:r>
              <a:rPr lang="en-US" sz="2700" dirty="0">
                <a:solidFill>
                  <a:srgbClr val="FF540A"/>
                </a:solidFill>
                <a:latin typeface="+mj-lt"/>
              </a:rPr>
              <a:t>Key Issue Take-Away:</a:t>
            </a:r>
          </a:p>
        </p:txBody>
      </p:sp>
      <p:sp>
        <p:nvSpPr>
          <p:cNvPr id="5" name="Text Placeholder 4">
            <a:extLst>
              <a:ext uri="{FF2B5EF4-FFF2-40B4-BE49-F238E27FC236}">
                <a16:creationId xmlns:a16="http://schemas.microsoft.com/office/drawing/2014/main" id="{9895260A-4283-47C2-8FAF-88F622DA4B99}"/>
              </a:ext>
            </a:extLst>
          </p:cNvPr>
          <p:cNvSpPr>
            <a:spLocks noGrp="1"/>
          </p:cNvSpPr>
          <p:nvPr>
            <p:ph type="body" sz="quarter" idx="10"/>
          </p:nvPr>
        </p:nvSpPr>
        <p:spPr>
          <a:xfrm>
            <a:off x="796413" y="1998561"/>
            <a:ext cx="7033137" cy="1445419"/>
          </a:xfrm>
        </p:spPr>
        <p:txBody>
          <a:bodyPr/>
          <a:lstStyle>
            <a:lvl1pPr marL="0" indent="0">
              <a:buNone/>
              <a:defRPr sz="2700"/>
            </a:lvl1pPr>
            <a:lvl2pPr marL="274320" indent="0">
              <a:buNone/>
              <a:defRPr sz="2400"/>
            </a:lvl2pPr>
            <a:lvl3pPr marL="514350" indent="0">
              <a:buNone/>
              <a:defRPr sz="2400"/>
            </a:lvl3pPr>
            <a:lvl4pPr marL="754380" indent="0">
              <a:buNone/>
              <a:defRPr sz="2400"/>
            </a:lvl4pPr>
            <a:lvl5pPr marL="994410" indent="0">
              <a:buNone/>
              <a:defRPr sz="2400"/>
            </a:lvl5pPr>
          </a:lstStyle>
          <a:p>
            <a:pPr lvl="0"/>
            <a:r>
              <a:rPr lang="en-US"/>
              <a:t>Click to edit Master text styles</a:t>
            </a:r>
          </a:p>
        </p:txBody>
      </p:sp>
    </p:spTree>
    <p:extLst>
      <p:ext uri="{BB962C8B-B14F-4D97-AF65-F5344CB8AC3E}">
        <p14:creationId xmlns:p14="http://schemas.microsoft.com/office/powerpoint/2010/main" val="654624346"/>
      </p:ext>
    </p:extLst>
  </p:cSld>
  <p:clrMapOvr>
    <a:masterClrMapping/>
  </p:clrMapOvr>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Key Issue - Takeaway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5BE603-3E7D-4B30-B71E-D469C05829E1}"/>
              </a:ext>
            </a:extLst>
          </p:cNvPr>
          <p:cNvSpPr>
            <a:spLocks noGrp="1"/>
          </p:cNvSpPr>
          <p:nvPr>
            <p:ph type="title" hasCustomPrompt="1"/>
          </p:nvPr>
        </p:nvSpPr>
        <p:spPr>
          <a:xfrm>
            <a:off x="1495665" y="1881702"/>
            <a:ext cx="6333886" cy="332399"/>
          </a:xfrm>
        </p:spPr>
        <p:txBody>
          <a:bodyPr anchor="t" anchorCtr="0"/>
          <a:lstStyle>
            <a:lvl1pPr algn="l">
              <a:defRPr sz="2700">
                <a:solidFill>
                  <a:schemeClr val="tx2"/>
                </a:solidFill>
              </a:defRPr>
            </a:lvl1pPr>
          </a:lstStyle>
          <a:p>
            <a:r>
              <a:rPr lang="en-US"/>
              <a:t>Title Center Layout</a:t>
            </a:r>
          </a:p>
        </p:txBody>
      </p:sp>
      <p:sp>
        <p:nvSpPr>
          <p:cNvPr id="4" name="Graphic 4">
            <a:extLst>
              <a:ext uri="{FF2B5EF4-FFF2-40B4-BE49-F238E27FC236}">
                <a16:creationId xmlns:a16="http://schemas.microsoft.com/office/drawing/2014/main" id="{A03498A7-9B95-42BE-BF8D-3D7D59C7CBB6}"/>
              </a:ext>
            </a:extLst>
          </p:cNvPr>
          <p:cNvSpPr/>
          <p:nvPr userDrawn="1"/>
        </p:nvSpPr>
        <p:spPr>
          <a:xfrm>
            <a:off x="825267" y="1814052"/>
            <a:ext cx="467700" cy="467700"/>
          </a:xfrm>
          <a:custGeom>
            <a:avLst/>
            <a:gdLst>
              <a:gd name="connsiteX0" fmla="*/ 266700 w 533400"/>
              <a:gd name="connsiteY0" fmla="*/ 0 h 533400"/>
              <a:gd name="connsiteX1" fmla="*/ 0 w 533400"/>
              <a:gd name="connsiteY1" fmla="*/ 266700 h 533400"/>
              <a:gd name="connsiteX2" fmla="*/ 266700 w 533400"/>
              <a:gd name="connsiteY2" fmla="*/ 533400 h 533400"/>
              <a:gd name="connsiteX3" fmla="*/ 533400 w 533400"/>
              <a:gd name="connsiteY3" fmla="*/ 266700 h 533400"/>
              <a:gd name="connsiteX4" fmla="*/ 266700 w 533400"/>
              <a:gd name="connsiteY4" fmla="*/ 0 h 533400"/>
              <a:gd name="connsiteX5" fmla="*/ 266700 w 533400"/>
              <a:gd name="connsiteY5" fmla="*/ 495300 h 533400"/>
              <a:gd name="connsiteX6" fmla="*/ 38100 w 533400"/>
              <a:gd name="connsiteY6" fmla="*/ 266700 h 533400"/>
              <a:gd name="connsiteX7" fmla="*/ 266700 w 533400"/>
              <a:gd name="connsiteY7" fmla="*/ 38100 h 533400"/>
              <a:gd name="connsiteX8" fmla="*/ 495300 w 533400"/>
              <a:gd name="connsiteY8" fmla="*/ 266700 h 533400"/>
              <a:gd name="connsiteX9" fmla="*/ 266700 w 533400"/>
              <a:gd name="connsiteY9" fmla="*/ 495300 h 533400"/>
              <a:gd name="connsiteX10" fmla="*/ 285750 w 533400"/>
              <a:gd name="connsiteY10" fmla="*/ 100013 h 533400"/>
              <a:gd name="connsiteX11" fmla="*/ 247650 w 533400"/>
              <a:gd name="connsiteY11" fmla="*/ 100013 h 533400"/>
              <a:gd name="connsiteX12" fmla="*/ 247650 w 533400"/>
              <a:gd name="connsiteY12" fmla="*/ 61913 h 533400"/>
              <a:gd name="connsiteX13" fmla="*/ 285750 w 533400"/>
              <a:gd name="connsiteY13" fmla="*/ 61913 h 533400"/>
              <a:gd name="connsiteX14" fmla="*/ 285750 w 533400"/>
              <a:gd name="connsiteY14" fmla="*/ 100013 h 533400"/>
              <a:gd name="connsiteX15" fmla="*/ 247650 w 533400"/>
              <a:gd name="connsiteY15" fmla="*/ 433388 h 533400"/>
              <a:gd name="connsiteX16" fmla="*/ 285750 w 533400"/>
              <a:gd name="connsiteY16" fmla="*/ 433388 h 533400"/>
              <a:gd name="connsiteX17" fmla="*/ 285750 w 533400"/>
              <a:gd name="connsiteY17" fmla="*/ 471488 h 533400"/>
              <a:gd name="connsiteX18" fmla="*/ 247650 w 533400"/>
              <a:gd name="connsiteY18" fmla="*/ 471488 h 533400"/>
              <a:gd name="connsiteX19" fmla="*/ 247650 w 533400"/>
              <a:gd name="connsiteY19" fmla="*/ 433388 h 533400"/>
              <a:gd name="connsiteX20" fmla="*/ 61913 w 533400"/>
              <a:gd name="connsiteY20" fmla="*/ 247650 h 533400"/>
              <a:gd name="connsiteX21" fmla="*/ 100013 w 533400"/>
              <a:gd name="connsiteY21" fmla="*/ 247650 h 533400"/>
              <a:gd name="connsiteX22" fmla="*/ 100013 w 533400"/>
              <a:gd name="connsiteY22" fmla="*/ 285750 h 533400"/>
              <a:gd name="connsiteX23" fmla="*/ 61913 w 533400"/>
              <a:gd name="connsiteY23" fmla="*/ 285750 h 533400"/>
              <a:gd name="connsiteX24" fmla="*/ 61913 w 533400"/>
              <a:gd name="connsiteY24" fmla="*/ 247650 h 533400"/>
              <a:gd name="connsiteX25" fmla="*/ 471488 w 533400"/>
              <a:gd name="connsiteY25" fmla="*/ 247650 h 533400"/>
              <a:gd name="connsiteX26" fmla="*/ 471488 w 533400"/>
              <a:gd name="connsiteY26" fmla="*/ 285750 h 533400"/>
              <a:gd name="connsiteX27" fmla="*/ 433388 w 533400"/>
              <a:gd name="connsiteY27" fmla="*/ 285750 h 533400"/>
              <a:gd name="connsiteX28" fmla="*/ 433388 w 533400"/>
              <a:gd name="connsiteY28" fmla="*/ 247650 h 533400"/>
              <a:gd name="connsiteX29" fmla="*/ 471488 w 533400"/>
              <a:gd name="connsiteY29" fmla="*/ 247650 h 533400"/>
              <a:gd name="connsiteX30" fmla="*/ 138113 w 533400"/>
              <a:gd name="connsiteY30" fmla="*/ 390525 h 533400"/>
              <a:gd name="connsiteX31" fmla="*/ 319088 w 533400"/>
              <a:gd name="connsiteY31" fmla="*/ 314325 h 533400"/>
              <a:gd name="connsiteX32" fmla="*/ 395288 w 533400"/>
              <a:gd name="connsiteY32" fmla="*/ 133350 h 533400"/>
              <a:gd name="connsiteX33" fmla="*/ 214313 w 533400"/>
              <a:gd name="connsiteY33" fmla="*/ 209550 h 533400"/>
              <a:gd name="connsiteX34" fmla="*/ 138113 w 533400"/>
              <a:gd name="connsiteY34" fmla="*/ 390525 h 533400"/>
              <a:gd name="connsiteX35" fmla="*/ 323879 w 533400"/>
              <a:gd name="connsiteY35" fmla="*/ 204759 h 533400"/>
              <a:gd name="connsiteX36" fmla="*/ 289989 w 533400"/>
              <a:gd name="connsiteY36" fmla="*/ 285236 h 533400"/>
              <a:gd name="connsiteX37" fmla="*/ 209512 w 533400"/>
              <a:gd name="connsiteY37" fmla="*/ 319126 h 533400"/>
              <a:gd name="connsiteX38" fmla="*/ 243402 w 533400"/>
              <a:gd name="connsiteY38" fmla="*/ 238649 h 533400"/>
              <a:gd name="connsiteX39" fmla="*/ 323879 w 533400"/>
              <a:gd name="connsiteY39" fmla="*/ 204759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33400" h="533400">
                <a:moveTo>
                  <a:pt x="266700" y="0"/>
                </a:moveTo>
                <a:cubicBezTo>
                  <a:pt x="119405" y="0"/>
                  <a:pt x="0" y="119405"/>
                  <a:pt x="0" y="266700"/>
                </a:cubicBezTo>
                <a:cubicBezTo>
                  <a:pt x="0" y="413995"/>
                  <a:pt x="119405" y="533400"/>
                  <a:pt x="266700" y="533400"/>
                </a:cubicBezTo>
                <a:cubicBezTo>
                  <a:pt x="413995" y="533400"/>
                  <a:pt x="533400" y="413995"/>
                  <a:pt x="533400" y="266700"/>
                </a:cubicBezTo>
                <a:cubicBezTo>
                  <a:pt x="533400" y="119405"/>
                  <a:pt x="413995" y="0"/>
                  <a:pt x="266700" y="0"/>
                </a:cubicBezTo>
                <a:close/>
                <a:moveTo>
                  <a:pt x="266700" y="495300"/>
                </a:moveTo>
                <a:cubicBezTo>
                  <a:pt x="140646" y="495300"/>
                  <a:pt x="38100" y="392754"/>
                  <a:pt x="38100" y="266700"/>
                </a:cubicBezTo>
                <a:cubicBezTo>
                  <a:pt x="38100" y="140646"/>
                  <a:pt x="140646" y="38100"/>
                  <a:pt x="266700" y="38100"/>
                </a:cubicBezTo>
                <a:cubicBezTo>
                  <a:pt x="392754" y="38100"/>
                  <a:pt x="495300" y="140646"/>
                  <a:pt x="495300" y="266700"/>
                </a:cubicBezTo>
                <a:cubicBezTo>
                  <a:pt x="495300" y="392754"/>
                  <a:pt x="392754" y="495300"/>
                  <a:pt x="266700" y="495300"/>
                </a:cubicBezTo>
                <a:close/>
                <a:moveTo>
                  <a:pt x="285750" y="100013"/>
                </a:moveTo>
                <a:lnTo>
                  <a:pt x="247650" y="100013"/>
                </a:lnTo>
                <a:lnTo>
                  <a:pt x="247650" y="61913"/>
                </a:lnTo>
                <a:lnTo>
                  <a:pt x="285750" y="61913"/>
                </a:lnTo>
                <a:lnTo>
                  <a:pt x="285750" y="100013"/>
                </a:lnTo>
                <a:close/>
                <a:moveTo>
                  <a:pt x="247650" y="433388"/>
                </a:moveTo>
                <a:lnTo>
                  <a:pt x="285750" y="433388"/>
                </a:lnTo>
                <a:lnTo>
                  <a:pt x="285750" y="471488"/>
                </a:lnTo>
                <a:lnTo>
                  <a:pt x="247650" y="471488"/>
                </a:lnTo>
                <a:lnTo>
                  <a:pt x="247650" y="433388"/>
                </a:lnTo>
                <a:close/>
                <a:moveTo>
                  <a:pt x="61913" y="247650"/>
                </a:moveTo>
                <a:lnTo>
                  <a:pt x="100013" y="247650"/>
                </a:lnTo>
                <a:lnTo>
                  <a:pt x="100013" y="285750"/>
                </a:lnTo>
                <a:lnTo>
                  <a:pt x="61913" y="285750"/>
                </a:lnTo>
                <a:lnTo>
                  <a:pt x="61913" y="247650"/>
                </a:lnTo>
                <a:close/>
                <a:moveTo>
                  <a:pt x="471488" y="247650"/>
                </a:moveTo>
                <a:lnTo>
                  <a:pt x="471488" y="285750"/>
                </a:lnTo>
                <a:lnTo>
                  <a:pt x="433388" y="285750"/>
                </a:lnTo>
                <a:lnTo>
                  <a:pt x="433388" y="247650"/>
                </a:lnTo>
                <a:lnTo>
                  <a:pt x="471488" y="247650"/>
                </a:lnTo>
                <a:close/>
                <a:moveTo>
                  <a:pt x="138113" y="390525"/>
                </a:moveTo>
                <a:lnTo>
                  <a:pt x="319088" y="314325"/>
                </a:lnTo>
                <a:lnTo>
                  <a:pt x="395288" y="133350"/>
                </a:lnTo>
                <a:lnTo>
                  <a:pt x="214313" y="209550"/>
                </a:lnTo>
                <a:lnTo>
                  <a:pt x="138113" y="390525"/>
                </a:lnTo>
                <a:close/>
                <a:moveTo>
                  <a:pt x="323879" y="204759"/>
                </a:moveTo>
                <a:lnTo>
                  <a:pt x="289989" y="285236"/>
                </a:lnTo>
                <a:lnTo>
                  <a:pt x="209512" y="319126"/>
                </a:lnTo>
                <a:lnTo>
                  <a:pt x="243402" y="238649"/>
                </a:lnTo>
                <a:lnTo>
                  <a:pt x="323879" y="204759"/>
                </a:lnTo>
                <a:close/>
              </a:path>
            </a:pathLst>
          </a:custGeom>
          <a:solidFill>
            <a:srgbClr val="FF540A"/>
          </a:solidFill>
          <a:ln w="9525" cap="flat">
            <a:noFill/>
            <a:prstDash val="solid"/>
            <a:miter/>
          </a:ln>
        </p:spPr>
        <p:txBody>
          <a:bodyPr rtlCol="0" anchor="ctr"/>
          <a:lstStyle/>
          <a:p>
            <a:endParaRPr lang="en-US" sz="1013" dirty="0"/>
          </a:p>
        </p:txBody>
      </p:sp>
    </p:spTree>
    <p:extLst>
      <p:ext uri="{BB962C8B-B14F-4D97-AF65-F5344CB8AC3E}">
        <p14:creationId xmlns:p14="http://schemas.microsoft.com/office/powerpoint/2010/main" val="2332667024"/>
      </p:ext>
    </p:extLst>
  </p:cSld>
  <p:clrMapOvr>
    <a:masterClrMapping/>
  </p:clrMapOvr>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userDrawn="1">
  <p:cSld name="1_SummitCode_Title Slide">
    <p:bg>
      <p:bgRef idx="1001">
        <a:schemeClr val="bg2"/>
      </p:bgRef>
    </p:bg>
    <p:spTree>
      <p:nvGrpSpPr>
        <p:cNvPr id="1" name=""/>
        <p:cNvGrpSpPr/>
        <p:nvPr/>
      </p:nvGrpSpPr>
      <p:grpSpPr>
        <a:xfrm>
          <a:off x="0" y="0"/>
          <a:ext cx="0" cy="0"/>
          <a:chOff x="0" y="0"/>
          <a:chExt cx="0" cy="0"/>
        </a:xfrm>
      </p:grpSpPr>
      <p:pic>
        <p:nvPicPr>
          <p:cNvPr id="27" name="Gartner Logo"/>
          <p:cNvPicPr>
            <a:picLocks noChangeAspect="1"/>
          </p:cNvPicPr>
          <p:nvPr userDrawn="1"/>
        </p:nvPicPr>
        <p:blipFill>
          <a:blip r:embed="rId2"/>
          <a:srcRect/>
          <a:stretch/>
        </p:blipFill>
        <p:spPr bwMode="black">
          <a:xfrm>
            <a:off x="7266194" y="4481653"/>
            <a:ext cx="1539912" cy="351613"/>
          </a:xfrm>
          <a:prstGeom prst="rect">
            <a:avLst/>
          </a:prstGeom>
        </p:spPr>
      </p:pic>
      <p:sp>
        <p:nvSpPr>
          <p:cNvPr id="20" name="Text - Presenter Name"/>
          <p:cNvSpPr>
            <a:spLocks noGrp="1" noChangeArrowheads="1"/>
          </p:cNvSpPr>
          <p:nvPr>
            <p:ph type="subTitle" idx="1" hasCustomPrompt="1"/>
          </p:nvPr>
        </p:nvSpPr>
        <p:spPr bwMode="black">
          <a:xfrm>
            <a:off x="740597" y="3140660"/>
            <a:ext cx="5474465" cy="207749"/>
          </a:xfrm>
          <a:prstGeom prst="rect">
            <a:avLst/>
          </a:prstGeom>
          <a:ln/>
        </p:spPr>
        <p:txBody>
          <a:bodyPr wrap="square" rIns="0" bIns="0" anchor="t" anchorCtr="0">
            <a:noAutofit/>
          </a:bodyPr>
          <a:lstStyle>
            <a:lvl1pPr marL="0" indent="0" algn="l">
              <a:lnSpc>
                <a:spcPct val="100000"/>
              </a:lnSpc>
              <a:spcBef>
                <a:spcPts val="0"/>
              </a:spcBef>
              <a:spcAft>
                <a:spcPts val="0"/>
              </a:spcAft>
              <a:buFont typeface="Arial" panose="020B0604020202020204" pitchFamily="34" charset="0"/>
              <a:buNone/>
              <a:defRPr sz="1350">
                <a:solidFill>
                  <a:srgbClr val="FFFFFF"/>
                </a:solidFill>
                <a:latin typeface="+mn-lt"/>
              </a:defRPr>
            </a:lvl1pPr>
          </a:lstStyle>
          <a:p>
            <a:pPr lvl="0"/>
            <a:r>
              <a:rPr lang="en-US"/>
              <a:t>Click to add Presenter Name</a:t>
            </a:r>
          </a:p>
        </p:txBody>
      </p:sp>
      <p:sp>
        <p:nvSpPr>
          <p:cNvPr id="19" name="Text - Presentation Title"/>
          <p:cNvSpPr>
            <a:spLocks noGrp="1" noChangeArrowheads="1"/>
          </p:cNvSpPr>
          <p:nvPr>
            <p:ph type="ctrTitle" hasCustomPrompt="1"/>
          </p:nvPr>
        </p:nvSpPr>
        <p:spPr bwMode="black">
          <a:xfrm>
            <a:off x="740598" y="1553061"/>
            <a:ext cx="5474465" cy="1495794"/>
          </a:xfrm>
          <a:ln>
            <a:noFill/>
          </a:ln>
        </p:spPr>
        <p:txBody>
          <a:bodyPr wrap="square" tIns="0" bIns="0" anchor="ctr" anchorCtr="0">
            <a:noAutofit/>
          </a:bodyPr>
          <a:lstStyle>
            <a:lvl1pPr>
              <a:lnSpc>
                <a:spcPct val="90000"/>
              </a:lnSpc>
              <a:spcBef>
                <a:spcPts val="750"/>
              </a:spcBef>
              <a:spcAft>
                <a:spcPts val="225"/>
              </a:spcAft>
              <a:defRPr sz="2700" b="0" baseline="0">
                <a:solidFill>
                  <a:srgbClr val="FFFFFF"/>
                </a:solidFill>
                <a:latin typeface="Arial Black" panose="020B0A04020102020204" pitchFamily="34" charset="0"/>
                <a:cs typeface="Arial"/>
              </a:defRPr>
            </a:lvl1pPr>
          </a:lstStyle>
          <a:p>
            <a:r>
              <a:rPr lang="en-US"/>
              <a:t>Click to Edit Title; Maximum of Four Lines; Reduce Font to Fit Focus Frame If Needed</a:t>
            </a:r>
          </a:p>
        </p:txBody>
      </p:sp>
      <p:sp>
        <p:nvSpPr>
          <p:cNvPr id="31" name="Text - Summit Name"/>
          <p:cNvSpPr>
            <a:spLocks noGrp="1"/>
          </p:cNvSpPr>
          <p:nvPr>
            <p:ph type="body" sz="quarter" idx="10" hasCustomPrompt="1"/>
          </p:nvPr>
        </p:nvSpPr>
        <p:spPr bwMode="black">
          <a:xfrm>
            <a:off x="345192" y="261241"/>
            <a:ext cx="6879653" cy="207749"/>
          </a:xfrm>
        </p:spPr>
        <p:txBody>
          <a:bodyPr wrap="none" rIns="0" anchor="t" anchorCtr="0">
            <a:noAutofit/>
          </a:bodyPr>
          <a:lstStyle>
            <a:lvl1pPr marL="0" indent="0">
              <a:lnSpc>
                <a:spcPct val="90000"/>
              </a:lnSpc>
              <a:spcBef>
                <a:spcPts val="0"/>
              </a:spcBef>
              <a:spcAft>
                <a:spcPts val="0"/>
              </a:spcAft>
              <a:buFontTx/>
              <a:buNone/>
              <a:defRPr sz="1500" b="1">
                <a:solidFill>
                  <a:srgbClr val="FFFFFF"/>
                </a:solidFill>
                <a:latin typeface="+mn-lt"/>
                <a:cs typeface="Arial" panose="020B0604020202020204" pitchFamily="34" charset="0"/>
              </a:defRPr>
            </a:lvl1pPr>
            <a:lvl2pPr marL="0" indent="0">
              <a:lnSpc>
                <a:spcPct val="90000"/>
              </a:lnSpc>
              <a:spcBef>
                <a:spcPts val="450"/>
              </a:spcBef>
              <a:spcAft>
                <a:spcPts val="0"/>
              </a:spcAft>
              <a:buFontTx/>
              <a:buNone/>
              <a:defRPr sz="900" b="1" baseline="0">
                <a:solidFill>
                  <a:schemeClr val="tx1"/>
                </a:solidFill>
                <a:latin typeface="Arial" panose="020B0604020202020204" pitchFamily="34" charset="0"/>
                <a:cs typeface="Arial" panose="020B0604020202020204" pitchFamily="34" charset="0"/>
              </a:defRPr>
            </a:lvl2pPr>
            <a:lvl3pPr marL="548640" indent="0">
              <a:buFontTx/>
              <a:buNone/>
              <a:defRPr/>
            </a:lvl3pPr>
            <a:lvl4pPr marL="822960" indent="0">
              <a:buFontTx/>
              <a:buNone/>
              <a:defRPr/>
            </a:lvl4pPr>
            <a:lvl5pPr marL="1097280" indent="0">
              <a:buFontTx/>
              <a:buNone/>
              <a:defRPr/>
            </a:lvl5pPr>
          </a:lstStyle>
          <a:p>
            <a:r>
              <a:rPr lang="en-US"/>
              <a:t>Gartner [Insert Event Name] Summit</a:t>
            </a:r>
          </a:p>
        </p:txBody>
      </p:sp>
      <p:sp>
        <p:nvSpPr>
          <p:cNvPr id="25" name="Text - Summit Date"/>
          <p:cNvSpPr>
            <a:spLocks noGrp="1"/>
          </p:cNvSpPr>
          <p:nvPr>
            <p:ph type="body" sz="quarter" idx="11" hasCustomPrompt="1"/>
          </p:nvPr>
        </p:nvSpPr>
        <p:spPr bwMode="gray">
          <a:xfrm>
            <a:off x="345192" y="514929"/>
            <a:ext cx="6879653" cy="124649"/>
          </a:xfrm>
        </p:spPr>
        <p:txBody>
          <a:bodyPr wrap="square" rIns="0" anchor="t" anchorCtr="0">
            <a:noAutofit/>
          </a:bodyPr>
          <a:lstStyle>
            <a:lvl1pPr marL="0" indent="0">
              <a:lnSpc>
                <a:spcPct val="90000"/>
              </a:lnSpc>
              <a:spcBef>
                <a:spcPts val="0"/>
              </a:spcBef>
              <a:spcAft>
                <a:spcPts val="0"/>
              </a:spcAft>
              <a:buFontTx/>
              <a:buNone/>
              <a:defRPr sz="900" b="1">
                <a:solidFill>
                  <a:srgbClr val="BDBDBD"/>
                </a:solidFill>
                <a:latin typeface="+mj-lt"/>
                <a:cs typeface="Arial" panose="020B0604020202020204" pitchFamily="34" charset="0"/>
              </a:defRPr>
            </a:lvl1pPr>
            <a:lvl2pPr marL="0" indent="0">
              <a:lnSpc>
                <a:spcPct val="90000"/>
              </a:lnSpc>
              <a:spcBef>
                <a:spcPts val="450"/>
              </a:spcBef>
              <a:spcAft>
                <a:spcPts val="0"/>
              </a:spcAft>
              <a:buFontTx/>
              <a:buNone/>
              <a:defRPr sz="900" b="1" baseline="0">
                <a:solidFill>
                  <a:srgbClr val="B2B2B2"/>
                </a:solidFill>
                <a:latin typeface="Arial" panose="020B0604020202020204" pitchFamily="34" charset="0"/>
                <a:cs typeface="Arial" panose="020B0604020202020204" pitchFamily="34" charset="0"/>
              </a:defRPr>
            </a:lvl2pPr>
            <a:lvl3pPr marL="548640" indent="0">
              <a:buFontTx/>
              <a:buNone/>
              <a:defRPr/>
            </a:lvl3pPr>
            <a:lvl4pPr marL="822960" indent="0">
              <a:buFontTx/>
              <a:buNone/>
              <a:defRPr/>
            </a:lvl4pPr>
            <a:lvl5pPr marL="1097280" indent="0">
              <a:buFontTx/>
              <a:buNone/>
              <a:defRPr/>
            </a:lvl5pPr>
          </a:lstStyle>
          <a:p>
            <a:r>
              <a:rPr lang="en-US"/>
              <a:t>1 – 2 Month 2019 / City, State or Country</a:t>
            </a:r>
          </a:p>
        </p:txBody>
      </p:sp>
      <p:sp>
        <p:nvSpPr>
          <p:cNvPr id="32" name="Focus Frame 2"/>
          <p:cNvSpPr>
            <a:spLocks noChangeAspect="1"/>
          </p:cNvSpPr>
          <p:nvPr userDrawn="1"/>
        </p:nvSpPr>
        <p:spPr bwMode="auto">
          <a:xfrm>
            <a:off x="6401667" y="1215020"/>
            <a:ext cx="120325" cy="2468880"/>
          </a:xfrm>
          <a:prstGeom prst="rect">
            <a:avLst/>
          </a:prstGeom>
          <a:solidFill>
            <a:schemeClr val="accent5"/>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350" dirty="0">
              <a:solidFill>
                <a:srgbClr val="000000"/>
              </a:solidFill>
              <a:ea typeface="+mn-ea"/>
              <a:cs typeface="+mn-cs"/>
            </a:endParaRPr>
          </a:p>
        </p:txBody>
      </p:sp>
      <p:sp>
        <p:nvSpPr>
          <p:cNvPr id="33" name="Focus Frame 2"/>
          <p:cNvSpPr>
            <a:spLocks noChangeAspect="1"/>
          </p:cNvSpPr>
          <p:nvPr userDrawn="1"/>
        </p:nvSpPr>
        <p:spPr bwMode="auto">
          <a:xfrm>
            <a:off x="345192" y="1215020"/>
            <a:ext cx="120325" cy="2468880"/>
          </a:xfrm>
          <a:prstGeom prst="rect">
            <a:avLst/>
          </a:prstGeom>
          <a:solidFill>
            <a:schemeClr val="accent5"/>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350" dirty="0">
              <a:solidFill>
                <a:srgbClr val="000000"/>
              </a:solidFill>
              <a:ea typeface="+mn-ea"/>
              <a:cs typeface="+mn-cs"/>
            </a:endParaRPr>
          </a:p>
        </p:txBody>
      </p:sp>
      <p:sp>
        <p:nvSpPr>
          <p:cNvPr id="10" name="Copyright Text">
            <a:extLst>
              <a:ext uri="{FF2B5EF4-FFF2-40B4-BE49-F238E27FC236}">
                <a16:creationId xmlns:a16="http://schemas.microsoft.com/office/drawing/2014/main" id="{CC1E8655-A643-4A64-93CB-E45163C0F10D}"/>
              </a:ext>
            </a:extLst>
          </p:cNvPr>
          <p:cNvSpPr txBox="1"/>
          <p:nvPr userDrawn="1"/>
        </p:nvSpPr>
        <p:spPr bwMode="gray">
          <a:xfrm>
            <a:off x="345192" y="4365287"/>
            <a:ext cx="5816559" cy="484748"/>
          </a:xfrm>
          <a:prstGeom prst="rect">
            <a:avLst/>
          </a:prstGeom>
          <a:noFill/>
        </p:spPr>
        <p:txBody>
          <a:bodyPr wrap="square" lIns="0" tIns="0" rIns="0" bIns="0" anchor="b" anchorCtr="0">
            <a:spAutoFit/>
          </a:bodyPr>
          <a:lstStyle>
            <a:defPPr>
              <a:defRPr lang="en-US"/>
            </a:defPPr>
            <a:lvl1pPr fontAlgn="auto">
              <a:lnSpc>
                <a:spcPct val="100000"/>
              </a:lnSpc>
              <a:spcBef>
                <a:spcPts val="0"/>
              </a:spcBef>
              <a:spcAft>
                <a:spcPts val="0"/>
              </a:spcAft>
              <a:defRPr sz="700">
                <a:solidFill>
                  <a:srgbClr val="D3D3D3"/>
                </a:solidFill>
              </a:defRPr>
            </a:lvl1pPr>
          </a:lstStyle>
          <a:p>
            <a:pPr lvl="0"/>
            <a:r>
              <a:rPr lang="en-US" sz="525" dirty="0">
                <a:solidFill>
                  <a:srgbClr val="BDBDBD"/>
                </a:solidFill>
              </a:rPr>
              <a:t>© 2024 Gartner, Inc. and/or its affiliates. All rights reserved. Gartner is a registered trademark of Gartner, Inc. and its affiliates. This publication may not be reproduced or distributed in any form without Gartner's prior written permission. It consists of the opinions of Gartner's research organization, which should not be construed as statements of fact. While the information contained in this publication has been obtained from sources believed to be reliable, Gartner disclaims all warranties as to the accuracy, completeness or adequacy of such information. Although Gartner research may address legal and financial issues, Gartner does not provide legal or investment advice and its research should not be construed or used as such. Your access and use of this publication are governed by </a:t>
            </a:r>
            <a:r>
              <a:rPr lang="en-US" sz="525" dirty="0">
                <a:solidFill>
                  <a:srgbClr val="BDBDBD"/>
                </a:solidFill>
                <a:hlinkClick r:id="rId3">
                  <a:extLst>
                    <a:ext uri="{A12FA001-AC4F-418D-AE19-62706E023703}">
                      <ahyp:hlinkClr xmlns:ahyp="http://schemas.microsoft.com/office/drawing/2018/hyperlinkcolor" val="tx"/>
                    </a:ext>
                  </a:extLst>
                </a:hlinkClick>
              </a:rPr>
              <a:t>Gartner’s Usage Policy</a:t>
            </a:r>
            <a:r>
              <a:rPr lang="en-US" sz="525" dirty="0">
                <a:solidFill>
                  <a:srgbClr val="BDBDBD"/>
                </a:solidFill>
              </a:rPr>
              <a:t>. Gartner prides itself on its reputation for independence and objectivity. Its research is produced independently by its research organization without input or influence from any third party. For further information, see "</a:t>
            </a:r>
            <a:r>
              <a:rPr lang="en-US" sz="525" dirty="0">
                <a:solidFill>
                  <a:srgbClr val="BDBDBD"/>
                </a:solidFill>
                <a:hlinkClick r:id="rId4">
                  <a:extLst>
                    <a:ext uri="{A12FA001-AC4F-418D-AE19-62706E023703}">
                      <ahyp:hlinkClr xmlns:ahyp="http://schemas.microsoft.com/office/drawing/2018/hyperlinkcolor" val="tx"/>
                    </a:ext>
                  </a:extLst>
                </a:hlinkClick>
              </a:rPr>
              <a:t>Guiding Principles on Independence and Objectivity</a:t>
            </a:r>
            <a:r>
              <a:rPr lang="en-US" sz="525" dirty="0">
                <a:solidFill>
                  <a:srgbClr val="BDBDBD"/>
                </a:solidFill>
              </a:rPr>
              <a:t>."</a:t>
            </a:r>
          </a:p>
        </p:txBody>
      </p:sp>
    </p:spTree>
    <p:extLst>
      <p:ext uri="{BB962C8B-B14F-4D97-AF65-F5344CB8AC3E}">
        <p14:creationId xmlns:p14="http://schemas.microsoft.com/office/powerpoint/2010/main" val="149359407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Recommended Research">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342900" y="1218340"/>
            <a:ext cx="8457010" cy="3345655"/>
          </a:xfrm>
        </p:spPr>
        <p:txBody>
          <a:bodyPr/>
          <a:lstStyle>
            <a:lvl1pPr marL="342900" indent="-342900">
              <a:buClr>
                <a:schemeClr val="tx2"/>
              </a:buClr>
              <a:buSzPct val="130000"/>
              <a:buFontTx/>
              <a:buBlip>
                <a:blip r:embed="rId2">
                  <a:extLst>
                    <a:ext uri="{96DAC541-7B7A-43D3-8B79-37D633B846F1}">
                      <asvg:svgBlip xmlns:asvg="http://schemas.microsoft.com/office/drawing/2016/SVG/main" r:embed="rId3"/>
                    </a:ext>
                  </a:extLst>
                </a:blip>
              </a:buBlip>
              <a:defRPr/>
            </a:lvl1pPr>
            <a:lvl2pPr marL="713232">
              <a:buClrTx/>
              <a:defRPr/>
            </a:lvl2pPr>
            <a:lvl3pPr marL="1042416">
              <a:buClrTx/>
              <a:defRPr/>
            </a:lvl3pPr>
            <a:lvl4pPr marL="1412748">
              <a:buClrTx/>
              <a:defRPr/>
            </a:lvl4pPr>
            <a:lvl5pPr marL="1741932">
              <a:buClrTx/>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Box 91"/>
          <p:cNvSpPr txBox="1">
            <a:spLocks noChangeAspect="1" noChangeArrowheads="1"/>
          </p:cNvSpPr>
          <p:nvPr userDrawn="1"/>
        </p:nvSpPr>
        <p:spPr bwMode="gray">
          <a:xfrm>
            <a:off x="342900" y="4672549"/>
            <a:ext cx="4672255" cy="92333"/>
          </a:xfrm>
          <a:prstGeom prst="rect">
            <a:avLst/>
          </a:prstGeom>
          <a:noFill/>
        </p:spPr>
        <p:txBody>
          <a:bodyPr wrap="square" lIns="0" tIns="0" rIns="0" bIns="0" rtlCol="0" anchor="b" anchorCtr="0">
            <a:spAutoFit/>
          </a:bodyPr>
          <a:lstStyle>
            <a:defPPr>
              <a:defRPr lang="en-US"/>
            </a:defPPr>
            <a:lvl1pPr>
              <a:defRPr sz="800">
                <a:solidFill>
                  <a:schemeClr val="accent2">
                    <a:lumMod val="75000"/>
                  </a:schemeClr>
                </a:solidFill>
              </a:defRPr>
            </a:lvl1pPr>
          </a:lstStyle>
          <a:p>
            <a:pPr lvl="0"/>
            <a:r>
              <a:rPr lang="en-US" sz="600" dirty="0">
                <a:solidFill>
                  <a:schemeClr val="tx1"/>
                </a:solidFill>
              </a:rPr>
              <a:t>Access to Gartner research is subject to individual subscription type and product entitlements.</a:t>
            </a:r>
          </a:p>
        </p:txBody>
      </p:sp>
      <p:sp>
        <p:nvSpPr>
          <p:cNvPr id="3" name="Text Box 91">
            <a:extLst>
              <a:ext uri="{FF2B5EF4-FFF2-40B4-BE49-F238E27FC236}">
                <a16:creationId xmlns:a16="http://schemas.microsoft.com/office/drawing/2014/main" id="{C77B3204-4CB1-4189-3ED6-B68AF013326C}"/>
              </a:ext>
            </a:extLst>
          </p:cNvPr>
          <p:cNvSpPr txBox="1">
            <a:spLocks noChangeAspect="1" noChangeArrowheads="1"/>
          </p:cNvSpPr>
          <p:nvPr userDrawn="1"/>
        </p:nvSpPr>
        <p:spPr bwMode="gray">
          <a:xfrm>
            <a:off x="342900" y="636481"/>
            <a:ext cx="8457009" cy="415498"/>
          </a:xfrm>
          <a:prstGeom prst="rect">
            <a:avLst/>
          </a:prstGeom>
          <a:noFill/>
        </p:spPr>
        <p:txBody>
          <a:bodyPr wrap="square" lIns="0" tIns="0" rIns="0" bIns="0" rtlCol="0" anchor="t" anchorCtr="0">
            <a:spAutoFit/>
          </a:bodyPr>
          <a:lstStyle>
            <a:defPPr>
              <a:defRPr lang="en-US"/>
            </a:defPPr>
            <a:lvl1pPr lvl="0">
              <a:defRPr sz="1400" b="0"/>
            </a:lvl1pPr>
          </a:lstStyle>
          <a:p>
            <a:r>
              <a:rPr lang="en-US" sz="1350" dirty="0"/>
              <a:t>To learn more about access to Gartner research, expert analyst insight, and peer communities, contact your Gartner representative or click on “Become A Client” on </a:t>
            </a:r>
            <a:r>
              <a:rPr lang="en-US" sz="1350" dirty="0">
                <a:hlinkClick r:id="rId4"/>
              </a:rPr>
              <a:t>gartner.com</a:t>
            </a:r>
            <a:r>
              <a:rPr lang="en-US" sz="1350" dirty="0"/>
              <a:t> to speak with one of our specialists.</a:t>
            </a:r>
          </a:p>
        </p:txBody>
      </p:sp>
    </p:spTree>
    <p:extLst>
      <p:ext uri="{BB962C8B-B14F-4D97-AF65-F5344CB8AC3E}">
        <p14:creationId xmlns:p14="http://schemas.microsoft.com/office/powerpoint/2010/main" val="82015118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 Generic Image Start">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29B8958B-10DA-F24F-A2EC-49711C241895}"/>
              </a:ext>
            </a:extLst>
          </p:cNvPr>
          <p:cNvSpPr/>
          <p:nvPr userDrawn="1"/>
        </p:nvSpPr>
        <p:spPr>
          <a:xfrm>
            <a:off x="6520874" y="2499520"/>
            <a:ext cx="1003877" cy="493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28" name="Rektangel 27">
            <a:extLst>
              <a:ext uri="{FF2B5EF4-FFF2-40B4-BE49-F238E27FC236}">
                <a16:creationId xmlns:a16="http://schemas.microsoft.com/office/drawing/2014/main" id="{44B06D9C-224E-0C44-86A7-A872605E97D8}"/>
              </a:ext>
            </a:extLst>
          </p:cNvPr>
          <p:cNvSpPr/>
          <p:nvPr userDrawn="1"/>
        </p:nvSpPr>
        <p:spPr>
          <a:xfrm>
            <a:off x="6520874" y="2007251"/>
            <a:ext cx="1003877" cy="4930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27" name="Background image">
            <a:extLst>
              <a:ext uri="{FF2B5EF4-FFF2-40B4-BE49-F238E27FC236}">
                <a16:creationId xmlns:a16="http://schemas.microsoft.com/office/drawing/2014/main" id="{0EE0B0DA-C9E9-6D44-AB2E-FAAB426DE761}"/>
              </a:ext>
            </a:extLst>
          </p:cNvPr>
          <p:cNvSpPr>
            <a:spLocks noGrp="1"/>
          </p:cNvSpPr>
          <p:nvPr>
            <p:ph type="pic" sz="quarter" idx="10" hasCustomPrompt="1"/>
          </p:nvPr>
        </p:nvSpPr>
        <p:spPr>
          <a:xfrm>
            <a:off x="179389" y="158751"/>
            <a:ext cx="8785322" cy="4681538"/>
          </a:xfrm>
          <a:custGeom>
            <a:avLst/>
            <a:gdLst>
              <a:gd name="connsiteX0" fmla="*/ 5051072 w 8785322"/>
              <a:gd name="connsiteY0" fmla="*/ 2241358 h 4681538"/>
              <a:gd name="connsiteX1" fmla="*/ 5051931 w 8785322"/>
              <a:gd name="connsiteY1" fmla="*/ 2241358 h 4681538"/>
              <a:gd name="connsiteX2" fmla="*/ 5121203 w 8785322"/>
              <a:gd name="connsiteY2" fmla="*/ 2413455 h 4681538"/>
              <a:gd name="connsiteX3" fmla="*/ 4982028 w 8785322"/>
              <a:gd name="connsiteY3" fmla="*/ 2413512 h 4681538"/>
              <a:gd name="connsiteX4" fmla="*/ 2251634 w 8785322"/>
              <a:gd name="connsiteY4" fmla="*/ 2241358 h 4681538"/>
              <a:gd name="connsiteX5" fmla="*/ 2252493 w 8785322"/>
              <a:gd name="connsiteY5" fmla="*/ 2241358 h 4681538"/>
              <a:gd name="connsiteX6" fmla="*/ 2321537 w 8785322"/>
              <a:gd name="connsiteY6" fmla="*/ 2413455 h 4681538"/>
              <a:gd name="connsiteX7" fmla="*/ 2182590 w 8785322"/>
              <a:gd name="connsiteY7" fmla="*/ 2413512 h 4681538"/>
              <a:gd name="connsiteX8" fmla="*/ 4986778 w 8785322"/>
              <a:gd name="connsiteY8" fmla="*/ 2102398 h 4681538"/>
              <a:gd name="connsiteX9" fmla="*/ 4776443 w 8785322"/>
              <a:gd name="connsiteY9" fmla="*/ 2606354 h 4681538"/>
              <a:gd name="connsiteX10" fmla="*/ 4904233 w 8785322"/>
              <a:gd name="connsiteY10" fmla="*/ 2606354 h 4681538"/>
              <a:gd name="connsiteX11" fmla="*/ 4940442 w 8785322"/>
              <a:gd name="connsiteY11" fmla="*/ 2516360 h 4681538"/>
              <a:gd name="connsiteX12" fmla="*/ 5162504 w 8785322"/>
              <a:gd name="connsiteY12" fmla="*/ 2516360 h 4681538"/>
              <a:gd name="connsiteX13" fmla="*/ 5198770 w 8785322"/>
              <a:gd name="connsiteY13" fmla="*/ 2606069 h 4681538"/>
              <a:gd name="connsiteX14" fmla="*/ 5326503 w 8785322"/>
              <a:gd name="connsiteY14" fmla="*/ 2606069 h 4681538"/>
              <a:gd name="connsiteX15" fmla="*/ 5116457 w 8785322"/>
              <a:gd name="connsiteY15" fmla="*/ 2102398 h 4681538"/>
              <a:gd name="connsiteX16" fmla="*/ 2187055 w 8785322"/>
              <a:gd name="connsiteY16" fmla="*/ 2102398 h 4681538"/>
              <a:gd name="connsiteX17" fmla="*/ 1976777 w 8785322"/>
              <a:gd name="connsiteY17" fmla="*/ 2606354 h 4681538"/>
              <a:gd name="connsiteX18" fmla="*/ 2104510 w 8785322"/>
              <a:gd name="connsiteY18" fmla="*/ 2606354 h 4681538"/>
              <a:gd name="connsiteX19" fmla="*/ 2140776 w 8785322"/>
              <a:gd name="connsiteY19" fmla="*/ 2516360 h 4681538"/>
              <a:gd name="connsiteX20" fmla="*/ 2362838 w 8785322"/>
              <a:gd name="connsiteY20" fmla="*/ 2516360 h 4681538"/>
              <a:gd name="connsiteX21" fmla="*/ 2399332 w 8785322"/>
              <a:gd name="connsiteY21" fmla="*/ 2606069 h 4681538"/>
              <a:gd name="connsiteX22" fmla="*/ 2527122 w 8785322"/>
              <a:gd name="connsiteY22" fmla="*/ 2606069 h 4681538"/>
              <a:gd name="connsiteX23" fmla="*/ 2316502 w 8785322"/>
              <a:gd name="connsiteY23" fmla="*/ 2102398 h 4681538"/>
              <a:gd name="connsiteX24" fmla="*/ 5791389 w 8785322"/>
              <a:gd name="connsiteY24" fmla="*/ 2102113 h 4681538"/>
              <a:gd name="connsiteX25" fmla="*/ 5791389 w 8785322"/>
              <a:gd name="connsiteY25" fmla="*/ 2606069 h 4681538"/>
              <a:gd name="connsiteX26" fmla="*/ 6156228 w 8785322"/>
              <a:gd name="connsiteY26" fmla="*/ 2606069 h 4681538"/>
              <a:gd name="connsiteX27" fmla="*/ 6156228 w 8785322"/>
              <a:gd name="connsiteY27" fmla="*/ 2494193 h 4681538"/>
              <a:gd name="connsiteX28" fmla="*/ 5923526 w 8785322"/>
              <a:gd name="connsiteY28" fmla="*/ 2494193 h 4681538"/>
              <a:gd name="connsiteX29" fmla="*/ 5923526 w 8785322"/>
              <a:gd name="connsiteY29" fmla="*/ 2102113 h 4681538"/>
              <a:gd name="connsiteX30" fmla="*/ 5369461 w 8785322"/>
              <a:gd name="connsiteY30" fmla="*/ 2102113 h 4681538"/>
              <a:gd name="connsiteX31" fmla="*/ 5369461 w 8785322"/>
              <a:gd name="connsiteY31" fmla="*/ 2606069 h 4681538"/>
              <a:gd name="connsiteX32" fmla="*/ 5734357 w 8785322"/>
              <a:gd name="connsiteY32" fmla="*/ 2606069 h 4681538"/>
              <a:gd name="connsiteX33" fmla="*/ 5734357 w 8785322"/>
              <a:gd name="connsiteY33" fmla="*/ 2494193 h 4681538"/>
              <a:gd name="connsiteX34" fmla="*/ 5501655 w 8785322"/>
              <a:gd name="connsiteY34" fmla="*/ 2494193 h 4681538"/>
              <a:gd name="connsiteX35" fmla="*/ 5501655 w 8785322"/>
              <a:gd name="connsiteY35" fmla="*/ 2102113 h 4681538"/>
              <a:gd name="connsiteX36" fmla="*/ 4435460 w 8785322"/>
              <a:gd name="connsiteY36" fmla="*/ 2102113 h 4681538"/>
              <a:gd name="connsiteX37" fmla="*/ 4435460 w 8785322"/>
              <a:gd name="connsiteY37" fmla="*/ 2606069 h 4681538"/>
              <a:gd name="connsiteX38" fmla="*/ 4567597 w 8785322"/>
              <a:gd name="connsiteY38" fmla="*/ 2606069 h 4681538"/>
              <a:gd name="connsiteX39" fmla="*/ 4567597 w 8785322"/>
              <a:gd name="connsiteY39" fmla="*/ 2402086 h 4681538"/>
              <a:gd name="connsiteX40" fmla="*/ 4780907 w 8785322"/>
              <a:gd name="connsiteY40" fmla="*/ 2402086 h 4681538"/>
              <a:gd name="connsiteX41" fmla="*/ 4780907 w 8785322"/>
              <a:gd name="connsiteY41" fmla="*/ 2294097 h 4681538"/>
              <a:gd name="connsiteX42" fmla="*/ 4567597 w 8785322"/>
              <a:gd name="connsiteY42" fmla="*/ 2294097 h 4681538"/>
              <a:gd name="connsiteX43" fmla="*/ 4567597 w 8785322"/>
              <a:gd name="connsiteY43" fmla="*/ 2210102 h 4681538"/>
              <a:gd name="connsiteX44" fmla="*/ 4820548 w 8785322"/>
              <a:gd name="connsiteY44" fmla="*/ 2210102 h 4681538"/>
              <a:gd name="connsiteX45" fmla="*/ 4820548 w 8785322"/>
              <a:gd name="connsiteY45" fmla="*/ 2102113 h 4681538"/>
              <a:gd name="connsiteX46" fmla="*/ 3857771 w 8785322"/>
              <a:gd name="connsiteY46" fmla="*/ 2102113 h 4681538"/>
              <a:gd name="connsiteX47" fmla="*/ 3857771 w 8785322"/>
              <a:gd name="connsiteY47" fmla="*/ 2606069 h 4681538"/>
              <a:gd name="connsiteX48" fmla="*/ 3983961 w 8785322"/>
              <a:gd name="connsiteY48" fmla="*/ 2606069 h 4681538"/>
              <a:gd name="connsiteX49" fmla="*/ 3983961 w 8785322"/>
              <a:gd name="connsiteY49" fmla="*/ 2308151 h 4681538"/>
              <a:gd name="connsiteX50" fmla="*/ 4208766 w 8785322"/>
              <a:gd name="connsiteY50" fmla="*/ 2606069 h 4681538"/>
              <a:gd name="connsiteX51" fmla="*/ 4334953 w 8785322"/>
              <a:gd name="connsiteY51" fmla="*/ 2606069 h 4681538"/>
              <a:gd name="connsiteX52" fmla="*/ 4334953 w 8785322"/>
              <a:gd name="connsiteY52" fmla="*/ 2102113 h 4681538"/>
              <a:gd name="connsiteX53" fmla="*/ 4208766 w 8785322"/>
              <a:gd name="connsiteY53" fmla="*/ 2102113 h 4681538"/>
              <a:gd name="connsiteX54" fmla="*/ 4208766 w 8785322"/>
              <a:gd name="connsiteY54" fmla="*/ 2403686 h 4681538"/>
              <a:gd name="connsiteX55" fmla="*/ 3983961 w 8785322"/>
              <a:gd name="connsiteY55" fmla="*/ 2102113 h 4681538"/>
              <a:gd name="connsiteX56" fmla="*/ 3393284 w 8785322"/>
              <a:gd name="connsiteY56" fmla="*/ 2102113 h 4681538"/>
              <a:gd name="connsiteX57" fmla="*/ 3393284 w 8785322"/>
              <a:gd name="connsiteY57" fmla="*/ 2606069 h 4681538"/>
              <a:gd name="connsiteX58" fmla="*/ 3525421 w 8785322"/>
              <a:gd name="connsiteY58" fmla="*/ 2606069 h 4681538"/>
              <a:gd name="connsiteX59" fmla="*/ 3766361 w 8785322"/>
              <a:gd name="connsiteY59" fmla="*/ 2606069 h 4681538"/>
              <a:gd name="connsiteX60" fmla="*/ 3766361 w 8785322"/>
              <a:gd name="connsiteY60" fmla="*/ 2498080 h 4681538"/>
              <a:gd name="connsiteX61" fmla="*/ 3525421 w 8785322"/>
              <a:gd name="connsiteY61" fmla="*/ 2498080 h 4681538"/>
              <a:gd name="connsiteX62" fmla="*/ 3525421 w 8785322"/>
              <a:gd name="connsiteY62" fmla="*/ 2398887 h 4681538"/>
              <a:gd name="connsiteX63" fmla="*/ 3729635 w 8785322"/>
              <a:gd name="connsiteY63" fmla="*/ 2398887 h 4681538"/>
              <a:gd name="connsiteX64" fmla="*/ 3729635 w 8785322"/>
              <a:gd name="connsiteY64" fmla="*/ 2290897 h 4681538"/>
              <a:gd name="connsiteX65" fmla="*/ 3525421 w 8785322"/>
              <a:gd name="connsiteY65" fmla="*/ 2290897 h 4681538"/>
              <a:gd name="connsiteX66" fmla="*/ 3525421 w 8785322"/>
              <a:gd name="connsiteY66" fmla="*/ 2210102 h 4681538"/>
              <a:gd name="connsiteX67" fmla="*/ 3766361 w 8785322"/>
              <a:gd name="connsiteY67" fmla="*/ 2210102 h 4681538"/>
              <a:gd name="connsiteX68" fmla="*/ 3766361 w 8785322"/>
              <a:gd name="connsiteY68" fmla="*/ 2102113 h 4681538"/>
              <a:gd name="connsiteX69" fmla="*/ 2918731 w 8785322"/>
              <a:gd name="connsiteY69" fmla="*/ 2102113 h 4681538"/>
              <a:gd name="connsiteX70" fmla="*/ 2918731 w 8785322"/>
              <a:gd name="connsiteY70" fmla="*/ 2210102 h 4681538"/>
              <a:gd name="connsiteX71" fmla="*/ 3050868 w 8785322"/>
              <a:gd name="connsiteY71" fmla="*/ 2210102 h 4681538"/>
              <a:gd name="connsiteX72" fmla="*/ 3050868 w 8785322"/>
              <a:gd name="connsiteY72" fmla="*/ 2606069 h 4681538"/>
              <a:gd name="connsiteX73" fmla="*/ 3183006 w 8785322"/>
              <a:gd name="connsiteY73" fmla="*/ 2606069 h 4681538"/>
              <a:gd name="connsiteX74" fmla="*/ 3183006 w 8785322"/>
              <a:gd name="connsiteY74" fmla="*/ 2210102 h 4681538"/>
              <a:gd name="connsiteX75" fmla="*/ 3329218 w 8785322"/>
              <a:gd name="connsiteY75" fmla="*/ 2210102 h 4681538"/>
              <a:gd name="connsiteX76" fmla="*/ 3329218 w 8785322"/>
              <a:gd name="connsiteY76" fmla="*/ 2102113 h 4681538"/>
              <a:gd name="connsiteX77" fmla="*/ 2462254 w 8785322"/>
              <a:gd name="connsiteY77" fmla="*/ 2102113 h 4681538"/>
              <a:gd name="connsiteX78" fmla="*/ 2462254 w 8785322"/>
              <a:gd name="connsiteY78" fmla="*/ 2210102 h 4681538"/>
              <a:gd name="connsiteX79" fmla="*/ 2608405 w 8785322"/>
              <a:gd name="connsiteY79" fmla="*/ 2210102 h 4681538"/>
              <a:gd name="connsiteX80" fmla="*/ 2608405 w 8785322"/>
              <a:gd name="connsiteY80" fmla="*/ 2606069 h 4681538"/>
              <a:gd name="connsiteX81" fmla="*/ 2740547 w 8785322"/>
              <a:gd name="connsiteY81" fmla="*/ 2606069 h 4681538"/>
              <a:gd name="connsiteX82" fmla="*/ 2740547 w 8785322"/>
              <a:gd name="connsiteY82" fmla="*/ 2210102 h 4681538"/>
              <a:gd name="connsiteX83" fmla="*/ 2872684 w 8785322"/>
              <a:gd name="connsiteY83" fmla="*/ 2210102 h 4681538"/>
              <a:gd name="connsiteX84" fmla="*/ 2872684 w 8785322"/>
              <a:gd name="connsiteY84" fmla="*/ 2102113 h 4681538"/>
              <a:gd name="connsiteX85" fmla="*/ 1517899 w 8785322"/>
              <a:gd name="connsiteY85" fmla="*/ 2102113 h 4681538"/>
              <a:gd name="connsiteX86" fmla="*/ 1724857 w 8785322"/>
              <a:gd name="connsiteY86" fmla="*/ 2606069 h 4681538"/>
              <a:gd name="connsiteX87" fmla="*/ 1854995 w 8785322"/>
              <a:gd name="connsiteY87" fmla="*/ 2606069 h 4681538"/>
              <a:gd name="connsiteX88" fmla="*/ 2061952 w 8785322"/>
              <a:gd name="connsiteY88" fmla="*/ 2102113 h 4681538"/>
              <a:gd name="connsiteX89" fmla="*/ 1934219 w 8785322"/>
              <a:gd name="connsiteY89" fmla="*/ 2102113 h 4681538"/>
              <a:gd name="connsiteX90" fmla="*/ 1790469 w 8785322"/>
              <a:gd name="connsiteY90" fmla="*/ 2456425 h 4681538"/>
              <a:gd name="connsiteX91" fmla="*/ 1789382 w 8785322"/>
              <a:gd name="connsiteY91" fmla="*/ 2456425 h 4681538"/>
              <a:gd name="connsiteX92" fmla="*/ 1645690 w 8785322"/>
              <a:gd name="connsiteY92" fmla="*/ 2102113 h 4681538"/>
              <a:gd name="connsiteX93" fmla="*/ 6850605 w 8785322"/>
              <a:gd name="connsiteY93" fmla="*/ 1899225 h 4681538"/>
              <a:gd name="connsiteX94" fmla="*/ 6417469 w 8785322"/>
              <a:gd name="connsiteY94" fmla="*/ 2251840 h 4681538"/>
              <a:gd name="connsiteX95" fmla="*/ 6408495 w 8785322"/>
              <a:gd name="connsiteY95" fmla="*/ 2340755 h 4681538"/>
              <a:gd name="connsiteX96" fmla="*/ 6408486 w 8785322"/>
              <a:gd name="connsiteY96" fmla="*/ 2340755 h 4681538"/>
              <a:gd name="connsiteX97" fmla="*/ 6408491 w 8785322"/>
              <a:gd name="connsiteY97" fmla="*/ 2340798 h 4681538"/>
              <a:gd name="connsiteX98" fmla="*/ 6408486 w 8785322"/>
              <a:gd name="connsiteY98" fmla="*/ 2340841 h 4681538"/>
              <a:gd name="connsiteX99" fmla="*/ 6408495 w 8785322"/>
              <a:gd name="connsiteY99" fmla="*/ 2340841 h 4681538"/>
              <a:gd name="connsiteX100" fmla="*/ 6417478 w 8785322"/>
              <a:gd name="connsiteY100" fmla="*/ 2429748 h 4681538"/>
              <a:gd name="connsiteX101" fmla="*/ 6850605 w 8785322"/>
              <a:gd name="connsiteY101" fmla="*/ 2782318 h 4681538"/>
              <a:gd name="connsiteX102" fmla="*/ 6850666 w 8785322"/>
              <a:gd name="connsiteY102" fmla="*/ 2782318 h 4681538"/>
              <a:gd name="connsiteX103" fmla="*/ 7283747 w 8785322"/>
              <a:gd name="connsiteY103" fmla="*/ 2429745 h 4681538"/>
              <a:gd name="connsiteX104" fmla="*/ 7292720 w 8785322"/>
              <a:gd name="connsiteY104" fmla="*/ 2340841 h 4681538"/>
              <a:gd name="connsiteX105" fmla="*/ 7292728 w 8785322"/>
              <a:gd name="connsiteY105" fmla="*/ 2340841 h 4681538"/>
              <a:gd name="connsiteX106" fmla="*/ 7292724 w 8785322"/>
              <a:gd name="connsiteY106" fmla="*/ 2340798 h 4681538"/>
              <a:gd name="connsiteX107" fmla="*/ 7292728 w 8785322"/>
              <a:gd name="connsiteY107" fmla="*/ 2340755 h 4681538"/>
              <a:gd name="connsiteX108" fmla="*/ 7292720 w 8785322"/>
              <a:gd name="connsiteY108" fmla="*/ 2340755 h 4681538"/>
              <a:gd name="connsiteX109" fmla="*/ 7283766 w 8785322"/>
              <a:gd name="connsiteY109" fmla="*/ 2251850 h 4681538"/>
              <a:gd name="connsiteX110" fmla="*/ 6850723 w 8785322"/>
              <a:gd name="connsiteY110" fmla="*/ 1899225 h 4681538"/>
              <a:gd name="connsiteX111" fmla="*/ 6850605 w 8785322"/>
              <a:gd name="connsiteY111" fmla="*/ 1899225 h 4681538"/>
              <a:gd name="connsiteX112" fmla="*/ 0 w 8785322"/>
              <a:gd name="connsiteY112" fmla="*/ 0 h 4681538"/>
              <a:gd name="connsiteX113" fmla="*/ 8785322 w 8785322"/>
              <a:gd name="connsiteY113" fmla="*/ 0 h 4681538"/>
              <a:gd name="connsiteX114" fmla="*/ 8785322 w 8785322"/>
              <a:gd name="connsiteY114" fmla="*/ 4681538 h 4681538"/>
              <a:gd name="connsiteX115" fmla="*/ 0 w 8785322"/>
              <a:gd name="connsiteY115" fmla="*/ 4681538 h 4681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8785322" h="4681538">
                <a:moveTo>
                  <a:pt x="5051072" y="2241358"/>
                </a:moveTo>
                <a:lnTo>
                  <a:pt x="5051931" y="2241358"/>
                </a:lnTo>
                <a:lnTo>
                  <a:pt x="5121203" y="2413455"/>
                </a:lnTo>
                <a:lnTo>
                  <a:pt x="4982028" y="2413512"/>
                </a:lnTo>
                <a:close/>
                <a:moveTo>
                  <a:pt x="2251634" y="2241358"/>
                </a:moveTo>
                <a:lnTo>
                  <a:pt x="2252493" y="2241358"/>
                </a:lnTo>
                <a:lnTo>
                  <a:pt x="2321537" y="2413455"/>
                </a:lnTo>
                <a:lnTo>
                  <a:pt x="2182590" y="2413512"/>
                </a:lnTo>
                <a:close/>
                <a:moveTo>
                  <a:pt x="4986778" y="2102398"/>
                </a:moveTo>
                <a:lnTo>
                  <a:pt x="4776443" y="2606354"/>
                </a:lnTo>
                <a:lnTo>
                  <a:pt x="4904233" y="2606354"/>
                </a:lnTo>
                <a:lnTo>
                  <a:pt x="4940442" y="2516360"/>
                </a:lnTo>
                <a:lnTo>
                  <a:pt x="5162504" y="2516360"/>
                </a:lnTo>
                <a:lnTo>
                  <a:pt x="5198770" y="2606069"/>
                </a:lnTo>
                <a:lnTo>
                  <a:pt x="5326503" y="2606069"/>
                </a:lnTo>
                <a:lnTo>
                  <a:pt x="5116457" y="2102398"/>
                </a:lnTo>
                <a:close/>
                <a:moveTo>
                  <a:pt x="2187055" y="2102398"/>
                </a:moveTo>
                <a:lnTo>
                  <a:pt x="1976777" y="2606354"/>
                </a:lnTo>
                <a:lnTo>
                  <a:pt x="2104510" y="2606354"/>
                </a:lnTo>
                <a:lnTo>
                  <a:pt x="2140776" y="2516360"/>
                </a:lnTo>
                <a:lnTo>
                  <a:pt x="2362838" y="2516360"/>
                </a:lnTo>
                <a:lnTo>
                  <a:pt x="2399332" y="2606069"/>
                </a:lnTo>
                <a:lnTo>
                  <a:pt x="2527122" y="2606069"/>
                </a:lnTo>
                <a:lnTo>
                  <a:pt x="2316502" y="2102398"/>
                </a:lnTo>
                <a:close/>
                <a:moveTo>
                  <a:pt x="5791389" y="2102113"/>
                </a:moveTo>
                <a:lnTo>
                  <a:pt x="5791389" y="2606069"/>
                </a:lnTo>
                <a:lnTo>
                  <a:pt x="6156228" y="2606069"/>
                </a:lnTo>
                <a:lnTo>
                  <a:pt x="6156228" y="2494193"/>
                </a:lnTo>
                <a:lnTo>
                  <a:pt x="5923526" y="2494193"/>
                </a:lnTo>
                <a:lnTo>
                  <a:pt x="5923526" y="2102113"/>
                </a:lnTo>
                <a:close/>
                <a:moveTo>
                  <a:pt x="5369461" y="2102113"/>
                </a:moveTo>
                <a:lnTo>
                  <a:pt x="5369461" y="2606069"/>
                </a:lnTo>
                <a:lnTo>
                  <a:pt x="5734357" y="2606069"/>
                </a:lnTo>
                <a:lnTo>
                  <a:pt x="5734357" y="2494193"/>
                </a:lnTo>
                <a:lnTo>
                  <a:pt x="5501655" y="2494193"/>
                </a:lnTo>
                <a:lnTo>
                  <a:pt x="5501655" y="2102113"/>
                </a:lnTo>
                <a:close/>
                <a:moveTo>
                  <a:pt x="4435460" y="2102113"/>
                </a:moveTo>
                <a:lnTo>
                  <a:pt x="4435460" y="2606069"/>
                </a:lnTo>
                <a:lnTo>
                  <a:pt x="4567597" y="2606069"/>
                </a:lnTo>
                <a:lnTo>
                  <a:pt x="4567597" y="2402086"/>
                </a:lnTo>
                <a:lnTo>
                  <a:pt x="4780907" y="2402086"/>
                </a:lnTo>
                <a:lnTo>
                  <a:pt x="4780907" y="2294097"/>
                </a:lnTo>
                <a:lnTo>
                  <a:pt x="4567597" y="2294097"/>
                </a:lnTo>
                <a:lnTo>
                  <a:pt x="4567597" y="2210102"/>
                </a:lnTo>
                <a:lnTo>
                  <a:pt x="4820548" y="2210102"/>
                </a:lnTo>
                <a:lnTo>
                  <a:pt x="4820548" y="2102113"/>
                </a:lnTo>
                <a:close/>
                <a:moveTo>
                  <a:pt x="3857771" y="2102113"/>
                </a:moveTo>
                <a:lnTo>
                  <a:pt x="3857771" y="2606069"/>
                </a:lnTo>
                <a:lnTo>
                  <a:pt x="3983961" y="2606069"/>
                </a:lnTo>
                <a:lnTo>
                  <a:pt x="3983961" y="2308151"/>
                </a:lnTo>
                <a:lnTo>
                  <a:pt x="4208766" y="2606069"/>
                </a:lnTo>
                <a:lnTo>
                  <a:pt x="4334953" y="2606069"/>
                </a:lnTo>
                <a:lnTo>
                  <a:pt x="4334953" y="2102113"/>
                </a:lnTo>
                <a:lnTo>
                  <a:pt x="4208766" y="2102113"/>
                </a:lnTo>
                <a:lnTo>
                  <a:pt x="4208766" y="2403686"/>
                </a:lnTo>
                <a:lnTo>
                  <a:pt x="3983961" y="2102113"/>
                </a:lnTo>
                <a:close/>
                <a:moveTo>
                  <a:pt x="3393284" y="2102113"/>
                </a:moveTo>
                <a:lnTo>
                  <a:pt x="3393284" y="2606069"/>
                </a:lnTo>
                <a:lnTo>
                  <a:pt x="3525421" y="2606069"/>
                </a:lnTo>
                <a:lnTo>
                  <a:pt x="3766361" y="2606069"/>
                </a:lnTo>
                <a:lnTo>
                  <a:pt x="3766361" y="2498080"/>
                </a:lnTo>
                <a:lnTo>
                  <a:pt x="3525421" y="2498080"/>
                </a:lnTo>
                <a:lnTo>
                  <a:pt x="3525421" y="2398887"/>
                </a:lnTo>
                <a:lnTo>
                  <a:pt x="3729635" y="2398887"/>
                </a:lnTo>
                <a:lnTo>
                  <a:pt x="3729635" y="2290897"/>
                </a:lnTo>
                <a:lnTo>
                  <a:pt x="3525421" y="2290897"/>
                </a:lnTo>
                <a:lnTo>
                  <a:pt x="3525421" y="2210102"/>
                </a:lnTo>
                <a:lnTo>
                  <a:pt x="3766361" y="2210102"/>
                </a:lnTo>
                <a:lnTo>
                  <a:pt x="3766361" y="2102113"/>
                </a:lnTo>
                <a:close/>
                <a:moveTo>
                  <a:pt x="2918731" y="2102113"/>
                </a:moveTo>
                <a:lnTo>
                  <a:pt x="2918731" y="2210102"/>
                </a:lnTo>
                <a:lnTo>
                  <a:pt x="3050868" y="2210102"/>
                </a:lnTo>
                <a:lnTo>
                  <a:pt x="3050868" y="2606069"/>
                </a:lnTo>
                <a:lnTo>
                  <a:pt x="3183006" y="2606069"/>
                </a:lnTo>
                <a:lnTo>
                  <a:pt x="3183006" y="2210102"/>
                </a:lnTo>
                <a:lnTo>
                  <a:pt x="3329218" y="2210102"/>
                </a:lnTo>
                <a:lnTo>
                  <a:pt x="3329218" y="2102113"/>
                </a:lnTo>
                <a:close/>
                <a:moveTo>
                  <a:pt x="2462254" y="2102113"/>
                </a:moveTo>
                <a:lnTo>
                  <a:pt x="2462254" y="2210102"/>
                </a:lnTo>
                <a:lnTo>
                  <a:pt x="2608405" y="2210102"/>
                </a:lnTo>
                <a:lnTo>
                  <a:pt x="2608405" y="2606069"/>
                </a:lnTo>
                <a:lnTo>
                  <a:pt x="2740547" y="2606069"/>
                </a:lnTo>
                <a:lnTo>
                  <a:pt x="2740547" y="2210102"/>
                </a:lnTo>
                <a:lnTo>
                  <a:pt x="2872684" y="2210102"/>
                </a:lnTo>
                <a:lnTo>
                  <a:pt x="2872684" y="2102113"/>
                </a:lnTo>
                <a:close/>
                <a:moveTo>
                  <a:pt x="1517899" y="2102113"/>
                </a:moveTo>
                <a:lnTo>
                  <a:pt x="1724857" y="2606069"/>
                </a:lnTo>
                <a:lnTo>
                  <a:pt x="1854995" y="2606069"/>
                </a:lnTo>
                <a:lnTo>
                  <a:pt x="2061952" y="2102113"/>
                </a:lnTo>
                <a:lnTo>
                  <a:pt x="1934219" y="2102113"/>
                </a:lnTo>
                <a:lnTo>
                  <a:pt x="1790469" y="2456425"/>
                </a:lnTo>
                <a:lnTo>
                  <a:pt x="1789382" y="2456425"/>
                </a:lnTo>
                <a:lnTo>
                  <a:pt x="1645690" y="2102113"/>
                </a:lnTo>
                <a:close/>
                <a:moveTo>
                  <a:pt x="6850605" y="1899225"/>
                </a:moveTo>
                <a:cubicBezTo>
                  <a:pt x="6636954" y="1899225"/>
                  <a:pt x="6458695" y="2050602"/>
                  <a:pt x="6417469" y="2251840"/>
                </a:cubicBezTo>
                <a:lnTo>
                  <a:pt x="6408495" y="2340755"/>
                </a:lnTo>
                <a:lnTo>
                  <a:pt x="6408486" y="2340755"/>
                </a:lnTo>
                <a:lnTo>
                  <a:pt x="6408491" y="2340798"/>
                </a:lnTo>
                <a:lnTo>
                  <a:pt x="6408486" y="2340841"/>
                </a:lnTo>
                <a:lnTo>
                  <a:pt x="6408495" y="2340841"/>
                </a:lnTo>
                <a:lnTo>
                  <a:pt x="6417478" y="2429748"/>
                </a:lnTo>
                <a:cubicBezTo>
                  <a:pt x="6458721" y="2630964"/>
                  <a:pt x="6636972" y="2782318"/>
                  <a:pt x="6850605" y="2782318"/>
                </a:cubicBezTo>
                <a:cubicBezTo>
                  <a:pt x="6850626" y="2782318"/>
                  <a:pt x="6850646" y="2782318"/>
                  <a:pt x="6850666" y="2782318"/>
                </a:cubicBezTo>
                <a:cubicBezTo>
                  <a:pt x="7064292" y="2782318"/>
                  <a:pt x="7242526" y="2630958"/>
                  <a:pt x="7283747" y="2429745"/>
                </a:cubicBezTo>
                <a:lnTo>
                  <a:pt x="7292720" y="2340841"/>
                </a:lnTo>
                <a:lnTo>
                  <a:pt x="7292728" y="2340841"/>
                </a:lnTo>
                <a:lnTo>
                  <a:pt x="7292724" y="2340798"/>
                </a:lnTo>
                <a:lnTo>
                  <a:pt x="7292728" y="2340755"/>
                </a:lnTo>
                <a:lnTo>
                  <a:pt x="7292720" y="2340755"/>
                </a:lnTo>
                <a:lnTo>
                  <a:pt x="7283766" y="2251850"/>
                </a:lnTo>
                <a:cubicBezTo>
                  <a:pt x="7242583" y="2050634"/>
                  <a:pt x="7064349" y="1899253"/>
                  <a:pt x="6850723" y="1899225"/>
                </a:cubicBezTo>
                <a:cubicBezTo>
                  <a:pt x="6850683" y="1899225"/>
                  <a:pt x="6850646" y="1899225"/>
                  <a:pt x="6850605" y="1899225"/>
                </a:cubicBezTo>
                <a:close/>
                <a:moveTo>
                  <a:pt x="0" y="0"/>
                </a:moveTo>
                <a:lnTo>
                  <a:pt x="8785322" y="0"/>
                </a:lnTo>
                <a:lnTo>
                  <a:pt x="8785322" y="4681538"/>
                </a:lnTo>
                <a:lnTo>
                  <a:pt x="0" y="4681538"/>
                </a:lnTo>
                <a:close/>
              </a:path>
            </a:pathLst>
          </a:custGeom>
          <a:blipFill dpi="0" rotWithShape="1">
            <a:blip r:embed="rId2"/>
            <a:srcRect/>
            <a:tile tx="0" ty="0" sx="100000" sy="100000" flip="none" algn="tl"/>
          </a:blipFill>
        </p:spPr>
        <p:txBody>
          <a:bodyPr wrap="square">
            <a:noAutofit/>
          </a:bodyPr>
          <a:lstStyle>
            <a:lvl1pPr algn="ctr">
              <a:buNone/>
              <a:defRPr sz="800">
                <a:solidFill>
                  <a:schemeClr val="bg1">
                    <a:lumMod val="75000"/>
                  </a:schemeClr>
                </a:solidFill>
              </a:defRPr>
            </a:lvl1pPr>
          </a:lstStyle>
          <a:p>
            <a:r>
              <a:rPr lang="en-GB" noProof="0"/>
              <a:t>Click on the icon to add an image</a:t>
            </a:r>
          </a:p>
        </p:txBody>
      </p:sp>
      <p:sp>
        <p:nvSpPr>
          <p:cNvPr id="2" name="Rektangel 1">
            <a:extLst>
              <a:ext uri="{FF2B5EF4-FFF2-40B4-BE49-F238E27FC236}">
                <a16:creationId xmlns:a16="http://schemas.microsoft.com/office/drawing/2014/main" id="{F803F8D0-F719-E241-8577-1EB6E3E95C67}"/>
              </a:ext>
            </a:extLst>
          </p:cNvPr>
          <p:cNvSpPr/>
          <p:nvPr userDrawn="1"/>
        </p:nvSpPr>
        <p:spPr>
          <a:xfrm>
            <a:off x="3949701" y="4867047"/>
            <a:ext cx="1193800" cy="276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1" name="Date">
            <a:extLst>
              <a:ext uri="{FF2B5EF4-FFF2-40B4-BE49-F238E27FC236}">
                <a16:creationId xmlns:a16="http://schemas.microsoft.com/office/drawing/2014/main" id="{38CA3AD7-12F8-9F43-820D-33071C26D41A}"/>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81A0D974-C5C9-4437-950F-B7DA54384069}" type="datetime1">
              <a:rPr lang="sv-SE" noProof="0" smtClean="0"/>
              <a:t>2025-09-04</a:t>
            </a:fld>
            <a:endParaRPr lang="en-GB" noProof="0"/>
          </a:p>
        </p:txBody>
      </p:sp>
      <p:sp>
        <p:nvSpPr>
          <p:cNvPr id="12" name="Number">
            <a:extLst>
              <a:ext uri="{FF2B5EF4-FFF2-40B4-BE49-F238E27FC236}">
                <a16:creationId xmlns:a16="http://schemas.microsoft.com/office/drawing/2014/main" id="{DFED6C3B-4A73-344C-A9A5-F8224178884F}"/>
              </a:ext>
            </a:extLst>
          </p:cNvPr>
          <p:cNvSpPr>
            <a:spLocks noGrp="1"/>
          </p:cNvSpPr>
          <p:nvPr>
            <p:ph type="sldNum" sz="quarter" idx="4"/>
          </p:nvPr>
        </p:nvSpPr>
        <p:spPr>
          <a:xfrm>
            <a:off x="8640418" y="5003475"/>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3" name="Footer">
            <a:extLst>
              <a:ext uri="{FF2B5EF4-FFF2-40B4-BE49-F238E27FC236}">
                <a16:creationId xmlns:a16="http://schemas.microsoft.com/office/drawing/2014/main" id="{3B9E93E1-A5C6-AE48-99D5-A7A443E60A82}"/>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p:txBody>
      </p:sp>
    </p:spTree>
    <p:extLst>
      <p:ext uri="{BB962C8B-B14F-4D97-AF65-F5344CB8AC3E}">
        <p14:creationId xmlns:p14="http://schemas.microsoft.com/office/powerpoint/2010/main" val="2845580867"/>
      </p:ext>
    </p:extLst>
  </p:cSld>
  <p:clrMapOvr>
    <a:masterClrMapping/>
  </p:clrMapOvr>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 Generic Video Start">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F1CB8391-5425-1AB1-E826-C2E0E97813F9}"/>
              </a:ext>
            </a:extLst>
          </p:cNvPr>
          <p:cNvGrpSpPr/>
          <p:nvPr userDrawn="1"/>
        </p:nvGrpSpPr>
        <p:grpSpPr>
          <a:xfrm>
            <a:off x="6520874" y="2007250"/>
            <a:ext cx="1003877" cy="985332"/>
            <a:chOff x="6520873" y="2007250"/>
            <a:chExt cx="1003877" cy="985332"/>
          </a:xfrm>
        </p:grpSpPr>
        <p:sp>
          <p:nvSpPr>
            <p:cNvPr id="4" name="Rektangel 3">
              <a:extLst>
                <a:ext uri="{FF2B5EF4-FFF2-40B4-BE49-F238E27FC236}">
                  <a16:creationId xmlns:a16="http://schemas.microsoft.com/office/drawing/2014/main" id="{29B8958B-10DA-F24F-A2EC-49711C241895}"/>
                </a:ext>
              </a:extLst>
            </p:cNvPr>
            <p:cNvSpPr/>
            <p:nvPr userDrawn="1"/>
          </p:nvSpPr>
          <p:spPr>
            <a:xfrm>
              <a:off x="6520873" y="2499519"/>
              <a:ext cx="1003877" cy="493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28" name="Rektangel 27">
              <a:extLst>
                <a:ext uri="{FF2B5EF4-FFF2-40B4-BE49-F238E27FC236}">
                  <a16:creationId xmlns:a16="http://schemas.microsoft.com/office/drawing/2014/main" id="{44B06D9C-224E-0C44-86A7-A872605E97D8}"/>
                </a:ext>
              </a:extLst>
            </p:cNvPr>
            <p:cNvSpPr/>
            <p:nvPr userDrawn="1"/>
          </p:nvSpPr>
          <p:spPr>
            <a:xfrm>
              <a:off x="6520873" y="2007250"/>
              <a:ext cx="1003877" cy="4930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grpSp>
      <p:sp>
        <p:nvSpPr>
          <p:cNvPr id="17" name="Background Video">
            <a:extLst>
              <a:ext uri="{FF2B5EF4-FFF2-40B4-BE49-F238E27FC236}">
                <a16:creationId xmlns:a16="http://schemas.microsoft.com/office/drawing/2014/main" id="{0F35AFA5-EFAC-B204-1865-A9A6909681EF}"/>
              </a:ext>
            </a:extLst>
          </p:cNvPr>
          <p:cNvSpPr>
            <a:spLocks noGrp="1"/>
          </p:cNvSpPr>
          <p:nvPr>
            <p:ph type="media" sz="quarter" idx="10" hasCustomPrompt="1"/>
          </p:nvPr>
        </p:nvSpPr>
        <p:spPr>
          <a:xfrm>
            <a:off x="179389" y="158751"/>
            <a:ext cx="8785225" cy="4681538"/>
          </a:xfrm>
          <a:custGeom>
            <a:avLst/>
            <a:gdLst>
              <a:gd name="connsiteX0" fmla="*/ 5051622 w 8785225"/>
              <a:gd name="connsiteY0" fmla="*/ 2243157 h 4681538"/>
              <a:gd name="connsiteX1" fmla="*/ 5052477 w 8785225"/>
              <a:gd name="connsiteY1" fmla="*/ 2243157 h 4681538"/>
              <a:gd name="connsiteX2" fmla="*/ 5121789 w 8785225"/>
              <a:gd name="connsiteY2" fmla="*/ 2415355 h 4681538"/>
              <a:gd name="connsiteX3" fmla="*/ 4982536 w 8785225"/>
              <a:gd name="connsiteY3" fmla="*/ 2415415 h 4681538"/>
              <a:gd name="connsiteX4" fmla="*/ 2250565 w 8785225"/>
              <a:gd name="connsiteY4" fmla="*/ 2243157 h 4681538"/>
              <a:gd name="connsiteX5" fmla="*/ 2251426 w 8785225"/>
              <a:gd name="connsiteY5" fmla="*/ 2243157 h 4681538"/>
              <a:gd name="connsiteX6" fmla="*/ 2320506 w 8785225"/>
              <a:gd name="connsiteY6" fmla="*/ 2415355 h 4681538"/>
              <a:gd name="connsiteX7" fmla="*/ 2181479 w 8785225"/>
              <a:gd name="connsiteY7" fmla="*/ 2415415 h 4681538"/>
              <a:gd name="connsiteX8" fmla="*/ 4987289 w 8785225"/>
              <a:gd name="connsiteY8" fmla="*/ 2104119 h 4681538"/>
              <a:gd name="connsiteX9" fmla="*/ 4776830 w 8785225"/>
              <a:gd name="connsiteY9" fmla="*/ 2608368 h 4681538"/>
              <a:gd name="connsiteX10" fmla="*/ 4904695 w 8785225"/>
              <a:gd name="connsiteY10" fmla="*/ 2608368 h 4681538"/>
              <a:gd name="connsiteX11" fmla="*/ 4940925 w 8785225"/>
              <a:gd name="connsiteY11" fmla="*/ 2518319 h 4681538"/>
              <a:gd name="connsiteX12" fmla="*/ 5163116 w 8785225"/>
              <a:gd name="connsiteY12" fmla="*/ 2518319 h 4681538"/>
              <a:gd name="connsiteX13" fmla="*/ 5199406 w 8785225"/>
              <a:gd name="connsiteY13" fmla="*/ 2608083 h 4681538"/>
              <a:gd name="connsiteX14" fmla="*/ 5327211 w 8785225"/>
              <a:gd name="connsiteY14" fmla="*/ 2608083 h 4681538"/>
              <a:gd name="connsiteX15" fmla="*/ 5117043 w 8785225"/>
              <a:gd name="connsiteY15" fmla="*/ 2104119 h 4681538"/>
              <a:gd name="connsiteX16" fmla="*/ 2185952 w 8785225"/>
              <a:gd name="connsiteY16" fmla="*/ 2104119 h 4681538"/>
              <a:gd name="connsiteX17" fmla="*/ 1975552 w 8785225"/>
              <a:gd name="connsiteY17" fmla="*/ 2608368 h 4681538"/>
              <a:gd name="connsiteX18" fmla="*/ 2103359 w 8785225"/>
              <a:gd name="connsiteY18" fmla="*/ 2608368 h 4681538"/>
              <a:gd name="connsiteX19" fmla="*/ 2139647 w 8785225"/>
              <a:gd name="connsiteY19" fmla="*/ 2518319 h 4681538"/>
              <a:gd name="connsiteX20" fmla="*/ 2361833 w 8785225"/>
              <a:gd name="connsiteY20" fmla="*/ 2518319 h 4681538"/>
              <a:gd name="connsiteX21" fmla="*/ 2398348 w 8785225"/>
              <a:gd name="connsiteY21" fmla="*/ 2608083 h 4681538"/>
              <a:gd name="connsiteX22" fmla="*/ 2526213 w 8785225"/>
              <a:gd name="connsiteY22" fmla="*/ 2608083 h 4681538"/>
              <a:gd name="connsiteX23" fmla="*/ 2315468 w 8785225"/>
              <a:gd name="connsiteY23" fmla="*/ 2104119 h 4681538"/>
              <a:gd name="connsiteX24" fmla="*/ 5792362 w 8785225"/>
              <a:gd name="connsiteY24" fmla="*/ 2103834 h 4681538"/>
              <a:gd name="connsiteX25" fmla="*/ 5792362 w 8785225"/>
              <a:gd name="connsiteY25" fmla="*/ 2608083 h 4681538"/>
              <a:gd name="connsiteX26" fmla="*/ 6157411 w 8785225"/>
              <a:gd name="connsiteY26" fmla="*/ 2608083 h 4681538"/>
              <a:gd name="connsiteX27" fmla="*/ 6157411 w 8785225"/>
              <a:gd name="connsiteY27" fmla="*/ 2496144 h 4681538"/>
              <a:gd name="connsiteX28" fmla="*/ 5924574 w 8785225"/>
              <a:gd name="connsiteY28" fmla="*/ 2496144 h 4681538"/>
              <a:gd name="connsiteX29" fmla="*/ 5924574 w 8785225"/>
              <a:gd name="connsiteY29" fmla="*/ 2103834 h 4681538"/>
              <a:gd name="connsiteX30" fmla="*/ 5370190 w 8785225"/>
              <a:gd name="connsiteY30" fmla="*/ 2103834 h 4681538"/>
              <a:gd name="connsiteX31" fmla="*/ 5370190 w 8785225"/>
              <a:gd name="connsiteY31" fmla="*/ 2608083 h 4681538"/>
              <a:gd name="connsiteX32" fmla="*/ 5735299 w 8785225"/>
              <a:gd name="connsiteY32" fmla="*/ 2608083 h 4681538"/>
              <a:gd name="connsiteX33" fmla="*/ 5735299 w 8785225"/>
              <a:gd name="connsiteY33" fmla="*/ 2496144 h 4681538"/>
              <a:gd name="connsiteX34" fmla="*/ 5502462 w 8785225"/>
              <a:gd name="connsiteY34" fmla="*/ 2496144 h 4681538"/>
              <a:gd name="connsiteX35" fmla="*/ 5502462 w 8785225"/>
              <a:gd name="connsiteY35" fmla="*/ 2103834 h 4681538"/>
              <a:gd name="connsiteX36" fmla="*/ 4435649 w 8785225"/>
              <a:gd name="connsiteY36" fmla="*/ 2103834 h 4681538"/>
              <a:gd name="connsiteX37" fmla="*/ 4435649 w 8785225"/>
              <a:gd name="connsiteY37" fmla="*/ 2608083 h 4681538"/>
              <a:gd name="connsiteX38" fmla="*/ 4567861 w 8785225"/>
              <a:gd name="connsiteY38" fmla="*/ 2608083 h 4681538"/>
              <a:gd name="connsiteX39" fmla="*/ 4567861 w 8785225"/>
              <a:gd name="connsiteY39" fmla="*/ 2403980 h 4681538"/>
              <a:gd name="connsiteX40" fmla="*/ 4781297 w 8785225"/>
              <a:gd name="connsiteY40" fmla="*/ 2403980 h 4681538"/>
              <a:gd name="connsiteX41" fmla="*/ 4781297 w 8785225"/>
              <a:gd name="connsiteY41" fmla="*/ 2295932 h 4681538"/>
              <a:gd name="connsiteX42" fmla="*/ 4567861 w 8785225"/>
              <a:gd name="connsiteY42" fmla="*/ 2295932 h 4681538"/>
              <a:gd name="connsiteX43" fmla="*/ 4567861 w 8785225"/>
              <a:gd name="connsiteY43" fmla="*/ 2211888 h 4681538"/>
              <a:gd name="connsiteX44" fmla="*/ 4820961 w 8785225"/>
              <a:gd name="connsiteY44" fmla="*/ 2211888 h 4681538"/>
              <a:gd name="connsiteX45" fmla="*/ 4820961 w 8785225"/>
              <a:gd name="connsiteY45" fmla="*/ 2103834 h 4681538"/>
              <a:gd name="connsiteX46" fmla="*/ 3857626 w 8785225"/>
              <a:gd name="connsiteY46" fmla="*/ 2103834 h 4681538"/>
              <a:gd name="connsiteX47" fmla="*/ 3857626 w 8785225"/>
              <a:gd name="connsiteY47" fmla="*/ 2608083 h 4681538"/>
              <a:gd name="connsiteX48" fmla="*/ 3983894 w 8785225"/>
              <a:gd name="connsiteY48" fmla="*/ 2608083 h 4681538"/>
              <a:gd name="connsiteX49" fmla="*/ 3983894 w 8785225"/>
              <a:gd name="connsiteY49" fmla="*/ 2309992 h 4681538"/>
              <a:gd name="connsiteX50" fmla="*/ 4208829 w 8785225"/>
              <a:gd name="connsiteY50" fmla="*/ 2608083 h 4681538"/>
              <a:gd name="connsiteX51" fmla="*/ 4335085 w 8785225"/>
              <a:gd name="connsiteY51" fmla="*/ 2608083 h 4681538"/>
              <a:gd name="connsiteX52" fmla="*/ 4335085 w 8785225"/>
              <a:gd name="connsiteY52" fmla="*/ 2103834 h 4681538"/>
              <a:gd name="connsiteX53" fmla="*/ 4208829 w 8785225"/>
              <a:gd name="connsiteY53" fmla="*/ 2103834 h 4681538"/>
              <a:gd name="connsiteX54" fmla="*/ 4208829 w 8785225"/>
              <a:gd name="connsiteY54" fmla="*/ 2405584 h 4681538"/>
              <a:gd name="connsiteX55" fmla="*/ 3983894 w 8785225"/>
              <a:gd name="connsiteY55" fmla="*/ 2103834 h 4681538"/>
              <a:gd name="connsiteX56" fmla="*/ 3392874 w 8785225"/>
              <a:gd name="connsiteY56" fmla="*/ 2103834 h 4681538"/>
              <a:gd name="connsiteX57" fmla="*/ 3392874 w 8785225"/>
              <a:gd name="connsiteY57" fmla="*/ 2608083 h 4681538"/>
              <a:gd name="connsiteX58" fmla="*/ 3525088 w 8785225"/>
              <a:gd name="connsiteY58" fmla="*/ 2608083 h 4681538"/>
              <a:gd name="connsiteX59" fmla="*/ 3766170 w 8785225"/>
              <a:gd name="connsiteY59" fmla="*/ 2608083 h 4681538"/>
              <a:gd name="connsiteX60" fmla="*/ 3766170 w 8785225"/>
              <a:gd name="connsiteY60" fmla="*/ 2500028 h 4681538"/>
              <a:gd name="connsiteX61" fmla="*/ 3525088 w 8785225"/>
              <a:gd name="connsiteY61" fmla="*/ 2500028 h 4681538"/>
              <a:gd name="connsiteX62" fmla="*/ 3525088 w 8785225"/>
              <a:gd name="connsiteY62" fmla="*/ 2400778 h 4681538"/>
              <a:gd name="connsiteX63" fmla="*/ 3729423 w 8785225"/>
              <a:gd name="connsiteY63" fmla="*/ 2400778 h 4681538"/>
              <a:gd name="connsiteX64" fmla="*/ 3729423 w 8785225"/>
              <a:gd name="connsiteY64" fmla="*/ 2292730 h 4681538"/>
              <a:gd name="connsiteX65" fmla="*/ 3525088 w 8785225"/>
              <a:gd name="connsiteY65" fmla="*/ 2292730 h 4681538"/>
              <a:gd name="connsiteX66" fmla="*/ 3525088 w 8785225"/>
              <a:gd name="connsiteY66" fmla="*/ 2211888 h 4681538"/>
              <a:gd name="connsiteX67" fmla="*/ 3766170 w 8785225"/>
              <a:gd name="connsiteY67" fmla="*/ 2211888 h 4681538"/>
              <a:gd name="connsiteX68" fmla="*/ 3766170 w 8785225"/>
              <a:gd name="connsiteY68" fmla="*/ 2103834 h 4681538"/>
              <a:gd name="connsiteX69" fmla="*/ 2918048 w 8785225"/>
              <a:gd name="connsiteY69" fmla="*/ 2103834 h 4681538"/>
              <a:gd name="connsiteX70" fmla="*/ 2918048 w 8785225"/>
              <a:gd name="connsiteY70" fmla="*/ 2211888 h 4681538"/>
              <a:gd name="connsiteX71" fmla="*/ 3050261 w 8785225"/>
              <a:gd name="connsiteY71" fmla="*/ 2211888 h 4681538"/>
              <a:gd name="connsiteX72" fmla="*/ 3050261 w 8785225"/>
              <a:gd name="connsiteY72" fmla="*/ 2608083 h 4681538"/>
              <a:gd name="connsiteX73" fmla="*/ 3182475 w 8785225"/>
              <a:gd name="connsiteY73" fmla="*/ 2608083 h 4681538"/>
              <a:gd name="connsiteX74" fmla="*/ 3182475 w 8785225"/>
              <a:gd name="connsiteY74" fmla="*/ 2211888 h 4681538"/>
              <a:gd name="connsiteX75" fmla="*/ 3328772 w 8785225"/>
              <a:gd name="connsiteY75" fmla="*/ 2211888 h 4681538"/>
              <a:gd name="connsiteX76" fmla="*/ 3328772 w 8785225"/>
              <a:gd name="connsiteY76" fmla="*/ 2103834 h 4681538"/>
              <a:gd name="connsiteX77" fmla="*/ 2461310 w 8785225"/>
              <a:gd name="connsiteY77" fmla="*/ 2103834 h 4681538"/>
              <a:gd name="connsiteX78" fmla="*/ 2461310 w 8785225"/>
              <a:gd name="connsiteY78" fmla="*/ 2211888 h 4681538"/>
              <a:gd name="connsiteX79" fmla="*/ 2607548 w 8785225"/>
              <a:gd name="connsiteY79" fmla="*/ 2211888 h 4681538"/>
              <a:gd name="connsiteX80" fmla="*/ 2607548 w 8785225"/>
              <a:gd name="connsiteY80" fmla="*/ 2608083 h 4681538"/>
              <a:gd name="connsiteX81" fmla="*/ 2739762 w 8785225"/>
              <a:gd name="connsiteY81" fmla="*/ 2608083 h 4681538"/>
              <a:gd name="connsiteX82" fmla="*/ 2739762 w 8785225"/>
              <a:gd name="connsiteY82" fmla="*/ 2211888 h 4681538"/>
              <a:gd name="connsiteX83" fmla="*/ 2871975 w 8785225"/>
              <a:gd name="connsiteY83" fmla="*/ 2211888 h 4681538"/>
              <a:gd name="connsiteX84" fmla="*/ 2871975 w 8785225"/>
              <a:gd name="connsiteY84" fmla="*/ 2103834 h 4681538"/>
              <a:gd name="connsiteX85" fmla="*/ 1516408 w 8785225"/>
              <a:gd name="connsiteY85" fmla="*/ 2103834 h 4681538"/>
              <a:gd name="connsiteX86" fmla="*/ 1723482 w 8785225"/>
              <a:gd name="connsiteY86" fmla="*/ 2608083 h 4681538"/>
              <a:gd name="connsiteX87" fmla="*/ 1853699 w 8785225"/>
              <a:gd name="connsiteY87" fmla="*/ 2608083 h 4681538"/>
              <a:gd name="connsiteX88" fmla="*/ 2060772 w 8785225"/>
              <a:gd name="connsiteY88" fmla="*/ 2103834 h 4681538"/>
              <a:gd name="connsiteX89" fmla="*/ 1932966 w 8785225"/>
              <a:gd name="connsiteY89" fmla="*/ 2103834 h 4681538"/>
              <a:gd name="connsiteX90" fmla="*/ 1789134 w 8785225"/>
              <a:gd name="connsiteY90" fmla="*/ 2458352 h 4681538"/>
              <a:gd name="connsiteX91" fmla="*/ 1788046 w 8785225"/>
              <a:gd name="connsiteY91" fmla="*/ 2458352 h 4681538"/>
              <a:gd name="connsiteX92" fmla="*/ 1644273 w 8785225"/>
              <a:gd name="connsiteY92" fmla="*/ 2103834 h 4681538"/>
              <a:gd name="connsiteX93" fmla="*/ 6852184 w 8785225"/>
              <a:gd name="connsiteY93" fmla="*/ 1900836 h 4681538"/>
              <a:gd name="connsiteX94" fmla="*/ 6418797 w 8785225"/>
              <a:gd name="connsiteY94" fmla="*/ 2253652 h 4681538"/>
              <a:gd name="connsiteX95" fmla="*/ 6409817 w 8785225"/>
              <a:gd name="connsiteY95" fmla="*/ 2342622 h 4681538"/>
              <a:gd name="connsiteX96" fmla="*/ 6409809 w 8785225"/>
              <a:gd name="connsiteY96" fmla="*/ 2342622 h 4681538"/>
              <a:gd name="connsiteX97" fmla="*/ 6409813 w 8785225"/>
              <a:gd name="connsiteY97" fmla="*/ 2342664 h 4681538"/>
              <a:gd name="connsiteX98" fmla="*/ 6409809 w 8785225"/>
              <a:gd name="connsiteY98" fmla="*/ 2342704 h 4681538"/>
              <a:gd name="connsiteX99" fmla="*/ 6409817 w 8785225"/>
              <a:gd name="connsiteY99" fmla="*/ 2342704 h 4681538"/>
              <a:gd name="connsiteX100" fmla="*/ 6418806 w 8785225"/>
              <a:gd name="connsiteY100" fmla="*/ 2431666 h 4681538"/>
              <a:gd name="connsiteX101" fmla="*/ 6852184 w 8785225"/>
              <a:gd name="connsiteY101" fmla="*/ 2784437 h 4681538"/>
              <a:gd name="connsiteX102" fmla="*/ 6852245 w 8785225"/>
              <a:gd name="connsiteY102" fmla="*/ 2784437 h 4681538"/>
              <a:gd name="connsiteX103" fmla="*/ 7285577 w 8785225"/>
              <a:gd name="connsiteY103" fmla="*/ 2431664 h 4681538"/>
              <a:gd name="connsiteX104" fmla="*/ 7294554 w 8785225"/>
              <a:gd name="connsiteY104" fmla="*/ 2342704 h 4681538"/>
              <a:gd name="connsiteX105" fmla="*/ 7294562 w 8785225"/>
              <a:gd name="connsiteY105" fmla="*/ 2342704 h 4681538"/>
              <a:gd name="connsiteX106" fmla="*/ 7294558 w 8785225"/>
              <a:gd name="connsiteY106" fmla="*/ 2342664 h 4681538"/>
              <a:gd name="connsiteX107" fmla="*/ 7294562 w 8785225"/>
              <a:gd name="connsiteY107" fmla="*/ 2342622 h 4681538"/>
              <a:gd name="connsiteX108" fmla="*/ 7294554 w 8785225"/>
              <a:gd name="connsiteY108" fmla="*/ 2342622 h 4681538"/>
              <a:gd name="connsiteX109" fmla="*/ 7285595 w 8785225"/>
              <a:gd name="connsiteY109" fmla="*/ 2253663 h 4681538"/>
              <a:gd name="connsiteX110" fmla="*/ 6852302 w 8785225"/>
              <a:gd name="connsiteY110" fmla="*/ 1900836 h 4681538"/>
              <a:gd name="connsiteX111" fmla="*/ 6852184 w 8785225"/>
              <a:gd name="connsiteY111" fmla="*/ 1900836 h 4681538"/>
              <a:gd name="connsiteX112" fmla="*/ 0 w 8785225"/>
              <a:gd name="connsiteY112" fmla="*/ 0 h 4681538"/>
              <a:gd name="connsiteX113" fmla="*/ 8785225 w 8785225"/>
              <a:gd name="connsiteY113" fmla="*/ 0 h 4681538"/>
              <a:gd name="connsiteX114" fmla="*/ 8785225 w 8785225"/>
              <a:gd name="connsiteY114" fmla="*/ 4681538 h 4681538"/>
              <a:gd name="connsiteX115" fmla="*/ 0 w 8785225"/>
              <a:gd name="connsiteY115" fmla="*/ 4681538 h 4681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8785225" h="4681538">
                <a:moveTo>
                  <a:pt x="5051622" y="2243157"/>
                </a:moveTo>
                <a:lnTo>
                  <a:pt x="5052477" y="2243157"/>
                </a:lnTo>
                <a:lnTo>
                  <a:pt x="5121789" y="2415355"/>
                </a:lnTo>
                <a:lnTo>
                  <a:pt x="4982536" y="2415415"/>
                </a:lnTo>
                <a:close/>
                <a:moveTo>
                  <a:pt x="2250565" y="2243157"/>
                </a:moveTo>
                <a:lnTo>
                  <a:pt x="2251426" y="2243157"/>
                </a:lnTo>
                <a:lnTo>
                  <a:pt x="2320506" y="2415355"/>
                </a:lnTo>
                <a:lnTo>
                  <a:pt x="2181479" y="2415415"/>
                </a:lnTo>
                <a:close/>
                <a:moveTo>
                  <a:pt x="4987289" y="2104119"/>
                </a:moveTo>
                <a:lnTo>
                  <a:pt x="4776830" y="2608368"/>
                </a:lnTo>
                <a:lnTo>
                  <a:pt x="4904695" y="2608368"/>
                </a:lnTo>
                <a:lnTo>
                  <a:pt x="4940925" y="2518319"/>
                </a:lnTo>
                <a:lnTo>
                  <a:pt x="5163116" y="2518319"/>
                </a:lnTo>
                <a:lnTo>
                  <a:pt x="5199406" y="2608083"/>
                </a:lnTo>
                <a:lnTo>
                  <a:pt x="5327211" y="2608083"/>
                </a:lnTo>
                <a:lnTo>
                  <a:pt x="5117043" y="2104119"/>
                </a:lnTo>
                <a:close/>
                <a:moveTo>
                  <a:pt x="2185952" y="2104119"/>
                </a:moveTo>
                <a:lnTo>
                  <a:pt x="1975552" y="2608368"/>
                </a:lnTo>
                <a:lnTo>
                  <a:pt x="2103359" y="2608368"/>
                </a:lnTo>
                <a:lnTo>
                  <a:pt x="2139647" y="2518319"/>
                </a:lnTo>
                <a:lnTo>
                  <a:pt x="2361833" y="2518319"/>
                </a:lnTo>
                <a:lnTo>
                  <a:pt x="2398348" y="2608083"/>
                </a:lnTo>
                <a:lnTo>
                  <a:pt x="2526213" y="2608083"/>
                </a:lnTo>
                <a:lnTo>
                  <a:pt x="2315468" y="2104119"/>
                </a:lnTo>
                <a:close/>
                <a:moveTo>
                  <a:pt x="5792362" y="2103834"/>
                </a:moveTo>
                <a:lnTo>
                  <a:pt x="5792362" y="2608083"/>
                </a:lnTo>
                <a:lnTo>
                  <a:pt x="6157411" y="2608083"/>
                </a:lnTo>
                <a:lnTo>
                  <a:pt x="6157411" y="2496144"/>
                </a:lnTo>
                <a:lnTo>
                  <a:pt x="5924574" y="2496144"/>
                </a:lnTo>
                <a:lnTo>
                  <a:pt x="5924574" y="2103834"/>
                </a:lnTo>
                <a:close/>
                <a:moveTo>
                  <a:pt x="5370190" y="2103834"/>
                </a:moveTo>
                <a:lnTo>
                  <a:pt x="5370190" y="2608083"/>
                </a:lnTo>
                <a:lnTo>
                  <a:pt x="5735299" y="2608083"/>
                </a:lnTo>
                <a:lnTo>
                  <a:pt x="5735299" y="2496144"/>
                </a:lnTo>
                <a:lnTo>
                  <a:pt x="5502462" y="2496144"/>
                </a:lnTo>
                <a:lnTo>
                  <a:pt x="5502462" y="2103834"/>
                </a:lnTo>
                <a:close/>
                <a:moveTo>
                  <a:pt x="4435649" y="2103834"/>
                </a:moveTo>
                <a:lnTo>
                  <a:pt x="4435649" y="2608083"/>
                </a:lnTo>
                <a:lnTo>
                  <a:pt x="4567861" y="2608083"/>
                </a:lnTo>
                <a:lnTo>
                  <a:pt x="4567861" y="2403980"/>
                </a:lnTo>
                <a:lnTo>
                  <a:pt x="4781297" y="2403980"/>
                </a:lnTo>
                <a:lnTo>
                  <a:pt x="4781297" y="2295932"/>
                </a:lnTo>
                <a:lnTo>
                  <a:pt x="4567861" y="2295932"/>
                </a:lnTo>
                <a:lnTo>
                  <a:pt x="4567861" y="2211888"/>
                </a:lnTo>
                <a:lnTo>
                  <a:pt x="4820961" y="2211888"/>
                </a:lnTo>
                <a:lnTo>
                  <a:pt x="4820961" y="2103834"/>
                </a:lnTo>
                <a:close/>
                <a:moveTo>
                  <a:pt x="3857626" y="2103834"/>
                </a:moveTo>
                <a:lnTo>
                  <a:pt x="3857626" y="2608083"/>
                </a:lnTo>
                <a:lnTo>
                  <a:pt x="3983894" y="2608083"/>
                </a:lnTo>
                <a:lnTo>
                  <a:pt x="3983894" y="2309992"/>
                </a:lnTo>
                <a:lnTo>
                  <a:pt x="4208829" y="2608083"/>
                </a:lnTo>
                <a:lnTo>
                  <a:pt x="4335085" y="2608083"/>
                </a:lnTo>
                <a:lnTo>
                  <a:pt x="4335085" y="2103834"/>
                </a:lnTo>
                <a:lnTo>
                  <a:pt x="4208829" y="2103834"/>
                </a:lnTo>
                <a:lnTo>
                  <a:pt x="4208829" y="2405584"/>
                </a:lnTo>
                <a:lnTo>
                  <a:pt x="3983894" y="2103834"/>
                </a:lnTo>
                <a:close/>
                <a:moveTo>
                  <a:pt x="3392874" y="2103834"/>
                </a:moveTo>
                <a:lnTo>
                  <a:pt x="3392874" y="2608083"/>
                </a:lnTo>
                <a:lnTo>
                  <a:pt x="3525088" y="2608083"/>
                </a:lnTo>
                <a:lnTo>
                  <a:pt x="3766170" y="2608083"/>
                </a:lnTo>
                <a:lnTo>
                  <a:pt x="3766170" y="2500028"/>
                </a:lnTo>
                <a:lnTo>
                  <a:pt x="3525088" y="2500028"/>
                </a:lnTo>
                <a:lnTo>
                  <a:pt x="3525088" y="2400778"/>
                </a:lnTo>
                <a:lnTo>
                  <a:pt x="3729423" y="2400778"/>
                </a:lnTo>
                <a:lnTo>
                  <a:pt x="3729423" y="2292730"/>
                </a:lnTo>
                <a:lnTo>
                  <a:pt x="3525088" y="2292730"/>
                </a:lnTo>
                <a:lnTo>
                  <a:pt x="3525088" y="2211888"/>
                </a:lnTo>
                <a:lnTo>
                  <a:pt x="3766170" y="2211888"/>
                </a:lnTo>
                <a:lnTo>
                  <a:pt x="3766170" y="2103834"/>
                </a:lnTo>
                <a:close/>
                <a:moveTo>
                  <a:pt x="2918048" y="2103834"/>
                </a:moveTo>
                <a:lnTo>
                  <a:pt x="2918048" y="2211888"/>
                </a:lnTo>
                <a:lnTo>
                  <a:pt x="3050261" y="2211888"/>
                </a:lnTo>
                <a:lnTo>
                  <a:pt x="3050261" y="2608083"/>
                </a:lnTo>
                <a:lnTo>
                  <a:pt x="3182475" y="2608083"/>
                </a:lnTo>
                <a:lnTo>
                  <a:pt x="3182475" y="2211888"/>
                </a:lnTo>
                <a:lnTo>
                  <a:pt x="3328772" y="2211888"/>
                </a:lnTo>
                <a:lnTo>
                  <a:pt x="3328772" y="2103834"/>
                </a:lnTo>
                <a:close/>
                <a:moveTo>
                  <a:pt x="2461310" y="2103834"/>
                </a:moveTo>
                <a:lnTo>
                  <a:pt x="2461310" y="2211888"/>
                </a:lnTo>
                <a:lnTo>
                  <a:pt x="2607548" y="2211888"/>
                </a:lnTo>
                <a:lnTo>
                  <a:pt x="2607548" y="2608083"/>
                </a:lnTo>
                <a:lnTo>
                  <a:pt x="2739762" y="2608083"/>
                </a:lnTo>
                <a:lnTo>
                  <a:pt x="2739762" y="2211888"/>
                </a:lnTo>
                <a:lnTo>
                  <a:pt x="2871975" y="2211888"/>
                </a:lnTo>
                <a:lnTo>
                  <a:pt x="2871975" y="2103834"/>
                </a:lnTo>
                <a:close/>
                <a:moveTo>
                  <a:pt x="1516408" y="2103834"/>
                </a:moveTo>
                <a:lnTo>
                  <a:pt x="1723482" y="2608083"/>
                </a:lnTo>
                <a:lnTo>
                  <a:pt x="1853699" y="2608083"/>
                </a:lnTo>
                <a:lnTo>
                  <a:pt x="2060772" y="2103834"/>
                </a:lnTo>
                <a:lnTo>
                  <a:pt x="1932966" y="2103834"/>
                </a:lnTo>
                <a:lnTo>
                  <a:pt x="1789134" y="2458352"/>
                </a:lnTo>
                <a:lnTo>
                  <a:pt x="1788046" y="2458352"/>
                </a:lnTo>
                <a:lnTo>
                  <a:pt x="1644273" y="2103834"/>
                </a:lnTo>
                <a:close/>
                <a:moveTo>
                  <a:pt x="6852184" y="1900836"/>
                </a:moveTo>
                <a:cubicBezTo>
                  <a:pt x="6638409" y="1900836"/>
                  <a:pt x="6460047" y="2052300"/>
                  <a:pt x="6418797" y="2253652"/>
                </a:cubicBezTo>
                <a:lnTo>
                  <a:pt x="6409817" y="2342622"/>
                </a:lnTo>
                <a:lnTo>
                  <a:pt x="6409809" y="2342622"/>
                </a:lnTo>
                <a:lnTo>
                  <a:pt x="6409813" y="2342664"/>
                </a:lnTo>
                <a:lnTo>
                  <a:pt x="6409809" y="2342704"/>
                </a:lnTo>
                <a:lnTo>
                  <a:pt x="6409817" y="2342704"/>
                </a:lnTo>
                <a:lnTo>
                  <a:pt x="6418806" y="2431666"/>
                </a:lnTo>
                <a:cubicBezTo>
                  <a:pt x="6460073" y="2632997"/>
                  <a:pt x="6638428" y="2784437"/>
                  <a:pt x="6852184" y="2784437"/>
                </a:cubicBezTo>
                <a:cubicBezTo>
                  <a:pt x="6852204" y="2784437"/>
                  <a:pt x="6852225" y="2784437"/>
                  <a:pt x="6852245" y="2784437"/>
                </a:cubicBezTo>
                <a:cubicBezTo>
                  <a:pt x="7065995" y="2784437"/>
                  <a:pt x="7244332" y="2632991"/>
                  <a:pt x="7285577" y="2431664"/>
                </a:cubicBezTo>
                <a:lnTo>
                  <a:pt x="7294554" y="2342704"/>
                </a:lnTo>
                <a:lnTo>
                  <a:pt x="7294562" y="2342704"/>
                </a:lnTo>
                <a:lnTo>
                  <a:pt x="7294558" y="2342664"/>
                </a:lnTo>
                <a:lnTo>
                  <a:pt x="7294562" y="2342622"/>
                </a:lnTo>
                <a:lnTo>
                  <a:pt x="7294554" y="2342622"/>
                </a:lnTo>
                <a:lnTo>
                  <a:pt x="7285595" y="2253663"/>
                </a:lnTo>
                <a:cubicBezTo>
                  <a:pt x="7244389" y="2052332"/>
                  <a:pt x="7066052" y="1900864"/>
                  <a:pt x="6852302" y="1900836"/>
                </a:cubicBezTo>
                <a:cubicBezTo>
                  <a:pt x="6852262" y="1900836"/>
                  <a:pt x="6852225" y="1900836"/>
                  <a:pt x="6852184" y="1900836"/>
                </a:cubicBezTo>
                <a:close/>
                <a:moveTo>
                  <a:pt x="0" y="0"/>
                </a:moveTo>
                <a:lnTo>
                  <a:pt x="8785225" y="0"/>
                </a:lnTo>
                <a:lnTo>
                  <a:pt x="8785225" y="4681538"/>
                </a:lnTo>
                <a:lnTo>
                  <a:pt x="0" y="4681538"/>
                </a:lnTo>
                <a:close/>
              </a:path>
            </a:pathLst>
          </a:custGeom>
          <a:blipFill dpi="0" rotWithShape="1">
            <a:blip r:embed="rId2"/>
            <a:srcRect/>
            <a:tile tx="0" ty="0" sx="100000" sy="100000" flip="none" algn="tl"/>
          </a:blipFill>
        </p:spPr>
        <p:txBody>
          <a:bodyPr vert="horz" wrap="square" lIns="90000" tIns="45720" rIns="90000" bIns="45720" rtlCol="0">
            <a:noAutofit/>
          </a:bodyPr>
          <a:lstStyle>
            <a:lvl1pPr marL="0" indent="0" algn="ctr">
              <a:buNone/>
              <a:defRPr lang="en-GB" sz="800">
                <a:solidFill>
                  <a:schemeClr val="bg1">
                    <a:lumMod val="75000"/>
                  </a:schemeClr>
                </a:solidFill>
              </a:defRPr>
            </a:lvl1pPr>
          </a:lstStyle>
          <a:p>
            <a:pPr marL="171446" lvl="0" indent="-171446" algn="ctr"/>
            <a:r>
              <a:rPr lang="en-GB"/>
              <a:t>Click on the icon to add a video</a:t>
            </a:r>
          </a:p>
        </p:txBody>
      </p:sp>
      <p:sp>
        <p:nvSpPr>
          <p:cNvPr id="2" name="Rektangel 1">
            <a:extLst>
              <a:ext uri="{FF2B5EF4-FFF2-40B4-BE49-F238E27FC236}">
                <a16:creationId xmlns:a16="http://schemas.microsoft.com/office/drawing/2014/main" id="{F803F8D0-F719-E241-8577-1EB6E3E95C67}"/>
              </a:ext>
            </a:extLst>
          </p:cNvPr>
          <p:cNvSpPr/>
          <p:nvPr userDrawn="1"/>
        </p:nvSpPr>
        <p:spPr>
          <a:xfrm>
            <a:off x="3949701" y="4867047"/>
            <a:ext cx="1193800" cy="276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1" name="Date">
            <a:extLst>
              <a:ext uri="{FF2B5EF4-FFF2-40B4-BE49-F238E27FC236}">
                <a16:creationId xmlns:a16="http://schemas.microsoft.com/office/drawing/2014/main" id="{38CA3AD7-12F8-9F43-820D-33071C26D41A}"/>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B62C1814-9E84-4301-934F-C97D84E9D140}" type="datetime1">
              <a:rPr lang="sv-SE" noProof="0" smtClean="0"/>
              <a:t>2025-09-04</a:t>
            </a:fld>
            <a:endParaRPr lang="en-GB" noProof="0"/>
          </a:p>
        </p:txBody>
      </p:sp>
      <p:sp>
        <p:nvSpPr>
          <p:cNvPr id="12" name="Number">
            <a:extLst>
              <a:ext uri="{FF2B5EF4-FFF2-40B4-BE49-F238E27FC236}">
                <a16:creationId xmlns:a16="http://schemas.microsoft.com/office/drawing/2014/main" id="{DFED6C3B-4A73-344C-A9A5-F8224178884F}"/>
              </a:ext>
            </a:extLst>
          </p:cNvPr>
          <p:cNvSpPr>
            <a:spLocks noGrp="1"/>
          </p:cNvSpPr>
          <p:nvPr>
            <p:ph type="sldNum" sz="quarter" idx="4"/>
          </p:nvPr>
        </p:nvSpPr>
        <p:spPr>
          <a:xfrm>
            <a:off x="8640418" y="5003475"/>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3" name="Footer">
            <a:extLst>
              <a:ext uri="{FF2B5EF4-FFF2-40B4-BE49-F238E27FC236}">
                <a16:creationId xmlns:a16="http://schemas.microsoft.com/office/drawing/2014/main" id="{3B9E93E1-A5C6-AE48-99D5-A7A443E60A82}"/>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p:txBody>
      </p:sp>
    </p:spTree>
    <p:extLst>
      <p:ext uri="{BB962C8B-B14F-4D97-AF65-F5344CB8AC3E}">
        <p14:creationId xmlns:p14="http://schemas.microsoft.com/office/powerpoint/2010/main" val="828849952"/>
      </p:ext>
    </p:extLst>
  </p:cSld>
  <p:clrMapOvr>
    <a:masterClrMapping/>
  </p:clrMapOvr>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 Title Start">
    <p:spTree>
      <p:nvGrpSpPr>
        <p:cNvPr id="1" name=""/>
        <p:cNvGrpSpPr/>
        <p:nvPr/>
      </p:nvGrpSpPr>
      <p:grpSpPr>
        <a:xfrm>
          <a:off x="0" y="0"/>
          <a:ext cx="0" cy="0"/>
          <a:chOff x="0" y="0"/>
          <a:chExt cx="0" cy="0"/>
        </a:xfrm>
      </p:grpSpPr>
      <p:sp>
        <p:nvSpPr>
          <p:cNvPr id="3" name="Background image">
            <a:extLst>
              <a:ext uri="{FF2B5EF4-FFF2-40B4-BE49-F238E27FC236}">
                <a16:creationId xmlns:a16="http://schemas.microsoft.com/office/drawing/2014/main" id="{25798999-2A1E-2547-A8D5-4373B7132ADB}"/>
              </a:ext>
            </a:extLst>
          </p:cNvPr>
          <p:cNvSpPr>
            <a:spLocks noGrp="1"/>
          </p:cNvSpPr>
          <p:nvPr>
            <p:ph type="pic" sz="quarter" idx="10" hasCustomPrompt="1"/>
          </p:nvPr>
        </p:nvSpPr>
        <p:spPr>
          <a:xfrm>
            <a:off x="179389" y="158751"/>
            <a:ext cx="8785322" cy="4681538"/>
          </a:xfrm>
          <a:blipFill dpi="0" rotWithShape="1">
            <a:blip r:embed="rId2"/>
            <a:srcRect/>
            <a:tile tx="0" ty="0" sx="100000" sy="100000" flip="none" algn="tl"/>
          </a:blipFill>
        </p:spPr>
        <p:txBody>
          <a:bodyPr/>
          <a:lstStyle>
            <a:lvl1pPr algn="ctr">
              <a:buNone/>
              <a:defRPr sz="800">
                <a:solidFill>
                  <a:schemeClr val="bg1">
                    <a:lumMod val="75000"/>
                  </a:schemeClr>
                </a:solidFill>
              </a:defRPr>
            </a:lvl1pPr>
          </a:lstStyle>
          <a:p>
            <a:r>
              <a:rPr lang="en-GB" noProof="0"/>
              <a:t>Select placeholder and select Insert &gt; Pictures</a:t>
            </a:r>
          </a:p>
        </p:txBody>
      </p:sp>
      <p:sp>
        <p:nvSpPr>
          <p:cNvPr id="6" name="Title">
            <a:extLst>
              <a:ext uri="{FF2B5EF4-FFF2-40B4-BE49-F238E27FC236}">
                <a16:creationId xmlns:a16="http://schemas.microsoft.com/office/drawing/2014/main" id="{D70BF8E9-745F-E646-8ACE-EA0841D80D16}"/>
              </a:ext>
            </a:extLst>
          </p:cNvPr>
          <p:cNvSpPr>
            <a:spLocks noGrp="1"/>
          </p:cNvSpPr>
          <p:nvPr>
            <p:ph type="title" hasCustomPrompt="1"/>
          </p:nvPr>
        </p:nvSpPr>
        <p:spPr>
          <a:xfrm>
            <a:off x="323850" y="1719827"/>
            <a:ext cx="8496300" cy="1560972"/>
          </a:xfrm>
        </p:spPr>
        <p:txBody>
          <a:bodyPr lIns="216000" rIns="216000" anchor="ctr"/>
          <a:lstStyle>
            <a:lvl1pPr algn="ctr">
              <a:defRPr sz="4800">
                <a:solidFill>
                  <a:schemeClr val="bg1"/>
                </a:solidFill>
              </a:defRPr>
            </a:lvl1pPr>
          </a:lstStyle>
          <a:p>
            <a:r>
              <a:rPr lang="en-GB" noProof="0"/>
              <a:t>Click to add presentation title in two rows</a:t>
            </a:r>
          </a:p>
        </p:txBody>
      </p:sp>
      <p:sp>
        <p:nvSpPr>
          <p:cNvPr id="15" name="Text">
            <a:extLst>
              <a:ext uri="{FF2B5EF4-FFF2-40B4-BE49-F238E27FC236}">
                <a16:creationId xmlns:a16="http://schemas.microsoft.com/office/drawing/2014/main" id="{454F8E95-426A-F348-AA14-06D4E6F905A5}"/>
              </a:ext>
            </a:extLst>
          </p:cNvPr>
          <p:cNvSpPr>
            <a:spLocks noGrp="1"/>
          </p:cNvSpPr>
          <p:nvPr>
            <p:ph type="body" sz="quarter" idx="11" hasCustomPrompt="1"/>
          </p:nvPr>
        </p:nvSpPr>
        <p:spPr>
          <a:xfrm>
            <a:off x="3203576" y="3307558"/>
            <a:ext cx="2736850" cy="715803"/>
          </a:xfrm>
        </p:spPr>
        <p:txBody>
          <a:bodyPr lIns="216000" rIns="216000" anchor="t"/>
          <a:lstStyle>
            <a:lvl1pPr marL="0" indent="-12700" algn="ctr">
              <a:lnSpc>
                <a:spcPct val="95000"/>
              </a:lnSpc>
              <a:spcBef>
                <a:spcPts val="0"/>
              </a:spcBef>
              <a:buNone/>
              <a:tabLst/>
              <a:defRPr b="1" baseline="0">
                <a:solidFill>
                  <a:schemeClr val="bg1"/>
                </a:solidFill>
              </a:defRPr>
            </a:lvl1pPr>
          </a:lstStyle>
          <a:p>
            <a:pPr lvl="0"/>
            <a:r>
              <a:rPr lang="en-GB" noProof="0"/>
              <a:t>Click to add Name of presenter and</a:t>
            </a:r>
            <a:br>
              <a:rPr lang="en-GB" noProof="0"/>
            </a:br>
            <a:r>
              <a:rPr lang="en-GB" noProof="0"/>
              <a:t>Job title</a:t>
            </a:r>
          </a:p>
        </p:txBody>
      </p:sp>
      <p:sp>
        <p:nvSpPr>
          <p:cNvPr id="11" name="Date">
            <a:extLst>
              <a:ext uri="{FF2B5EF4-FFF2-40B4-BE49-F238E27FC236}">
                <a16:creationId xmlns:a16="http://schemas.microsoft.com/office/drawing/2014/main" id="{38CA3AD7-12F8-9F43-820D-33071C26D41A}"/>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25A78C46-0712-4C58-81E3-A1BD8C7CD89A}" type="datetime1">
              <a:rPr lang="sv-SE" noProof="0" smtClean="0"/>
              <a:t>2025-09-04</a:t>
            </a:fld>
            <a:endParaRPr lang="en-GB" noProof="0"/>
          </a:p>
        </p:txBody>
      </p:sp>
      <p:sp>
        <p:nvSpPr>
          <p:cNvPr id="12" name="Number">
            <a:extLst>
              <a:ext uri="{FF2B5EF4-FFF2-40B4-BE49-F238E27FC236}">
                <a16:creationId xmlns:a16="http://schemas.microsoft.com/office/drawing/2014/main" id="{DFED6C3B-4A73-344C-A9A5-F8224178884F}"/>
              </a:ext>
            </a:extLst>
          </p:cNvPr>
          <p:cNvSpPr>
            <a:spLocks noGrp="1"/>
          </p:cNvSpPr>
          <p:nvPr>
            <p:ph type="sldNum" sz="quarter" idx="4"/>
          </p:nvPr>
        </p:nvSpPr>
        <p:spPr>
          <a:xfrm>
            <a:off x="8640418" y="5003475"/>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3" name="Footer">
            <a:extLst>
              <a:ext uri="{FF2B5EF4-FFF2-40B4-BE49-F238E27FC236}">
                <a16:creationId xmlns:a16="http://schemas.microsoft.com/office/drawing/2014/main" id="{3B9E93E1-A5C6-AE48-99D5-A7A443E60A82}"/>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err="1"/>
          </a:p>
        </p:txBody>
      </p:sp>
    </p:spTree>
    <p:extLst>
      <p:ext uri="{BB962C8B-B14F-4D97-AF65-F5344CB8AC3E}">
        <p14:creationId xmlns:p14="http://schemas.microsoft.com/office/powerpoint/2010/main" val="3633448333"/>
      </p:ext>
    </p:extLst>
  </p:cSld>
  <p:clrMapOvr>
    <a:masterClrMapping/>
  </p:clrMapOvr>
  <p:extLst>
    <p:ext uri="{DCECCB84-F9BA-43D5-87BE-67443E8EF086}">
      <p15:sldGuideLst xmlns:p15="http://schemas.microsoft.com/office/powerpoint/2012/main"/>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 Title Start Video">
    <p:spTree>
      <p:nvGrpSpPr>
        <p:cNvPr id="1" name=""/>
        <p:cNvGrpSpPr/>
        <p:nvPr/>
      </p:nvGrpSpPr>
      <p:grpSpPr>
        <a:xfrm>
          <a:off x="0" y="0"/>
          <a:ext cx="0" cy="0"/>
          <a:chOff x="0" y="0"/>
          <a:chExt cx="0" cy="0"/>
        </a:xfrm>
      </p:grpSpPr>
      <p:sp>
        <p:nvSpPr>
          <p:cNvPr id="5" name="Background Video">
            <a:extLst>
              <a:ext uri="{FF2B5EF4-FFF2-40B4-BE49-F238E27FC236}">
                <a16:creationId xmlns:a16="http://schemas.microsoft.com/office/drawing/2014/main" id="{651CB83B-94EA-EF5F-90BA-B16122568FC7}"/>
              </a:ext>
            </a:extLst>
          </p:cNvPr>
          <p:cNvSpPr>
            <a:spLocks noGrp="1"/>
          </p:cNvSpPr>
          <p:nvPr>
            <p:ph type="media" sz="quarter" idx="12" hasCustomPrompt="1"/>
          </p:nvPr>
        </p:nvSpPr>
        <p:spPr>
          <a:xfrm>
            <a:off x="179389" y="158751"/>
            <a:ext cx="8785225" cy="4681538"/>
          </a:xfrm>
          <a:blipFill dpi="0" rotWithShape="1">
            <a:blip r:embed="rId2"/>
            <a:srcRect/>
            <a:tile tx="0" ty="0" sx="100000" sy="100000" flip="none" algn="tl"/>
          </a:blipFill>
        </p:spPr>
        <p:txBody>
          <a:bodyPr vert="horz" lIns="90000" tIns="45720" rIns="90000" bIns="45720" rtlCol="0">
            <a:noAutofit/>
          </a:bodyPr>
          <a:lstStyle>
            <a:lvl1pPr marL="0" indent="0" algn="ctr">
              <a:buNone/>
              <a:defRPr lang="en-GB" sz="800">
                <a:solidFill>
                  <a:schemeClr val="bg1">
                    <a:lumMod val="75000"/>
                  </a:schemeClr>
                </a:solidFill>
              </a:defRPr>
            </a:lvl1pPr>
          </a:lstStyle>
          <a:p>
            <a:pPr marL="171446" lvl="0" indent="-171446" algn="ctr"/>
            <a:r>
              <a:rPr lang="en-GB"/>
              <a:t>Select placeholder and select Insert &gt; Insert Video from this device</a:t>
            </a:r>
          </a:p>
        </p:txBody>
      </p:sp>
      <p:sp>
        <p:nvSpPr>
          <p:cNvPr id="6" name="Title">
            <a:extLst>
              <a:ext uri="{FF2B5EF4-FFF2-40B4-BE49-F238E27FC236}">
                <a16:creationId xmlns:a16="http://schemas.microsoft.com/office/drawing/2014/main" id="{D70BF8E9-745F-E646-8ACE-EA0841D80D16}"/>
              </a:ext>
            </a:extLst>
          </p:cNvPr>
          <p:cNvSpPr>
            <a:spLocks noGrp="1"/>
          </p:cNvSpPr>
          <p:nvPr>
            <p:ph type="title" hasCustomPrompt="1"/>
          </p:nvPr>
        </p:nvSpPr>
        <p:spPr>
          <a:xfrm>
            <a:off x="323850" y="1719827"/>
            <a:ext cx="8496300" cy="1560972"/>
          </a:xfrm>
        </p:spPr>
        <p:txBody>
          <a:bodyPr lIns="216000" rIns="216000" anchor="ctr"/>
          <a:lstStyle>
            <a:lvl1pPr algn="ctr">
              <a:defRPr sz="4800">
                <a:solidFill>
                  <a:schemeClr val="bg1"/>
                </a:solidFill>
              </a:defRPr>
            </a:lvl1pPr>
          </a:lstStyle>
          <a:p>
            <a:r>
              <a:rPr lang="en-GB" noProof="0"/>
              <a:t>Click to add presentation title in two rows</a:t>
            </a:r>
          </a:p>
        </p:txBody>
      </p:sp>
      <p:sp>
        <p:nvSpPr>
          <p:cNvPr id="15" name="Text">
            <a:extLst>
              <a:ext uri="{FF2B5EF4-FFF2-40B4-BE49-F238E27FC236}">
                <a16:creationId xmlns:a16="http://schemas.microsoft.com/office/drawing/2014/main" id="{454F8E95-426A-F348-AA14-06D4E6F905A5}"/>
              </a:ext>
            </a:extLst>
          </p:cNvPr>
          <p:cNvSpPr>
            <a:spLocks noGrp="1"/>
          </p:cNvSpPr>
          <p:nvPr>
            <p:ph type="body" sz="quarter" idx="11" hasCustomPrompt="1"/>
          </p:nvPr>
        </p:nvSpPr>
        <p:spPr>
          <a:xfrm>
            <a:off x="3203576" y="3307558"/>
            <a:ext cx="2736850" cy="715803"/>
          </a:xfrm>
        </p:spPr>
        <p:txBody>
          <a:bodyPr lIns="216000" rIns="216000" anchor="t"/>
          <a:lstStyle>
            <a:lvl1pPr marL="0" indent="-12700" algn="ctr">
              <a:lnSpc>
                <a:spcPct val="95000"/>
              </a:lnSpc>
              <a:spcBef>
                <a:spcPts val="0"/>
              </a:spcBef>
              <a:buNone/>
              <a:tabLst/>
              <a:defRPr b="1" baseline="0">
                <a:solidFill>
                  <a:schemeClr val="bg1"/>
                </a:solidFill>
              </a:defRPr>
            </a:lvl1pPr>
          </a:lstStyle>
          <a:p>
            <a:pPr lvl="0"/>
            <a:r>
              <a:rPr lang="en-GB" noProof="0"/>
              <a:t>Click to add Name of presenter and</a:t>
            </a:r>
            <a:br>
              <a:rPr lang="en-GB" noProof="0"/>
            </a:br>
            <a:r>
              <a:rPr lang="en-GB" noProof="0"/>
              <a:t>Job title</a:t>
            </a:r>
          </a:p>
        </p:txBody>
      </p:sp>
      <p:sp>
        <p:nvSpPr>
          <p:cNvPr id="11" name="Date">
            <a:extLst>
              <a:ext uri="{FF2B5EF4-FFF2-40B4-BE49-F238E27FC236}">
                <a16:creationId xmlns:a16="http://schemas.microsoft.com/office/drawing/2014/main" id="{38CA3AD7-12F8-9F43-820D-33071C26D41A}"/>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33D96B24-702B-4802-BA6E-D6DD8C53B609}" type="datetime1">
              <a:rPr lang="sv-SE" noProof="0" smtClean="0"/>
              <a:t>2025-09-04</a:t>
            </a:fld>
            <a:endParaRPr lang="en-GB" noProof="0"/>
          </a:p>
        </p:txBody>
      </p:sp>
      <p:sp>
        <p:nvSpPr>
          <p:cNvPr id="12" name="Number">
            <a:extLst>
              <a:ext uri="{FF2B5EF4-FFF2-40B4-BE49-F238E27FC236}">
                <a16:creationId xmlns:a16="http://schemas.microsoft.com/office/drawing/2014/main" id="{DFED6C3B-4A73-344C-A9A5-F8224178884F}"/>
              </a:ext>
            </a:extLst>
          </p:cNvPr>
          <p:cNvSpPr>
            <a:spLocks noGrp="1"/>
          </p:cNvSpPr>
          <p:nvPr>
            <p:ph type="sldNum" sz="quarter" idx="4"/>
          </p:nvPr>
        </p:nvSpPr>
        <p:spPr>
          <a:xfrm>
            <a:off x="8640418" y="5003475"/>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3" name="Footer">
            <a:extLst>
              <a:ext uri="{FF2B5EF4-FFF2-40B4-BE49-F238E27FC236}">
                <a16:creationId xmlns:a16="http://schemas.microsoft.com/office/drawing/2014/main" id="{3B9E93E1-A5C6-AE48-99D5-A7A443E60A82}"/>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err="1"/>
          </a:p>
        </p:txBody>
      </p:sp>
    </p:spTree>
    <p:extLst>
      <p:ext uri="{BB962C8B-B14F-4D97-AF65-F5344CB8AC3E}">
        <p14:creationId xmlns:p14="http://schemas.microsoft.com/office/powerpoint/2010/main" val="2317554779"/>
      </p:ext>
    </p:extLst>
  </p:cSld>
  <p:clrMapOvr>
    <a:masterClrMapping/>
  </p:clrMapOvr>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2 Agenda Arrows">
    <p:spTree>
      <p:nvGrpSpPr>
        <p:cNvPr id="1" name=""/>
        <p:cNvGrpSpPr/>
        <p:nvPr/>
      </p:nvGrpSpPr>
      <p:grpSpPr>
        <a:xfrm>
          <a:off x="0" y="0"/>
          <a:ext cx="0" cy="0"/>
          <a:chOff x="0" y="0"/>
          <a:chExt cx="0" cy="0"/>
        </a:xfrm>
      </p:grpSpPr>
      <p:sp>
        <p:nvSpPr>
          <p:cNvPr id="9" name="Rektangel">
            <a:extLst>
              <a:ext uri="{FF2B5EF4-FFF2-40B4-BE49-F238E27FC236}">
                <a16:creationId xmlns:a16="http://schemas.microsoft.com/office/drawing/2014/main" id="{4DCAD1AE-8D97-2642-99F1-C37A733B7968}"/>
              </a:ext>
            </a:extLst>
          </p:cNvPr>
          <p:cNvSpPr/>
          <p:nvPr userDrawn="1"/>
        </p:nvSpPr>
        <p:spPr>
          <a:xfrm>
            <a:off x="179389" y="158751"/>
            <a:ext cx="5761037" cy="46815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0" name="Image">
            <a:extLst>
              <a:ext uri="{FF2B5EF4-FFF2-40B4-BE49-F238E27FC236}">
                <a16:creationId xmlns:a16="http://schemas.microsoft.com/office/drawing/2014/main" id="{69385D67-02A2-3847-B925-568E12036F00}"/>
              </a:ext>
            </a:extLst>
          </p:cNvPr>
          <p:cNvSpPr>
            <a:spLocks noGrp="1"/>
          </p:cNvSpPr>
          <p:nvPr>
            <p:ph type="pic" sz="quarter" idx="15" hasCustomPrompt="1"/>
          </p:nvPr>
        </p:nvSpPr>
        <p:spPr>
          <a:xfrm>
            <a:off x="6084888" y="158751"/>
            <a:ext cx="2879725" cy="4681538"/>
          </a:xfrm>
          <a:blipFill dpi="0" rotWithShape="1">
            <a:blip r:embed="rId2"/>
            <a:srcRect/>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17" name="Title">
            <a:extLst>
              <a:ext uri="{FF2B5EF4-FFF2-40B4-BE49-F238E27FC236}">
                <a16:creationId xmlns:a16="http://schemas.microsoft.com/office/drawing/2014/main" id="{2A7B5CC4-3731-AB42-B5BE-731595BD8458}"/>
              </a:ext>
            </a:extLst>
          </p:cNvPr>
          <p:cNvSpPr>
            <a:spLocks noGrp="1"/>
          </p:cNvSpPr>
          <p:nvPr>
            <p:ph type="title" hasCustomPrompt="1"/>
          </p:nvPr>
        </p:nvSpPr>
        <p:spPr>
          <a:xfrm>
            <a:off x="323850" y="239376"/>
            <a:ext cx="5616574" cy="625283"/>
          </a:xfrm>
        </p:spPr>
        <p:txBody>
          <a:bodyPr rIns="216000"/>
          <a:lstStyle>
            <a:lvl1pPr>
              <a:defRPr sz="3000" spc="-70" baseline="0"/>
            </a:lvl1pPr>
          </a:lstStyle>
          <a:p>
            <a:r>
              <a:rPr lang="en-GB"/>
              <a:t>Add agenda headline</a:t>
            </a:r>
          </a:p>
        </p:txBody>
      </p:sp>
      <p:sp>
        <p:nvSpPr>
          <p:cNvPr id="12" name="Text">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323852" y="1093014"/>
            <a:ext cx="5616574" cy="3529178"/>
          </a:xfrm>
        </p:spPr>
        <p:txBody>
          <a:bodyPr rIns="216000"/>
          <a:lstStyle>
            <a:lvl1pPr marL="266693" indent="-266693">
              <a:lnSpc>
                <a:spcPct val="95000"/>
              </a:lnSpc>
              <a:spcBef>
                <a:spcPts val="1000"/>
              </a:spcBef>
              <a:spcAft>
                <a:spcPts val="0"/>
              </a:spcAft>
              <a:buFontTx/>
              <a:buBlip>
                <a:blip r:embed="rId3">
                  <a:extLst>
                    <a:ext uri="{96DAC541-7B7A-43D3-8B79-37D633B846F1}">
                      <asvg:svgBlip xmlns:asvg="http://schemas.microsoft.com/office/drawing/2016/SVG/main" r:embed="rId4"/>
                    </a:ext>
                  </a:extLst>
                </a:blip>
              </a:buBlip>
              <a:tabLst/>
              <a:defRPr sz="1800" b="1"/>
            </a:lvl1pPr>
            <a:lvl2pPr marL="276218" indent="0">
              <a:spcBef>
                <a:spcPts val="0"/>
              </a:spcBef>
              <a:spcAft>
                <a:spcPts val="1000"/>
              </a:spcAft>
              <a:buFontTx/>
              <a:buNone/>
              <a:tabLst/>
              <a:defRPr sz="1400" b="0"/>
            </a:lvl2pPr>
            <a:lvl3pPr marL="15875" indent="-15875">
              <a:tabLst/>
              <a:defRPr sz="2400" b="1"/>
            </a:lvl3pPr>
            <a:lvl4pPr marL="15875" indent="-15875">
              <a:tabLst/>
              <a:defRPr sz="2400" b="1"/>
            </a:lvl4pPr>
            <a:lvl5pPr marL="15875" indent="-15875">
              <a:tabLst/>
              <a:defRPr sz="2400" b="1"/>
            </a:lvl5pPr>
          </a:lstStyle>
          <a:p>
            <a:pPr lvl="0"/>
            <a:r>
              <a:rPr lang="en-GB" noProof="0"/>
              <a:t>Click to add text</a:t>
            </a:r>
          </a:p>
          <a:p>
            <a:pPr lvl="1"/>
            <a:r>
              <a:rPr lang="en-GB" noProof="0"/>
              <a:t>Second level (press TAB)</a:t>
            </a:r>
          </a:p>
        </p:txBody>
      </p:sp>
      <p:sp>
        <p:nvSpPr>
          <p:cNvPr id="38" name="Date">
            <a:extLst>
              <a:ext uri="{FF2B5EF4-FFF2-40B4-BE49-F238E27FC236}">
                <a16:creationId xmlns:a16="http://schemas.microsoft.com/office/drawing/2014/main" id="{B7D04508-015B-A24C-A068-9517A03041E5}"/>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0267399C-4572-448C-BDE1-A42B50C0246A}" type="datetime1">
              <a:rPr lang="sv-SE" noProof="0" smtClean="0"/>
              <a:t>2025-09-04</a:t>
            </a:fld>
            <a:endParaRPr lang="en-GB" noProof="0"/>
          </a:p>
        </p:txBody>
      </p:sp>
      <p:sp>
        <p:nvSpPr>
          <p:cNvPr id="39" name="Number">
            <a:extLst>
              <a:ext uri="{FF2B5EF4-FFF2-40B4-BE49-F238E27FC236}">
                <a16:creationId xmlns:a16="http://schemas.microsoft.com/office/drawing/2014/main" id="{24E3E452-24F0-1B44-9014-429AC576B5B6}"/>
              </a:ext>
            </a:extLst>
          </p:cNvPr>
          <p:cNvSpPr>
            <a:spLocks noGrp="1"/>
          </p:cNvSpPr>
          <p:nvPr>
            <p:ph type="sldNum" sz="quarter" idx="4"/>
          </p:nvPr>
        </p:nvSpPr>
        <p:spPr>
          <a:xfrm>
            <a:off x="8640418" y="5003475"/>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3" name="Footer">
            <a:extLst>
              <a:ext uri="{FF2B5EF4-FFF2-40B4-BE49-F238E27FC236}">
                <a16:creationId xmlns:a16="http://schemas.microsoft.com/office/drawing/2014/main" id="{B10204F0-D72F-7C43-9047-C52F851EBA3E}"/>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3721942005"/>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2 Agenda Numbers">
    <p:spTree>
      <p:nvGrpSpPr>
        <p:cNvPr id="1" name=""/>
        <p:cNvGrpSpPr/>
        <p:nvPr/>
      </p:nvGrpSpPr>
      <p:grpSpPr>
        <a:xfrm>
          <a:off x="0" y="0"/>
          <a:ext cx="0" cy="0"/>
          <a:chOff x="0" y="0"/>
          <a:chExt cx="0" cy="0"/>
        </a:xfrm>
      </p:grpSpPr>
      <p:sp>
        <p:nvSpPr>
          <p:cNvPr id="9" name="Rektangel">
            <a:extLst>
              <a:ext uri="{FF2B5EF4-FFF2-40B4-BE49-F238E27FC236}">
                <a16:creationId xmlns:a16="http://schemas.microsoft.com/office/drawing/2014/main" id="{4DCAD1AE-8D97-2642-99F1-C37A733B7968}"/>
              </a:ext>
            </a:extLst>
          </p:cNvPr>
          <p:cNvSpPr/>
          <p:nvPr userDrawn="1"/>
        </p:nvSpPr>
        <p:spPr>
          <a:xfrm>
            <a:off x="179389" y="158751"/>
            <a:ext cx="5761037" cy="46815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0" name="Image">
            <a:extLst>
              <a:ext uri="{FF2B5EF4-FFF2-40B4-BE49-F238E27FC236}">
                <a16:creationId xmlns:a16="http://schemas.microsoft.com/office/drawing/2014/main" id="{69385D67-02A2-3847-B925-568E12036F00}"/>
              </a:ext>
            </a:extLst>
          </p:cNvPr>
          <p:cNvSpPr>
            <a:spLocks noGrp="1"/>
          </p:cNvSpPr>
          <p:nvPr>
            <p:ph type="pic" sz="quarter" idx="15" hasCustomPrompt="1"/>
          </p:nvPr>
        </p:nvSpPr>
        <p:spPr>
          <a:xfrm>
            <a:off x="6084888" y="158751"/>
            <a:ext cx="2879725" cy="4681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17" name="Title">
            <a:extLst>
              <a:ext uri="{FF2B5EF4-FFF2-40B4-BE49-F238E27FC236}">
                <a16:creationId xmlns:a16="http://schemas.microsoft.com/office/drawing/2014/main" id="{2A7B5CC4-3731-AB42-B5BE-731595BD8458}"/>
              </a:ext>
            </a:extLst>
          </p:cNvPr>
          <p:cNvSpPr>
            <a:spLocks noGrp="1"/>
          </p:cNvSpPr>
          <p:nvPr>
            <p:ph type="title" hasCustomPrompt="1"/>
          </p:nvPr>
        </p:nvSpPr>
        <p:spPr>
          <a:xfrm>
            <a:off x="323850" y="239376"/>
            <a:ext cx="5616574" cy="625283"/>
          </a:xfrm>
        </p:spPr>
        <p:txBody>
          <a:bodyPr rIns="216000"/>
          <a:lstStyle>
            <a:lvl1pPr>
              <a:defRPr sz="3000" spc="-70" baseline="0"/>
            </a:lvl1pPr>
          </a:lstStyle>
          <a:p>
            <a:r>
              <a:rPr lang="en-GB"/>
              <a:t>Add agenda headline</a:t>
            </a:r>
          </a:p>
        </p:txBody>
      </p:sp>
      <p:sp>
        <p:nvSpPr>
          <p:cNvPr id="12" name="Text">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323852" y="1093014"/>
            <a:ext cx="5616574" cy="3529178"/>
          </a:xfrm>
        </p:spPr>
        <p:txBody>
          <a:bodyPr rIns="216000"/>
          <a:lstStyle>
            <a:lvl1pPr marL="342892" indent="-342892">
              <a:lnSpc>
                <a:spcPct val="95000"/>
              </a:lnSpc>
              <a:spcBef>
                <a:spcPts val="1000"/>
              </a:spcBef>
              <a:spcAft>
                <a:spcPts val="0"/>
              </a:spcAft>
              <a:buFont typeface="+mj-lt"/>
              <a:buAutoNum type="arabicPeriod"/>
              <a:tabLst/>
              <a:defRPr sz="1800" b="1"/>
            </a:lvl1pPr>
            <a:lvl2pPr marL="355591" indent="0">
              <a:spcBef>
                <a:spcPts val="0"/>
              </a:spcBef>
              <a:buNone/>
              <a:tabLst/>
              <a:defRPr sz="1400" b="0"/>
            </a:lvl2pPr>
            <a:lvl3pPr marL="15875" indent="-15875">
              <a:tabLst/>
              <a:defRPr sz="2400" b="1"/>
            </a:lvl3pPr>
            <a:lvl4pPr marL="15875" indent="-15875">
              <a:tabLst/>
              <a:defRPr sz="2400" b="1"/>
            </a:lvl4pPr>
            <a:lvl5pPr marL="15875" indent="-15875">
              <a:tabLst/>
              <a:defRPr sz="2400" b="1"/>
            </a:lvl5pPr>
          </a:lstStyle>
          <a:p>
            <a:pPr lvl="0"/>
            <a:r>
              <a:rPr lang="en-GB" noProof="0"/>
              <a:t>Click to add text</a:t>
            </a:r>
          </a:p>
          <a:p>
            <a:pPr lvl="1"/>
            <a:r>
              <a:rPr lang="en-GB" noProof="0"/>
              <a:t>Second level (Press TAB)</a:t>
            </a:r>
          </a:p>
        </p:txBody>
      </p:sp>
      <p:sp>
        <p:nvSpPr>
          <p:cNvPr id="38" name="Date">
            <a:extLst>
              <a:ext uri="{FF2B5EF4-FFF2-40B4-BE49-F238E27FC236}">
                <a16:creationId xmlns:a16="http://schemas.microsoft.com/office/drawing/2014/main" id="{B7D04508-015B-A24C-A068-9517A03041E5}"/>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1FC0B9E5-63F4-4D2B-9109-52CF3E58D97A}" type="datetime1">
              <a:rPr lang="sv-SE" noProof="0" smtClean="0"/>
              <a:t>2025-09-04</a:t>
            </a:fld>
            <a:endParaRPr lang="en-GB" noProof="0"/>
          </a:p>
        </p:txBody>
      </p:sp>
      <p:sp>
        <p:nvSpPr>
          <p:cNvPr id="39" name="Number">
            <a:extLst>
              <a:ext uri="{FF2B5EF4-FFF2-40B4-BE49-F238E27FC236}">
                <a16:creationId xmlns:a16="http://schemas.microsoft.com/office/drawing/2014/main" id="{24E3E452-24F0-1B44-9014-429AC576B5B6}"/>
              </a:ext>
            </a:extLst>
          </p:cNvPr>
          <p:cNvSpPr>
            <a:spLocks noGrp="1"/>
          </p:cNvSpPr>
          <p:nvPr>
            <p:ph type="sldNum" sz="quarter" idx="4"/>
          </p:nvPr>
        </p:nvSpPr>
        <p:spPr>
          <a:xfrm>
            <a:off x="8640418" y="5003475"/>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3" name="Footer">
            <a:extLst>
              <a:ext uri="{FF2B5EF4-FFF2-40B4-BE49-F238E27FC236}">
                <a16:creationId xmlns:a16="http://schemas.microsoft.com/office/drawing/2014/main" id="{B10204F0-D72F-7C43-9047-C52F851EBA3E}"/>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834180297"/>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 Text only">
    <p:bg>
      <p:bgPr>
        <a:solidFill>
          <a:schemeClr val="bg2"/>
        </a:solidFill>
        <a:effectLst/>
      </p:bgPr>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323848" y="525600"/>
            <a:ext cx="7056440" cy="1498314"/>
          </a:xfrm>
        </p:spPr>
        <p:txBody>
          <a:bodyPr rIns="144000"/>
          <a:lstStyle>
            <a:lvl1pPr>
              <a:defRPr sz="3000" spc="-50"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50" y="276227"/>
            <a:ext cx="7056438" cy="249374"/>
          </a:xfrm>
        </p:spPr>
        <p:txBody>
          <a:bodyPr lIns="111600" rIns="144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chapter tracker</a:t>
            </a:r>
          </a:p>
        </p:txBody>
      </p:sp>
      <p:sp>
        <p:nvSpPr>
          <p:cNvPr id="12" name="Text 1">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323851" y="2103438"/>
            <a:ext cx="4176712" cy="2592387"/>
          </a:xfrm>
        </p:spPr>
        <p:txBody>
          <a:bodyPr rIns="180000"/>
          <a:lstStyle>
            <a:lvl1pPr>
              <a:defRPr sz="1400"/>
            </a:lvl1pPr>
            <a:lvl2pPr>
              <a:defRPr sz="1200"/>
            </a:lvl2pPr>
            <a:lvl3pPr>
              <a:defRPr sz="1200"/>
            </a:lvl3pPr>
            <a:lvl4pPr>
              <a:defRPr sz="1200"/>
            </a:lvl4pPr>
            <a:lvl5pPr>
              <a:defRPr sz="12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1" name="Text 2">
            <a:extLst>
              <a:ext uri="{FF2B5EF4-FFF2-40B4-BE49-F238E27FC236}">
                <a16:creationId xmlns:a16="http://schemas.microsoft.com/office/drawing/2014/main" id="{C849FC5B-B320-ED44-9AC1-132066E1AA48}"/>
              </a:ext>
            </a:extLst>
          </p:cNvPr>
          <p:cNvSpPr>
            <a:spLocks noGrp="1"/>
          </p:cNvSpPr>
          <p:nvPr>
            <p:ph type="body" sz="quarter" idx="15" hasCustomPrompt="1"/>
          </p:nvPr>
        </p:nvSpPr>
        <p:spPr>
          <a:xfrm>
            <a:off x="4643438" y="2103438"/>
            <a:ext cx="4176712" cy="2592387"/>
          </a:xfrm>
        </p:spPr>
        <p:txBody>
          <a:bodyPr rIns="180000"/>
          <a:lstStyle>
            <a:lvl1pPr>
              <a:defRPr sz="1400"/>
            </a:lvl1pPr>
            <a:lvl2pPr>
              <a:defRPr sz="1200"/>
            </a:lvl2pPr>
            <a:lvl3pPr>
              <a:defRPr sz="1200"/>
            </a:lvl3pPr>
            <a:lvl4pPr>
              <a:defRPr sz="1200"/>
            </a:lvl4pPr>
            <a:lvl5pPr>
              <a:defRPr sz="12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5" name="Date">
            <a:extLst>
              <a:ext uri="{FF2B5EF4-FFF2-40B4-BE49-F238E27FC236}">
                <a16:creationId xmlns:a16="http://schemas.microsoft.com/office/drawing/2014/main" id="{EBF909F0-CE1B-3D46-83B7-E4DA279DC19B}"/>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3A914C8A-DF4E-426D-95BC-004FDACE4E3F}" type="datetime1">
              <a:rPr lang="sv-SE" noProof="0" smtClean="0"/>
              <a:t>2025-09-04</a:t>
            </a:fld>
            <a:endParaRPr lang="en-GB" noProof="0"/>
          </a:p>
        </p:txBody>
      </p:sp>
      <p:sp>
        <p:nvSpPr>
          <p:cNvPr id="36" name="Number">
            <a:extLst>
              <a:ext uri="{FF2B5EF4-FFF2-40B4-BE49-F238E27FC236}">
                <a16:creationId xmlns:a16="http://schemas.microsoft.com/office/drawing/2014/main" id="{EB2FF840-5D29-6845-91DA-E82490F28637}"/>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0" name="Footer">
            <a:extLst>
              <a:ext uri="{FF2B5EF4-FFF2-40B4-BE49-F238E27FC236}">
                <a16:creationId xmlns:a16="http://schemas.microsoft.com/office/drawing/2014/main" id="{9081F78F-04AB-B54E-AA0D-682C305BD0C3}"/>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4177609003"/>
      </p:ext>
    </p:extLst>
  </p:cSld>
  <p:clrMapOvr>
    <a:masterClrMapping/>
  </p:clrMapOvr>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2 Agenda on image">
    <p:spTree>
      <p:nvGrpSpPr>
        <p:cNvPr id="1" name=""/>
        <p:cNvGrpSpPr/>
        <p:nvPr/>
      </p:nvGrpSpPr>
      <p:grpSpPr>
        <a:xfrm>
          <a:off x="0" y="0"/>
          <a:ext cx="0" cy="0"/>
          <a:chOff x="0" y="0"/>
          <a:chExt cx="0" cy="0"/>
        </a:xfrm>
      </p:grpSpPr>
      <p:sp>
        <p:nvSpPr>
          <p:cNvPr id="11" name="Background image">
            <a:extLst>
              <a:ext uri="{FF2B5EF4-FFF2-40B4-BE49-F238E27FC236}">
                <a16:creationId xmlns:a16="http://schemas.microsoft.com/office/drawing/2014/main" id="{7DE09709-4C7A-2B45-91B8-828515344C2F}"/>
              </a:ext>
            </a:extLst>
          </p:cNvPr>
          <p:cNvSpPr>
            <a:spLocks noGrp="1"/>
          </p:cNvSpPr>
          <p:nvPr>
            <p:ph type="pic" sz="quarter" idx="10" hasCustomPrompt="1"/>
          </p:nvPr>
        </p:nvSpPr>
        <p:spPr>
          <a:xfrm>
            <a:off x="179389" y="158751"/>
            <a:ext cx="8785322" cy="4681538"/>
          </a:xfrm>
          <a:blipFill dpi="0" rotWithShape="1">
            <a:blip r:embed="rId2"/>
            <a:srcRect/>
            <a:tile tx="0" ty="0" sx="100000" sy="100000" flip="none" algn="tl"/>
          </a:blipFill>
        </p:spPr>
        <p:txBody>
          <a:bodyPr/>
          <a:lstStyle>
            <a:lvl1pPr algn="r">
              <a:buNone/>
              <a:defRPr sz="800">
                <a:solidFill>
                  <a:schemeClr val="bg1">
                    <a:lumMod val="75000"/>
                  </a:schemeClr>
                </a:solidFill>
              </a:defRPr>
            </a:lvl1pPr>
          </a:lstStyle>
          <a:p>
            <a:r>
              <a:rPr lang="en-GB" noProof="0"/>
              <a:t>Select placeholder and select Insert &gt; Pictures</a:t>
            </a:r>
          </a:p>
        </p:txBody>
      </p:sp>
      <p:sp>
        <p:nvSpPr>
          <p:cNvPr id="17" name="Title">
            <a:extLst>
              <a:ext uri="{FF2B5EF4-FFF2-40B4-BE49-F238E27FC236}">
                <a16:creationId xmlns:a16="http://schemas.microsoft.com/office/drawing/2014/main" id="{2A7B5CC4-3731-AB42-B5BE-731595BD8458}"/>
              </a:ext>
            </a:extLst>
          </p:cNvPr>
          <p:cNvSpPr>
            <a:spLocks noGrp="1"/>
          </p:cNvSpPr>
          <p:nvPr>
            <p:ph type="title" hasCustomPrompt="1"/>
          </p:nvPr>
        </p:nvSpPr>
        <p:spPr>
          <a:xfrm>
            <a:off x="323850" y="239376"/>
            <a:ext cx="5616574" cy="625283"/>
          </a:xfrm>
        </p:spPr>
        <p:txBody>
          <a:bodyPr rIns="216000"/>
          <a:lstStyle>
            <a:lvl1pPr>
              <a:defRPr sz="3000" spc="-70" baseline="0">
                <a:solidFill>
                  <a:schemeClr val="bg1"/>
                </a:solidFill>
              </a:defRPr>
            </a:lvl1pPr>
          </a:lstStyle>
          <a:p>
            <a:r>
              <a:rPr lang="en-GB"/>
              <a:t>Add agenda headline</a:t>
            </a:r>
          </a:p>
        </p:txBody>
      </p:sp>
      <p:sp>
        <p:nvSpPr>
          <p:cNvPr id="38" name="Date">
            <a:extLst>
              <a:ext uri="{FF2B5EF4-FFF2-40B4-BE49-F238E27FC236}">
                <a16:creationId xmlns:a16="http://schemas.microsoft.com/office/drawing/2014/main" id="{B7D04508-015B-A24C-A068-9517A03041E5}"/>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703040AA-63D9-420A-A596-EF75B7CA7A65}" type="datetime1">
              <a:rPr lang="sv-SE" noProof="0" smtClean="0"/>
              <a:t>2025-09-04</a:t>
            </a:fld>
            <a:endParaRPr lang="en-GB" noProof="0"/>
          </a:p>
        </p:txBody>
      </p:sp>
      <p:sp>
        <p:nvSpPr>
          <p:cNvPr id="39" name="Number">
            <a:extLst>
              <a:ext uri="{FF2B5EF4-FFF2-40B4-BE49-F238E27FC236}">
                <a16:creationId xmlns:a16="http://schemas.microsoft.com/office/drawing/2014/main" id="{24E3E452-24F0-1B44-9014-429AC576B5B6}"/>
              </a:ext>
            </a:extLst>
          </p:cNvPr>
          <p:cNvSpPr>
            <a:spLocks noGrp="1"/>
          </p:cNvSpPr>
          <p:nvPr>
            <p:ph type="sldNum" sz="quarter" idx="4"/>
          </p:nvPr>
        </p:nvSpPr>
        <p:spPr>
          <a:xfrm>
            <a:off x="8640418" y="5003475"/>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3" name="Footer">
            <a:extLst>
              <a:ext uri="{FF2B5EF4-FFF2-40B4-BE49-F238E27FC236}">
                <a16:creationId xmlns:a16="http://schemas.microsoft.com/office/drawing/2014/main" id="{B10204F0-D72F-7C43-9047-C52F851EBA3E}"/>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
        <p:nvSpPr>
          <p:cNvPr id="2" name="Text">
            <a:extLst>
              <a:ext uri="{FF2B5EF4-FFF2-40B4-BE49-F238E27FC236}">
                <a16:creationId xmlns:a16="http://schemas.microsoft.com/office/drawing/2014/main" id="{3B124590-8CB4-A634-93E8-0903CD3D3886}"/>
              </a:ext>
            </a:extLst>
          </p:cNvPr>
          <p:cNvSpPr>
            <a:spLocks noGrp="1"/>
          </p:cNvSpPr>
          <p:nvPr>
            <p:ph type="body" sz="quarter" idx="13" hasCustomPrompt="1"/>
          </p:nvPr>
        </p:nvSpPr>
        <p:spPr>
          <a:xfrm>
            <a:off x="323852" y="1093014"/>
            <a:ext cx="5616574" cy="3529178"/>
          </a:xfrm>
        </p:spPr>
        <p:txBody>
          <a:bodyPr rIns="216000"/>
          <a:lstStyle>
            <a:lvl1pPr marL="342892" indent="-342892">
              <a:lnSpc>
                <a:spcPct val="95000"/>
              </a:lnSpc>
              <a:spcBef>
                <a:spcPts val="1000"/>
              </a:spcBef>
              <a:spcAft>
                <a:spcPts val="0"/>
              </a:spcAft>
              <a:buFont typeface="+mj-lt"/>
              <a:buAutoNum type="arabicPeriod"/>
              <a:tabLst/>
              <a:defRPr sz="1800" b="1">
                <a:solidFill>
                  <a:schemeClr val="bg1"/>
                </a:solidFill>
              </a:defRPr>
            </a:lvl1pPr>
            <a:lvl2pPr marL="355591" indent="0">
              <a:spcBef>
                <a:spcPts val="0"/>
              </a:spcBef>
              <a:buNone/>
              <a:tabLst/>
              <a:defRPr sz="1400" b="0">
                <a:solidFill>
                  <a:schemeClr val="bg1"/>
                </a:solidFill>
              </a:defRPr>
            </a:lvl2pPr>
            <a:lvl3pPr marL="15875" indent="-15875">
              <a:tabLst/>
              <a:defRPr sz="2400" b="1"/>
            </a:lvl3pPr>
            <a:lvl4pPr marL="15875" indent="-15875">
              <a:tabLst/>
              <a:defRPr sz="2400" b="1"/>
            </a:lvl4pPr>
            <a:lvl5pPr marL="15875" indent="-15875">
              <a:tabLst/>
              <a:defRPr sz="2400" b="1"/>
            </a:lvl5pPr>
          </a:lstStyle>
          <a:p>
            <a:pPr lvl="0"/>
            <a:r>
              <a:rPr lang="en-GB" noProof="0"/>
              <a:t>Click to add text</a:t>
            </a:r>
          </a:p>
          <a:p>
            <a:pPr lvl="1"/>
            <a:r>
              <a:rPr lang="en-GB" noProof="0"/>
              <a:t>Second level (Press TAB)</a:t>
            </a:r>
          </a:p>
        </p:txBody>
      </p:sp>
    </p:spTree>
    <p:extLst>
      <p:ext uri="{BB962C8B-B14F-4D97-AF65-F5344CB8AC3E}">
        <p14:creationId xmlns:p14="http://schemas.microsoft.com/office/powerpoint/2010/main" val="3754032121"/>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3 Chapter divider">
    <p:spTree>
      <p:nvGrpSpPr>
        <p:cNvPr id="1" name=""/>
        <p:cNvGrpSpPr/>
        <p:nvPr/>
      </p:nvGrpSpPr>
      <p:grpSpPr>
        <a:xfrm>
          <a:off x="0" y="0"/>
          <a:ext cx="0" cy="0"/>
          <a:chOff x="0" y="0"/>
          <a:chExt cx="0" cy="0"/>
        </a:xfrm>
      </p:grpSpPr>
      <p:sp>
        <p:nvSpPr>
          <p:cNvPr id="3" name="Background image">
            <a:extLst>
              <a:ext uri="{FF2B5EF4-FFF2-40B4-BE49-F238E27FC236}">
                <a16:creationId xmlns:a16="http://schemas.microsoft.com/office/drawing/2014/main" id="{25798999-2A1E-2547-A8D5-4373B7132ADB}"/>
              </a:ext>
            </a:extLst>
          </p:cNvPr>
          <p:cNvSpPr>
            <a:spLocks noGrp="1"/>
          </p:cNvSpPr>
          <p:nvPr>
            <p:ph type="pic" sz="quarter" idx="10" hasCustomPrompt="1"/>
          </p:nvPr>
        </p:nvSpPr>
        <p:spPr>
          <a:xfrm>
            <a:off x="179389" y="158751"/>
            <a:ext cx="8785322" cy="4681538"/>
          </a:xfrm>
          <a:blipFill dpi="0" rotWithShape="1">
            <a:blip r:embed="rId2"/>
            <a:srcRect/>
            <a:tile tx="0" ty="0" sx="100000" sy="100000" flip="none" algn="tl"/>
          </a:blipFill>
        </p:spPr>
        <p:txBody>
          <a:bodyPr/>
          <a:lstStyle>
            <a:lvl1pPr algn="r">
              <a:buNone/>
              <a:defRPr sz="800">
                <a:solidFill>
                  <a:schemeClr val="bg1">
                    <a:lumMod val="75000"/>
                  </a:schemeClr>
                </a:solidFill>
              </a:defRPr>
            </a:lvl1pPr>
          </a:lstStyle>
          <a:p>
            <a:r>
              <a:rPr lang="en-GB" noProof="0"/>
              <a:t>Select placeholder and select Insert &gt; Pictures</a:t>
            </a:r>
          </a:p>
        </p:txBody>
      </p:sp>
      <p:sp>
        <p:nvSpPr>
          <p:cNvPr id="8" name="Title">
            <a:extLst>
              <a:ext uri="{FF2B5EF4-FFF2-40B4-BE49-F238E27FC236}">
                <a16:creationId xmlns:a16="http://schemas.microsoft.com/office/drawing/2014/main" id="{D0286019-1596-CC4C-95F2-E2F7E54FE89D}"/>
              </a:ext>
            </a:extLst>
          </p:cNvPr>
          <p:cNvSpPr>
            <a:spLocks noGrp="1"/>
          </p:cNvSpPr>
          <p:nvPr>
            <p:ph type="title" hasCustomPrompt="1"/>
          </p:nvPr>
        </p:nvSpPr>
        <p:spPr>
          <a:xfrm>
            <a:off x="324000" y="1719827"/>
            <a:ext cx="8496000" cy="1560972"/>
          </a:xfrm>
        </p:spPr>
        <p:txBody>
          <a:bodyPr lIns="216000" rIns="216000" anchor="ctr"/>
          <a:lstStyle>
            <a:lvl1pPr algn="ctr">
              <a:defRPr sz="4400">
                <a:solidFill>
                  <a:schemeClr val="bg1"/>
                </a:solidFill>
              </a:defRPr>
            </a:lvl1pPr>
          </a:lstStyle>
          <a:p>
            <a:r>
              <a:rPr lang="en-GB" noProof="0"/>
              <a:t>Click to add chapter </a:t>
            </a:r>
            <a:br>
              <a:rPr lang="en-GB" noProof="0"/>
            </a:br>
            <a:r>
              <a:rPr lang="en-GB" noProof="0"/>
              <a:t>or divider text</a:t>
            </a:r>
          </a:p>
        </p:txBody>
      </p:sp>
      <p:sp>
        <p:nvSpPr>
          <p:cNvPr id="30" name="Navigation">
            <a:extLst>
              <a:ext uri="{FF2B5EF4-FFF2-40B4-BE49-F238E27FC236}">
                <a16:creationId xmlns:a16="http://schemas.microsoft.com/office/drawing/2014/main" id="{E89B3305-CD61-6F45-85AE-0AF738D56906}"/>
              </a:ext>
            </a:extLst>
          </p:cNvPr>
          <p:cNvSpPr>
            <a:spLocks noGrp="1"/>
          </p:cNvSpPr>
          <p:nvPr>
            <p:ph type="body" sz="quarter" idx="14" hasCustomPrompt="1"/>
          </p:nvPr>
        </p:nvSpPr>
        <p:spPr>
          <a:xfrm>
            <a:off x="1763714" y="276227"/>
            <a:ext cx="5616575" cy="276999"/>
          </a:xfrm>
        </p:spPr>
        <p:txBody>
          <a:bodyPr lIns="216000" rIns="216000" anchor="t"/>
          <a:lstStyle>
            <a:lvl1pPr marL="3175" indent="-3175" algn="ctr">
              <a:buNone/>
              <a:tabLst/>
              <a:defRPr sz="1200" b="1">
                <a:solidFill>
                  <a:schemeClr val="bg1"/>
                </a:solidFill>
              </a:defRPr>
            </a:lvl1pPr>
            <a:lvl2pPr>
              <a:buNone/>
              <a:defRPr/>
            </a:lvl2pPr>
            <a:lvl3pPr>
              <a:buNone/>
              <a:defRPr/>
            </a:lvl3pPr>
            <a:lvl4pPr>
              <a:buNone/>
              <a:defRPr/>
            </a:lvl4pPr>
            <a:lvl5pPr>
              <a:buNone/>
              <a:defRPr/>
            </a:lvl5pPr>
          </a:lstStyle>
          <a:p>
            <a:pPr lvl="0"/>
            <a:r>
              <a:rPr lang="en-GB" noProof="0"/>
              <a:t>Click to add navigation/chapter tracker</a:t>
            </a:r>
          </a:p>
        </p:txBody>
      </p:sp>
      <p:sp>
        <p:nvSpPr>
          <p:cNvPr id="11" name="Date">
            <a:extLst>
              <a:ext uri="{FF2B5EF4-FFF2-40B4-BE49-F238E27FC236}">
                <a16:creationId xmlns:a16="http://schemas.microsoft.com/office/drawing/2014/main" id="{38CA3AD7-12F8-9F43-820D-33071C26D41A}"/>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44EB546A-4BCB-4097-B69C-291303FD3F58}" type="datetime1">
              <a:rPr lang="sv-SE" noProof="0" smtClean="0"/>
              <a:t>2025-09-04</a:t>
            </a:fld>
            <a:endParaRPr lang="en-GB" noProof="0"/>
          </a:p>
        </p:txBody>
      </p:sp>
      <p:sp>
        <p:nvSpPr>
          <p:cNvPr id="12" name="Number">
            <a:extLst>
              <a:ext uri="{FF2B5EF4-FFF2-40B4-BE49-F238E27FC236}">
                <a16:creationId xmlns:a16="http://schemas.microsoft.com/office/drawing/2014/main" id="{DFED6C3B-4A73-344C-A9A5-F8224178884F}"/>
              </a:ext>
            </a:extLst>
          </p:cNvPr>
          <p:cNvSpPr>
            <a:spLocks noGrp="1"/>
          </p:cNvSpPr>
          <p:nvPr>
            <p:ph type="sldNum" sz="quarter" idx="4"/>
          </p:nvPr>
        </p:nvSpPr>
        <p:spPr>
          <a:xfrm>
            <a:off x="8640418" y="5003475"/>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9" name="Footer">
            <a:extLst>
              <a:ext uri="{FF2B5EF4-FFF2-40B4-BE49-F238E27FC236}">
                <a16:creationId xmlns:a16="http://schemas.microsoft.com/office/drawing/2014/main" id="{8C9F6B2B-126D-5341-B841-385A749EDBFF}"/>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1941765358"/>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3 Chapter divider Video">
    <p:spTree>
      <p:nvGrpSpPr>
        <p:cNvPr id="1" name=""/>
        <p:cNvGrpSpPr/>
        <p:nvPr/>
      </p:nvGrpSpPr>
      <p:grpSpPr>
        <a:xfrm>
          <a:off x="0" y="0"/>
          <a:ext cx="0" cy="0"/>
          <a:chOff x="0" y="0"/>
          <a:chExt cx="0" cy="0"/>
        </a:xfrm>
      </p:grpSpPr>
      <p:sp>
        <p:nvSpPr>
          <p:cNvPr id="2" name="Background Video">
            <a:extLst>
              <a:ext uri="{FF2B5EF4-FFF2-40B4-BE49-F238E27FC236}">
                <a16:creationId xmlns:a16="http://schemas.microsoft.com/office/drawing/2014/main" id="{592C9D6B-44F7-4C95-4554-049CEF200680}"/>
              </a:ext>
            </a:extLst>
          </p:cNvPr>
          <p:cNvSpPr>
            <a:spLocks noGrp="1"/>
          </p:cNvSpPr>
          <p:nvPr>
            <p:ph type="media" sz="quarter" idx="12" hasCustomPrompt="1"/>
          </p:nvPr>
        </p:nvSpPr>
        <p:spPr>
          <a:xfrm>
            <a:off x="179389" y="158751"/>
            <a:ext cx="8785225" cy="4681538"/>
          </a:xfrm>
          <a:blipFill dpi="0" rotWithShape="1">
            <a:blip r:embed="rId2"/>
            <a:srcRect/>
            <a:tile tx="0" ty="0" sx="100000" sy="100000" flip="none" algn="tl"/>
          </a:blipFill>
        </p:spPr>
        <p:txBody>
          <a:bodyPr vert="horz" lIns="90000" tIns="45720" rIns="90000" bIns="45720" rtlCol="0">
            <a:noAutofit/>
          </a:bodyPr>
          <a:lstStyle>
            <a:lvl1pPr marL="0" indent="0" algn="ctr">
              <a:buNone/>
              <a:defRPr lang="en-GB" sz="800">
                <a:solidFill>
                  <a:schemeClr val="bg1">
                    <a:lumMod val="75000"/>
                  </a:schemeClr>
                </a:solidFill>
              </a:defRPr>
            </a:lvl1pPr>
          </a:lstStyle>
          <a:p>
            <a:pPr marL="171446" lvl="0" indent="-171446" algn="ctr"/>
            <a:r>
              <a:rPr lang="en-GB"/>
              <a:t>Select placeholder and select Insert &gt; Insert Video from this device</a:t>
            </a:r>
          </a:p>
        </p:txBody>
      </p:sp>
      <p:sp>
        <p:nvSpPr>
          <p:cNvPr id="8" name="Title">
            <a:extLst>
              <a:ext uri="{FF2B5EF4-FFF2-40B4-BE49-F238E27FC236}">
                <a16:creationId xmlns:a16="http://schemas.microsoft.com/office/drawing/2014/main" id="{D0286019-1596-CC4C-95F2-E2F7E54FE89D}"/>
              </a:ext>
            </a:extLst>
          </p:cNvPr>
          <p:cNvSpPr>
            <a:spLocks noGrp="1"/>
          </p:cNvSpPr>
          <p:nvPr>
            <p:ph type="title" hasCustomPrompt="1"/>
          </p:nvPr>
        </p:nvSpPr>
        <p:spPr>
          <a:xfrm>
            <a:off x="324000" y="1719827"/>
            <a:ext cx="8496000" cy="1560972"/>
          </a:xfrm>
        </p:spPr>
        <p:txBody>
          <a:bodyPr lIns="216000" rIns="216000" anchor="ctr"/>
          <a:lstStyle>
            <a:lvl1pPr algn="ctr">
              <a:defRPr sz="4400">
                <a:solidFill>
                  <a:schemeClr val="bg1"/>
                </a:solidFill>
              </a:defRPr>
            </a:lvl1pPr>
          </a:lstStyle>
          <a:p>
            <a:r>
              <a:rPr lang="en-GB" noProof="0"/>
              <a:t>Click to add chapter </a:t>
            </a:r>
            <a:br>
              <a:rPr lang="en-GB" noProof="0"/>
            </a:br>
            <a:r>
              <a:rPr lang="en-GB" noProof="0"/>
              <a:t>or divider text</a:t>
            </a:r>
          </a:p>
        </p:txBody>
      </p:sp>
      <p:sp>
        <p:nvSpPr>
          <p:cNvPr id="30" name="Navigation">
            <a:extLst>
              <a:ext uri="{FF2B5EF4-FFF2-40B4-BE49-F238E27FC236}">
                <a16:creationId xmlns:a16="http://schemas.microsoft.com/office/drawing/2014/main" id="{E89B3305-CD61-6F45-85AE-0AF738D56906}"/>
              </a:ext>
            </a:extLst>
          </p:cNvPr>
          <p:cNvSpPr>
            <a:spLocks noGrp="1"/>
          </p:cNvSpPr>
          <p:nvPr>
            <p:ph type="body" sz="quarter" idx="14" hasCustomPrompt="1"/>
          </p:nvPr>
        </p:nvSpPr>
        <p:spPr>
          <a:xfrm>
            <a:off x="1763714" y="276227"/>
            <a:ext cx="5616575" cy="276999"/>
          </a:xfrm>
        </p:spPr>
        <p:txBody>
          <a:bodyPr lIns="216000" rIns="216000" anchor="t"/>
          <a:lstStyle>
            <a:lvl1pPr marL="3175" indent="-3175" algn="ctr">
              <a:buNone/>
              <a:tabLst/>
              <a:defRPr sz="1200" b="1">
                <a:solidFill>
                  <a:schemeClr val="bg1"/>
                </a:solidFill>
              </a:defRPr>
            </a:lvl1pPr>
            <a:lvl2pPr>
              <a:buNone/>
              <a:defRPr/>
            </a:lvl2pPr>
            <a:lvl3pPr>
              <a:buNone/>
              <a:defRPr/>
            </a:lvl3pPr>
            <a:lvl4pPr>
              <a:buNone/>
              <a:defRPr/>
            </a:lvl4pPr>
            <a:lvl5pPr>
              <a:buNone/>
              <a:defRPr/>
            </a:lvl5pPr>
          </a:lstStyle>
          <a:p>
            <a:pPr lvl="0"/>
            <a:r>
              <a:rPr lang="en-GB" noProof="0"/>
              <a:t>Click to add navigation/chapter tracker</a:t>
            </a:r>
          </a:p>
        </p:txBody>
      </p:sp>
      <p:sp>
        <p:nvSpPr>
          <p:cNvPr id="11" name="Date">
            <a:extLst>
              <a:ext uri="{FF2B5EF4-FFF2-40B4-BE49-F238E27FC236}">
                <a16:creationId xmlns:a16="http://schemas.microsoft.com/office/drawing/2014/main" id="{38CA3AD7-12F8-9F43-820D-33071C26D41A}"/>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B7D5DA46-AA22-49E1-85B3-0D9CE2499E9A}" type="datetime1">
              <a:rPr lang="sv-SE" noProof="0" smtClean="0"/>
              <a:t>2025-09-04</a:t>
            </a:fld>
            <a:endParaRPr lang="en-GB" noProof="0"/>
          </a:p>
        </p:txBody>
      </p:sp>
      <p:sp>
        <p:nvSpPr>
          <p:cNvPr id="12" name="Number">
            <a:extLst>
              <a:ext uri="{FF2B5EF4-FFF2-40B4-BE49-F238E27FC236}">
                <a16:creationId xmlns:a16="http://schemas.microsoft.com/office/drawing/2014/main" id="{DFED6C3B-4A73-344C-A9A5-F8224178884F}"/>
              </a:ext>
            </a:extLst>
          </p:cNvPr>
          <p:cNvSpPr>
            <a:spLocks noGrp="1"/>
          </p:cNvSpPr>
          <p:nvPr>
            <p:ph type="sldNum" sz="quarter" idx="4"/>
          </p:nvPr>
        </p:nvSpPr>
        <p:spPr>
          <a:xfrm>
            <a:off x="8640418" y="5003475"/>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9" name="Footer">
            <a:extLst>
              <a:ext uri="{FF2B5EF4-FFF2-40B4-BE49-F238E27FC236}">
                <a16:creationId xmlns:a16="http://schemas.microsoft.com/office/drawing/2014/main" id="{8C9F6B2B-126D-5341-B841-385A749EDBFF}"/>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388671856"/>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4 Statement/Insight">
    <p:bg>
      <p:bgPr>
        <a:solidFill>
          <a:schemeClr val="bg2"/>
        </a:solidFill>
        <a:effectLst/>
      </p:bgPr>
    </p:bg>
    <p:spTree>
      <p:nvGrpSpPr>
        <p:cNvPr id="1" name=""/>
        <p:cNvGrpSpPr/>
        <p:nvPr/>
      </p:nvGrpSpPr>
      <p:grpSpPr>
        <a:xfrm>
          <a:off x="0" y="0"/>
          <a:ext cx="0" cy="0"/>
          <a:chOff x="0" y="0"/>
          <a:chExt cx="0" cy="0"/>
        </a:xfrm>
      </p:grpSpPr>
      <p:sp>
        <p:nvSpPr>
          <p:cNvPr id="12" name="Number">
            <a:extLst>
              <a:ext uri="{FF2B5EF4-FFF2-40B4-BE49-F238E27FC236}">
                <a16:creationId xmlns:a16="http://schemas.microsoft.com/office/drawing/2014/main" id="{DFED6C3B-4A73-344C-A9A5-F8224178884F}"/>
              </a:ext>
            </a:extLst>
          </p:cNvPr>
          <p:cNvSpPr>
            <a:spLocks noGrp="1"/>
          </p:cNvSpPr>
          <p:nvPr>
            <p:ph type="sldNum" sz="quarter" idx="4"/>
          </p:nvPr>
        </p:nvSpPr>
        <p:spPr>
          <a:xfrm>
            <a:off x="8640418" y="5003475"/>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8" name="Footer">
            <a:extLst>
              <a:ext uri="{FF2B5EF4-FFF2-40B4-BE49-F238E27FC236}">
                <a16:creationId xmlns:a16="http://schemas.microsoft.com/office/drawing/2014/main" id="{F76D3661-5BD5-6848-A702-AC0A276D4C4A}"/>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4124878621"/>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4 Statement/Insight image">
    <p:spTree>
      <p:nvGrpSpPr>
        <p:cNvPr id="1" name=""/>
        <p:cNvGrpSpPr/>
        <p:nvPr/>
      </p:nvGrpSpPr>
      <p:grpSpPr>
        <a:xfrm>
          <a:off x="0" y="0"/>
          <a:ext cx="0" cy="0"/>
          <a:chOff x="0" y="0"/>
          <a:chExt cx="0" cy="0"/>
        </a:xfrm>
      </p:grpSpPr>
      <p:sp>
        <p:nvSpPr>
          <p:cNvPr id="3" name="Background image">
            <a:extLst>
              <a:ext uri="{FF2B5EF4-FFF2-40B4-BE49-F238E27FC236}">
                <a16:creationId xmlns:a16="http://schemas.microsoft.com/office/drawing/2014/main" id="{25798999-2A1E-2547-A8D5-4373B7132ADB}"/>
              </a:ext>
            </a:extLst>
          </p:cNvPr>
          <p:cNvSpPr>
            <a:spLocks noGrp="1"/>
          </p:cNvSpPr>
          <p:nvPr>
            <p:ph type="pic" sz="quarter" idx="10" hasCustomPrompt="1"/>
          </p:nvPr>
        </p:nvSpPr>
        <p:spPr>
          <a:xfrm>
            <a:off x="179389" y="158751"/>
            <a:ext cx="8785322" cy="4681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Select placeholder and select Insert &gt; Pictures</a:t>
            </a:r>
          </a:p>
        </p:txBody>
      </p:sp>
      <p:sp>
        <p:nvSpPr>
          <p:cNvPr id="7" name="Title">
            <a:extLst>
              <a:ext uri="{FF2B5EF4-FFF2-40B4-BE49-F238E27FC236}">
                <a16:creationId xmlns:a16="http://schemas.microsoft.com/office/drawing/2014/main" id="{A55878FD-9E3E-1D42-8830-1CCBED7F67BF}"/>
              </a:ext>
            </a:extLst>
          </p:cNvPr>
          <p:cNvSpPr>
            <a:spLocks noGrp="1"/>
          </p:cNvSpPr>
          <p:nvPr>
            <p:ph type="title" hasCustomPrompt="1"/>
          </p:nvPr>
        </p:nvSpPr>
        <p:spPr>
          <a:xfrm>
            <a:off x="324000" y="1719827"/>
            <a:ext cx="8496000" cy="1560972"/>
          </a:xfrm>
        </p:spPr>
        <p:txBody>
          <a:bodyPr lIns="216000" rIns="216000" anchor="ctr"/>
          <a:lstStyle>
            <a:lvl1pPr algn="ctr">
              <a:defRPr sz="4400">
                <a:solidFill>
                  <a:schemeClr val="bg1"/>
                </a:solidFill>
              </a:defRPr>
            </a:lvl1pPr>
          </a:lstStyle>
          <a:p>
            <a:r>
              <a:rPr lang="en-GB" noProof="0"/>
              <a:t>Click to add statement </a:t>
            </a:r>
            <a:br>
              <a:rPr lang="en-GB" noProof="0"/>
            </a:br>
            <a:r>
              <a:rPr lang="en-GB" noProof="0"/>
              <a:t>or insight</a:t>
            </a:r>
          </a:p>
        </p:txBody>
      </p:sp>
      <p:sp>
        <p:nvSpPr>
          <p:cNvPr id="11" name="Date">
            <a:extLst>
              <a:ext uri="{FF2B5EF4-FFF2-40B4-BE49-F238E27FC236}">
                <a16:creationId xmlns:a16="http://schemas.microsoft.com/office/drawing/2014/main" id="{38CA3AD7-12F8-9F43-820D-33071C26D41A}"/>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31114421-944E-442A-A88D-1527C2A25955}" type="datetime1">
              <a:rPr lang="sv-SE" noProof="0" smtClean="0"/>
              <a:t>2025-09-04</a:t>
            </a:fld>
            <a:endParaRPr lang="en-GB" noProof="0"/>
          </a:p>
        </p:txBody>
      </p:sp>
      <p:sp>
        <p:nvSpPr>
          <p:cNvPr id="12" name="Number">
            <a:extLst>
              <a:ext uri="{FF2B5EF4-FFF2-40B4-BE49-F238E27FC236}">
                <a16:creationId xmlns:a16="http://schemas.microsoft.com/office/drawing/2014/main" id="{DFED6C3B-4A73-344C-A9A5-F8224178884F}"/>
              </a:ext>
            </a:extLst>
          </p:cNvPr>
          <p:cNvSpPr>
            <a:spLocks noGrp="1"/>
          </p:cNvSpPr>
          <p:nvPr>
            <p:ph type="sldNum" sz="quarter" idx="4"/>
          </p:nvPr>
        </p:nvSpPr>
        <p:spPr>
          <a:xfrm>
            <a:off x="8640418" y="5003475"/>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9" name="Footer">
            <a:extLst>
              <a:ext uri="{FF2B5EF4-FFF2-40B4-BE49-F238E27FC236}">
                <a16:creationId xmlns:a16="http://schemas.microsoft.com/office/drawing/2014/main" id="{3AFBD1D1-32D7-814D-842E-EBEF1C14001E}"/>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856433404"/>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4 Quote image">
    <p:spTree>
      <p:nvGrpSpPr>
        <p:cNvPr id="1" name=""/>
        <p:cNvGrpSpPr/>
        <p:nvPr/>
      </p:nvGrpSpPr>
      <p:grpSpPr>
        <a:xfrm>
          <a:off x="0" y="0"/>
          <a:ext cx="0" cy="0"/>
          <a:chOff x="0" y="0"/>
          <a:chExt cx="0" cy="0"/>
        </a:xfrm>
      </p:grpSpPr>
      <p:sp>
        <p:nvSpPr>
          <p:cNvPr id="33" name="Background image">
            <a:extLst>
              <a:ext uri="{FF2B5EF4-FFF2-40B4-BE49-F238E27FC236}">
                <a16:creationId xmlns:a16="http://schemas.microsoft.com/office/drawing/2014/main" id="{99FB47D4-AFE7-B043-97C1-A69890F347EC}"/>
              </a:ext>
            </a:extLst>
          </p:cNvPr>
          <p:cNvSpPr>
            <a:spLocks noGrp="1"/>
          </p:cNvSpPr>
          <p:nvPr>
            <p:ph type="pic" sz="quarter" idx="10" hasCustomPrompt="1"/>
          </p:nvPr>
        </p:nvSpPr>
        <p:spPr>
          <a:xfrm>
            <a:off x="179389" y="158751"/>
            <a:ext cx="8785322" cy="4681538"/>
          </a:xfrm>
          <a:custGeom>
            <a:avLst/>
            <a:gdLst/>
            <a:ahLst/>
            <a:cxnLst/>
            <a:rect l="l" t="t" r="r" b="b"/>
            <a:pathLst>
              <a:path w="8785322" h="4681538">
                <a:moveTo>
                  <a:pt x="8379260" y="3874916"/>
                </a:moveTo>
                <a:lnTo>
                  <a:pt x="8379260" y="4136296"/>
                </a:lnTo>
                <a:lnTo>
                  <a:pt x="8504834" y="4136296"/>
                </a:lnTo>
                <a:cubicBezTo>
                  <a:pt x="8504214" y="4187766"/>
                  <a:pt x="8492586" y="4229003"/>
                  <a:pt x="8469952" y="4260009"/>
                </a:cubicBezTo>
                <a:cubicBezTo>
                  <a:pt x="8447318" y="4291015"/>
                  <a:pt x="8409956" y="4315200"/>
                  <a:pt x="8357866" y="4332563"/>
                </a:cubicBezTo>
                <a:lnTo>
                  <a:pt x="8409026" y="4441394"/>
                </a:lnTo>
                <a:cubicBezTo>
                  <a:pt x="8464216" y="4421550"/>
                  <a:pt x="8509950" y="4394110"/>
                  <a:pt x="8546226" y="4359073"/>
                </a:cubicBezTo>
                <a:cubicBezTo>
                  <a:pt x="8582503" y="4324036"/>
                  <a:pt x="8607308" y="4284814"/>
                  <a:pt x="8620640" y="4241406"/>
                </a:cubicBezTo>
                <a:cubicBezTo>
                  <a:pt x="8633973" y="4197998"/>
                  <a:pt x="8640639" y="4138466"/>
                  <a:pt x="8640639" y="4062812"/>
                </a:cubicBezTo>
                <a:lnTo>
                  <a:pt x="8640639" y="3874916"/>
                </a:lnTo>
                <a:close/>
                <a:moveTo>
                  <a:pt x="7940217" y="3874916"/>
                </a:moveTo>
                <a:lnTo>
                  <a:pt x="7940217" y="4136296"/>
                </a:lnTo>
                <a:lnTo>
                  <a:pt x="8066721" y="4136296"/>
                </a:lnTo>
                <a:cubicBezTo>
                  <a:pt x="8065481" y="4187766"/>
                  <a:pt x="8053699" y="4229003"/>
                  <a:pt x="8031374" y="4260009"/>
                </a:cubicBezTo>
                <a:cubicBezTo>
                  <a:pt x="8009050" y="4291015"/>
                  <a:pt x="7971533" y="4315200"/>
                  <a:pt x="7918823" y="4332563"/>
                </a:cubicBezTo>
                <a:lnTo>
                  <a:pt x="7969983" y="4441394"/>
                </a:lnTo>
                <a:cubicBezTo>
                  <a:pt x="8025793" y="4421550"/>
                  <a:pt x="8071837" y="4394110"/>
                  <a:pt x="8108114" y="4359073"/>
                </a:cubicBezTo>
                <a:cubicBezTo>
                  <a:pt x="8144391" y="4324036"/>
                  <a:pt x="8169040" y="4284814"/>
                  <a:pt x="8182063" y="4241406"/>
                </a:cubicBezTo>
                <a:cubicBezTo>
                  <a:pt x="8195085" y="4197998"/>
                  <a:pt x="8201597" y="4138466"/>
                  <a:pt x="8201597" y="4062812"/>
                </a:cubicBezTo>
                <a:lnTo>
                  <a:pt x="8201597" y="3874916"/>
                </a:lnTo>
                <a:close/>
                <a:moveTo>
                  <a:pt x="816817" y="173144"/>
                </a:moveTo>
                <a:cubicBezTo>
                  <a:pt x="761626" y="192988"/>
                  <a:pt x="715893" y="220273"/>
                  <a:pt x="679616" y="254999"/>
                </a:cubicBezTo>
                <a:cubicBezTo>
                  <a:pt x="643339" y="289726"/>
                  <a:pt x="618534" y="328793"/>
                  <a:pt x="605202" y="372202"/>
                </a:cubicBezTo>
                <a:cubicBezTo>
                  <a:pt x="591869" y="415610"/>
                  <a:pt x="585203" y="475451"/>
                  <a:pt x="585203" y="551726"/>
                </a:cubicBezTo>
                <a:lnTo>
                  <a:pt x="585203" y="738691"/>
                </a:lnTo>
                <a:lnTo>
                  <a:pt x="846582" y="738691"/>
                </a:lnTo>
                <a:lnTo>
                  <a:pt x="846582" y="477311"/>
                </a:lnTo>
                <a:lnTo>
                  <a:pt x="720078" y="477311"/>
                </a:lnTo>
                <a:cubicBezTo>
                  <a:pt x="721319" y="425842"/>
                  <a:pt x="733256" y="384604"/>
                  <a:pt x="755890" y="353598"/>
                </a:cubicBezTo>
                <a:cubicBezTo>
                  <a:pt x="778524" y="322592"/>
                  <a:pt x="815887" y="298408"/>
                  <a:pt x="867976" y="281044"/>
                </a:cubicBezTo>
                <a:close/>
                <a:moveTo>
                  <a:pt x="380564" y="173144"/>
                </a:moveTo>
                <a:cubicBezTo>
                  <a:pt x="324754" y="192988"/>
                  <a:pt x="278865" y="220273"/>
                  <a:pt x="242898" y="254999"/>
                </a:cubicBezTo>
                <a:cubicBezTo>
                  <a:pt x="206931" y="289726"/>
                  <a:pt x="182282" y="328948"/>
                  <a:pt x="168949" y="372667"/>
                </a:cubicBezTo>
                <a:cubicBezTo>
                  <a:pt x="155617" y="416385"/>
                  <a:pt x="148950" y="476071"/>
                  <a:pt x="148950" y="551726"/>
                </a:cubicBezTo>
                <a:lnTo>
                  <a:pt x="148950" y="738691"/>
                </a:lnTo>
                <a:lnTo>
                  <a:pt x="410330" y="738691"/>
                </a:lnTo>
                <a:lnTo>
                  <a:pt x="410330" y="477311"/>
                </a:lnTo>
                <a:lnTo>
                  <a:pt x="283826" y="477311"/>
                </a:lnTo>
                <a:cubicBezTo>
                  <a:pt x="285066" y="425842"/>
                  <a:pt x="297003" y="384604"/>
                  <a:pt x="319638" y="353598"/>
                </a:cubicBezTo>
                <a:cubicBezTo>
                  <a:pt x="342272" y="322592"/>
                  <a:pt x="379634" y="298408"/>
                  <a:pt x="431724" y="281044"/>
                </a:cubicBezTo>
                <a:close/>
                <a:moveTo>
                  <a:pt x="0" y="0"/>
                </a:moveTo>
                <a:lnTo>
                  <a:pt x="8785322" y="0"/>
                </a:lnTo>
                <a:lnTo>
                  <a:pt x="8785322" y="4681538"/>
                </a:lnTo>
                <a:lnTo>
                  <a:pt x="0" y="4681538"/>
                </a:lnTo>
                <a:close/>
              </a:path>
            </a:pathLst>
          </a:custGeom>
          <a:blipFill>
            <a:blip r:embed="rId2"/>
            <a:tile tx="0" ty="0" sx="100000" sy="100000" flip="none" algn="tl"/>
          </a:blipFill>
        </p:spPr>
        <p:txBody>
          <a:bodyPr wrap="square">
            <a:noAutofit/>
          </a:bodyPr>
          <a:lstStyle>
            <a:lvl1pPr algn="ctr">
              <a:buNone/>
              <a:defRPr sz="800">
                <a:solidFill>
                  <a:schemeClr val="bg1">
                    <a:lumMod val="75000"/>
                  </a:schemeClr>
                </a:solidFill>
              </a:defRPr>
            </a:lvl1pPr>
          </a:lstStyle>
          <a:p>
            <a:r>
              <a:rPr lang="en-GB" noProof="0"/>
              <a:t>Select placeholder and select Insert &gt; Pictures</a:t>
            </a:r>
          </a:p>
        </p:txBody>
      </p:sp>
      <p:sp>
        <p:nvSpPr>
          <p:cNvPr id="8" name="Title">
            <a:extLst>
              <a:ext uri="{FF2B5EF4-FFF2-40B4-BE49-F238E27FC236}">
                <a16:creationId xmlns:a16="http://schemas.microsoft.com/office/drawing/2014/main" id="{2AF8C6B0-2A99-6F45-B536-0E0C728FB39E}"/>
              </a:ext>
            </a:extLst>
          </p:cNvPr>
          <p:cNvSpPr>
            <a:spLocks noGrp="1"/>
          </p:cNvSpPr>
          <p:nvPr>
            <p:ph type="title" hasCustomPrompt="1"/>
          </p:nvPr>
        </p:nvSpPr>
        <p:spPr>
          <a:xfrm>
            <a:off x="324000" y="1031010"/>
            <a:ext cx="8496000" cy="2937018"/>
          </a:xfrm>
        </p:spPr>
        <p:txBody>
          <a:bodyPr lIns="216000" rIns="216000" anchor="ctr"/>
          <a:lstStyle>
            <a:lvl1pPr algn="ctr">
              <a:defRPr sz="4400">
                <a:solidFill>
                  <a:schemeClr val="bg1"/>
                </a:solidFill>
              </a:defRPr>
            </a:lvl1pPr>
          </a:lstStyle>
          <a:p>
            <a:r>
              <a:rPr lang="en-GB" noProof="0"/>
              <a:t>Click to add inspiring quote</a:t>
            </a:r>
          </a:p>
        </p:txBody>
      </p:sp>
      <p:sp>
        <p:nvSpPr>
          <p:cNvPr id="29" name="Text">
            <a:extLst>
              <a:ext uri="{FF2B5EF4-FFF2-40B4-BE49-F238E27FC236}">
                <a16:creationId xmlns:a16="http://schemas.microsoft.com/office/drawing/2014/main" id="{0752070A-41E1-7D46-9FFE-B3EB4F12E077}"/>
              </a:ext>
            </a:extLst>
          </p:cNvPr>
          <p:cNvSpPr>
            <a:spLocks noGrp="1"/>
          </p:cNvSpPr>
          <p:nvPr>
            <p:ph type="body" sz="quarter" idx="11" hasCustomPrompt="1"/>
          </p:nvPr>
        </p:nvSpPr>
        <p:spPr>
          <a:xfrm>
            <a:off x="3203576" y="3961777"/>
            <a:ext cx="2736850" cy="742286"/>
          </a:xfrm>
        </p:spPr>
        <p:txBody>
          <a:bodyPr anchor="t"/>
          <a:lstStyle>
            <a:lvl1pPr marL="0" indent="-12700" algn="ctr">
              <a:lnSpc>
                <a:spcPct val="95000"/>
              </a:lnSpc>
              <a:spcBef>
                <a:spcPts val="0"/>
              </a:spcBef>
              <a:buNone/>
              <a:tabLst/>
              <a:defRPr b="1" spc="0" baseline="0">
                <a:solidFill>
                  <a:schemeClr val="bg1"/>
                </a:solidFill>
              </a:defRPr>
            </a:lvl1pPr>
          </a:lstStyle>
          <a:p>
            <a:pPr lvl="0"/>
            <a:r>
              <a:rPr lang="en-GB" noProof="0"/>
              <a:t>– Source of quote</a:t>
            </a:r>
          </a:p>
        </p:txBody>
      </p:sp>
      <p:sp>
        <p:nvSpPr>
          <p:cNvPr id="11" name="Date">
            <a:extLst>
              <a:ext uri="{FF2B5EF4-FFF2-40B4-BE49-F238E27FC236}">
                <a16:creationId xmlns:a16="http://schemas.microsoft.com/office/drawing/2014/main" id="{38CA3AD7-12F8-9F43-820D-33071C26D41A}"/>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E66A8E50-C0D3-476D-A0E9-2D2C1315E01E}" type="datetime1">
              <a:rPr lang="sv-SE" noProof="0" smtClean="0"/>
              <a:t>2025-09-04</a:t>
            </a:fld>
            <a:endParaRPr lang="en-GB" noProof="0"/>
          </a:p>
        </p:txBody>
      </p:sp>
      <p:sp>
        <p:nvSpPr>
          <p:cNvPr id="12" name="Number">
            <a:extLst>
              <a:ext uri="{FF2B5EF4-FFF2-40B4-BE49-F238E27FC236}">
                <a16:creationId xmlns:a16="http://schemas.microsoft.com/office/drawing/2014/main" id="{DFED6C3B-4A73-344C-A9A5-F8224178884F}"/>
              </a:ext>
            </a:extLst>
          </p:cNvPr>
          <p:cNvSpPr>
            <a:spLocks noGrp="1"/>
          </p:cNvSpPr>
          <p:nvPr>
            <p:ph type="sldNum" sz="quarter" idx="4"/>
          </p:nvPr>
        </p:nvSpPr>
        <p:spPr>
          <a:xfrm>
            <a:off x="8640418" y="5003475"/>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9" name="Footer">
            <a:extLst>
              <a:ext uri="{FF2B5EF4-FFF2-40B4-BE49-F238E27FC236}">
                <a16:creationId xmlns:a16="http://schemas.microsoft.com/office/drawing/2014/main" id="{D235B6C8-FB19-4544-A8A8-260345B89FFC}"/>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2393569324"/>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5 Text and Image">
    <p:spTree>
      <p:nvGrpSpPr>
        <p:cNvPr id="1" name=""/>
        <p:cNvGrpSpPr/>
        <p:nvPr/>
      </p:nvGrpSpPr>
      <p:grpSpPr>
        <a:xfrm>
          <a:off x="0" y="0"/>
          <a:ext cx="0" cy="0"/>
          <a:chOff x="0" y="0"/>
          <a:chExt cx="0" cy="0"/>
        </a:xfrm>
      </p:grpSpPr>
      <p:sp>
        <p:nvSpPr>
          <p:cNvPr id="4" name="Image">
            <a:extLst>
              <a:ext uri="{FF2B5EF4-FFF2-40B4-BE49-F238E27FC236}">
                <a16:creationId xmlns:a16="http://schemas.microsoft.com/office/drawing/2014/main" id="{0C18E683-E62F-A04E-9D50-572DEA18E067}"/>
              </a:ext>
            </a:extLst>
          </p:cNvPr>
          <p:cNvSpPr>
            <a:spLocks noGrp="1"/>
          </p:cNvSpPr>
          <p:nvPr>
            <p:ph type="pic" sz="quarter" idx="15" hasCustomPrompt="1"/>
          </p:nvPr>
        </p:nvSpPr>
        <p:spPr>
          <a:xfrm>
            <a:off x="4643439" y="158751"/>
            <a:ext cx="4321272" cy="4681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323851" y="525601"/>
            <a:ext cx="4176713" cy="1583617"/>
          </a:xfrm>
        </p:spPr>
        <p:txBody>
          <a:bodyPr rIns="216000"/>
          <a:lstStyle>
            <a:lvl1pPr>
              <a:defRPr sz="3000" spc="-70"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51" y="276227"/>
            <a:ext cx="4176713" cy="276999"/>
          </a:xfrm>
        </p:spPr>
        <p:txBody>
          <a:bodyPr lIns="111600" rIns="216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chapter tracker</a:t>
            </a:r>
          </a:p>
          <a:p>
            <a:pPr lvl="0"/>
            <a:endParaRPr lang="en-GB" noProof="0"/>
          </a:p>
        </p:txBody>
      </p:sp>
      <p:sp>
        <p:nvSpPr>
          <p:cNvPr id="12" name="Text">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323852" y="2103439"/>
            <a:ext cx="4176712" cy="2607170"/>
          </a:xfrm>
        </p:spPr>
        <p:txBody>
          <a:bodyPr rIns="216000"/>
          <a:lstStyle>
            <a:lvl1pPr>
              <a:defRPr sz="1400"/>
            </a:lvl1pPr>
            <a:lvl2pPr>
              <a:defRPr sz="1200"/>
            </a:lvl2pPr>
            <a:lvl3pPr>
              <a:defRPr sz="1200"/>
            </a:lvl3pPr>
            <a:lvl4pPr>
              <a:defRPr sz="1200"/>
            </a:lvl4pPr>
            <a:lvl5pPr>
              <a:defRPr sz="12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Date">
            <a:extLst>
              <a:ext uri="{FF2B5EF4-FFF2-40B4-BE49-F238E27FC236}">
                <a16:creationId xmlns:a16="http://schemas.microsoft.com/office/drawing/2014/main" id="{B7D04508-015B-A24C-A068-9517A03041E5}"/>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8A117971-6A43-4AF1-A1E6-C9E793DA2D9D}" type="datetime1">
              <a:rPr lang="sv-SE" noProof="0" smtClean="0"/>
              <a:t>2025-09-04</a:t>
            </a:fld>
            <a:endParaRPr lang="en-GB" noProof="0"/>
          </a:p>
        </p:txBody>
      </p:sp>
      <p:sp>
        <p:nvSpPr>
          <p:cNvPr id="39" name="Number">
            <a:extLst>
              <a:ext uri="{FF2B5EF4-FFF2-40B4-BE49-F238E27FC236}">
                <a16:creationId xmlns:a16="http://schemas.microsoft.com/office/drawing/2014/main" id="{24E3E452-24F0-1B44-9014-429AC576B5B6}"/>
              </a:ext>
            </a:extLst>
          </p:cNvPr>
          <p:cNvSpPr>
            <a:spLocks noGrp="1"/>
          </p:cNvSpPr>
          <p:nvPr>
            <p:ph type="sldNum" sz="quarter" idx="4"/>
          </p:nvPr>
        </p:nvSpPr>
        <p:spPr>
          <a:xfrm>
            <a:off x="8640418" y="5003475"/>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0" name="Footer">
            <a:extLst>
              <a:ext uri="{FF2B5EF4-FFF2-40B4-BE49-F238E27FC236}">
                <a16:creationId xmlns:a16="http://schemas.microsoft.com/office/drawing/2014/main" id="{9F273896-B1DA-2A4A-9AEB-368D26B986DD}"/>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2280486695"/>
      </p:ext>
    </p:extLst>
  </p:cSld>
  <p:clrMapOvr>
    <a:masterClrMapping/>
  </p:clrMapOvr>
  <p:extLst>
    <p:ext uri="{DCECCB84-F9BA-43D5-87BE-67443E8EF086}">
      <p15:sldGuideLst xmlns:p15="http://schemas.microsoft.com/office/powerpoint/2012/main"/>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5 Text and Small Image">
    <p:spTree>
      <p:nvGrpSpPr>
        <p:cNvPr id="1" name=""/>
        <p:cNvGrpSpPr/>
        <p:nvPr/>
      </p:nvGrpSpPr>
      <p:grpSpPr>
        <a:xfrm>
          <a:off x="0" y="0"/>
          <a:ext cx="0" cy="0"/>
          <a:chOff x="0" y="0"/>
          <a:chExt cx="0" cy="0"/>
        </a:xfrm>
      </p:grpSpPr>
      <p:sp>
        <p:nvSpPr>
          <p:cNvPr id="4" name="Image">
            <a:extLst>
              <a:ext uri="{FF2B5EF4-FFF2-40B4-BE49-F238E27FC236}">
                <a16:creationId xmlns:a16="http://schemas.microsoft.com/office/drawing/2014/main" id="{0C18E683-E62F-A04E-9D50-572DEA18E067}"/>
              </a:ext>
            </a:extLst>
          </p:cNvPr>
          <p:cNvSpPr>
            <a:spLocks noGrp="1"/>
          </p:cNvSpPr>
          <p:nvPr>
            <p:ph type="pic" sz="quarter" idx="15" hasCustomPrompt="1"/>
          </p:nvPr>
        </p:nvSpPr>
        <p:spPr>
          <a:xfrm>
            <a:off x="6084888" y="158751"/>
            <a:ext cx="2879725" cy="4681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a:p>
            <a:endParaRPr lang="en-GB" noProof="0"/>
          </a:p>
        </p:txBody>
      </p:sp>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323850" y="525600"/>
            <a:ext cx="5616576" cy="1498314"/>
          </a:xfrm>
        </p:spPr>
        <p:txBody>
          <a:bodyPr rIns="216000"/>
          <a:lstStyle>
            <a:lvl1pPr>
              <a:defRPr sz="3000" spc="-70"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51" y="276228"/>
            <a:ext cx="5616575" cy="249374"/>
          </a:xfrm>
        </p:spPr>
        <p:txBody>
          <a:bodyPr lIns="111600" rIns="216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chapter tracker</a:t>
            </a:r>
          </a:p>
        </p:txBody>
      </p:sp>
      <p:sp>
        <p:nvSpPr>
          <p:cNvPr id="12" name="Text 1">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323851" y="2103439"/>
            <a:ext cx="2735262" cy="2592387"/>
          </a:xfrm>
        </p:spPr>
        <p:txBody>
          <a:bodyPr rIns="216000"/>
          <a:lstStyle>
            <a:lvl1pPr>
              <a:defRPr sz="1400"/>
            </a:lvl1pPr>
            <a:lvl2pPr>
              <a:defRPr sz="1200"/>
            </a:lvl2pPr>
            <a:lvl3pPr>
              <a:defRPr sz="1200"/>
            </a:lvl3pPr>
            <a:lvl4pPr>
              <a:defRPr sz="1200"/>
            </a:lvl4pPr>
            <a:lvl5pPr>
              <a:defRPr sz="12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9" name="Text 2">
            <a:extLst>
              <a:ext uri="{FF2B5EF4-FFF2-40B4-BE49-F238E27FC236}">
                <a16:creationId xmlns:a16="http://schemas.microsoft.com/office/drawing/2014/main" id="{0FB76FD9-59CC-F342-90A0-4CBDA20D19ED}"/>
              </a:ext>
            </a:extLst>
          </p:cNvPr>
          <p:cNvSpPr>
            <a:spLocks noGrp="1"/>
          </p:cNvSpPr>
          <p:nvPr>
            <p:ph type="body" sz="quarter" idx="16" hasCustomPrompt="1"/>
          </p:nvPr>
        </p:nvSpPr>
        <p:spPr>
          <a:xfrm>
            <a:off x="3204370" y="2103439"/>
            <a:ext cx="2736056" cy="2592387"/>
          </a:xfrm>
        </p:spPr>
        <p:txBody>
          <a:bodyPr rIns="216000"/>
          <a:lstStyle>
            <a:lvl1pPr>
              <a:defRPr sz="1400"/>
            </a:lvl1pPr>
            <a:lvl2pPr>
              <a:defRPr sz="1200"/>
            </a:lvl2pPr>
            <a:lvl3pPr>
              <a:defRPr sz="1200"/>
            </a:lvl3pPr>
            <a:lvl4pPr>
              <a:defRPr sz="1200"/>
            </a:lvl4pPr>
            <a:lvl5pPr>
              <a:defRPr sz="12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5" name="Date">
            <a:extLst>
              <a:ext uri="{FF2B5EF4-FFF2-40B4-BE49-F238E27FC236}">
                <a16:creationId xmlns:a16="http://schemas.microsoft.com/office/drawing/2014/main" id="{EBF909F0-CE1B-3D46-83B7-E4DA279DC19B}"/>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C6709F42-7C44-4AD9-A141-FCAAACE7A99C}" type="datetime1">
              <a:rPr lang="sv-SE" noProof="0" smtClean="0"/>
              <a:t>2025-09-04</a:t>
            </a:fld>
            <a:endParaRPr lang="en-GB" noProof="0"/>
          </a:p>
        </p:txBody>
      </p:sp>
      <p:sp>
        <p:nvSpPr>
          <p:cNvPr id="36" name="Number">
            <a:extLst>
              <a:ext uri="{FF2B5EF4-FFF2-40B4-BE49-F238E27FC236}">
                <a16:creationId xmlns:a16="http://schemas.microsoft.com/office/drawing/2014/main" id="{EB2FF840-5D29-6845-91DA-E82490F28637}"/>
              </a:ext>
            </a:extLst>
          </p:cNvPr>
          <p:cNvSpPr>
            <a:spLocks noGrp="1"/>
          </p:cNvSpPr>
          <p:nvPr>
            <p:ph type="sldNum" sz="quarter" idx="4"/>
          </p:nvPr>
        </p:nvSpPr>
        <p:spPr>
          <a:xfrm>
            <a:off x="8640418" y="5003475"/>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1" name="Footer">
            <a:extLst>
              <a:ext uri="{FF2B5EF4-FFF2-40B4-BE49-F238E27FC236}">
                <a16:creationId xmlns:a16="http://schemas.microsoft.com/office/drawing/2014/main" id="{82519C75-0594-8F47-9542-99B135CAA319}"/>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2543366798"/>
      </p:ext>
    </p:extLst>
  </p:cSld>
  <p:clrMapOvr>
    <a:masterClrMapping/>
  </p:clrMapOvr>
  <p:extLst>
    <p:ext uri="{DCECCB84-F9BA-43D5-87BE-67443E8EF086}">
      <p15:sldGuideLst xmlns:p15="http://schemas.microsoft.com/office/powerpoint/2012/main"/>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5 Text on background image">
    <p:spTree>
      <p:nvGrpSpPr>
        <p:cNvPr id="1" name=""/>
        <p:cNvGrpSpPr/>
        <p:nvPr/>
      </p:nvGrpSpPr>
      <p:grpSpPr>
        <a:xfrm>
          <a:off x="0" y="0"/>
          <a:ext cx="0" cy="0"/>
          <a:chOff x="0" y="0"/>
          <a:chExt cx="0" cy="0"/>
        </a:xfrm>
      </p:grpSpPr>
      <p:sp>
        <p:nvSpPr>
          <p:cNvPr id="4" name="Background image">
            <a:extLst>
              <a:ext uri="{FF2B5EF4-FFF2-40B4-BE49-F238E27FC236}">
                <a16:creationId xmlns:a16="http://schemas.microsoft.com/office/drawing/2014/main" id="{0C18E683-E62F-A04E-9D50-572DEA18E067}"/>
              </a:ext>
            </a:extLst>
          </p:cNvPr>
          <p:cNvSpPr>
            <a:spLocks noGrp="1"/>
          </p:cNvSpPr>
          <p:nvPr>
            <p:ph type="pic" sz="quarter" idx="15" hasCustomPrompt="1"/>
          </p:nvPr>
        </p:nvSpPr>
        <p:spPr>
          <a:xfrm>
            <a:off x="179389" y="158751"/>
            <a:ext cx="8785225" cy="4681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323851" y="525600"/>
            <a:ext cx="4176713" cy="1498314"/>
          </a:xfrm>
        </p:spPr>
        <p:txBody>
          <a:bodyPr rIns="216000"/>
          <a:lstStyle>
            <a:lvl1pPr>
              <a:defRPr sz="3000" spc="-70" baseline="0">
                <a:solidFill>
                  <a:schemeClr val="bg1"/>
                </a:solidFill>
              </a:defRPr>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51" y="276227"/>
            <a:ext cx="4176713" cy="276999"/>
          </a:xfrm>
        </p:spPr>
        <p:txBody>
          <a:bodyPr lIns="111600" rIns="216000" anchor="t"/>
          <a:lstStyle>
            <a:lvl1pPr marL="3175" indent="-3175">
              <a:buNone/>
              <a:tabLst/>
              <a:defRPr sz="1200" b="1">
                <a:solidFill>
                  <a:schemeClr val="bg1"/>
                </a:solidFill>
              </a:defRPr>
            </a:lvl1pPr>
            <a:lvl2pPr>
              <a:buNone/>
              <a:defRPr/>
            </a:lvl2pPr>
            <a:lvl3pPr>
              <a:buNone/>
              <a:defRPr/>
            </a:lvl3pPr>
            <a:lvl4pPr>
              <a:buNone/>
              <a:defRPr/>
            </a:lvl4pPr>
            <a:lvl5pPr>
              <a:buNone/>
              <a:defRPr/>
            </a:lvl5pPr>
          </a:lstStyle>
          <a:p>
            <a:pPr lvl="0"/>
            <a:r>
              <a:rPr lang="en-GB" noProof="0"/>
              <a:t>Click to add navigation/chapter tracker</a:t>
            </a:r>
          </a:p>
        </p:txBody>
      </p:sp>
      <p:sp>
        <p:nvSpPr>
          <p:cNvPr id="12" name="Text">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323852" y="2103439"/>
            <a:ext cx="4176712" cy="2592387"/>
          </a:xfrm>
        </p:spPr>
        <p:txBody>
          <a:bodyPr rIns="216000"/>
          <a:lstStyle>
            <a:lvl1pPr>
              <a:defRPr sz="14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Date">
            <a:extLst>
              <a:ext uri="{FF2B5EF4-FFF2-40B4-BE49-F238E27FC236}">
                <a16:creationId xmlns:a16="http://schemas.microsoft.com/office/drawing/2014/main" id="{B7D04508-015B-A24C-A068-9517A03041E5}"/>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14308B6E-F9CF-4C72-924B-8192801E2D82}" type="datetime1">
              <a:rPr lang="sv-SE" noProof="0" smtClean="0"/>
              <a:t>2025-09-04</a:t>
            </a:fld>
            <a:endParaRPr lang="en-GB" noProof="0"/>
          </a:p>
        </p:txBody>
      </p:sp>
      <p:sp>
        <p:nvSpPr>
          <p:cNvPr id="39" name="Number">
            <a:extLst>
              <a:ext uri="{FF2B5EF4-FFF2-40B4-BE49-F238E27FC236}">
                <a16:creationId xmlns:a16="http://schemas.microsoft.com/office/drawing/2014/main" id="{24E3E452-24F0-1B44-9014-429AC576B5B6}"/>
              </a:ext>
            </a:extLst>
          </p:cNvPr>
          <p:cNvSpPr>
            <a:spLocks noGrp="1"/>
          </p:cNvSpPr>
          <p:nvPr>
            <p:ph type="sldNum" sz="quarter" idx="4"/>
          </p:nvPr>
        </p:nvSpPr>
        <p:spPr>
          <a:xfrm>
            <a:off x="8640418" y="5003475"/>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0" name="Footer">
            <a:extLst>
              <a:ext uri="{FF2B5EF4-FFF2-40B4-BE49-F238E27FC236}">
                <a16:creationId xmlns:a16="http://schemas.microsoft.com/office/drawing/2014/main" id="{5CA8B606-3188-9643-98F0-31B8738AF063}"/>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4118282836"/>
      </p:ext>
    </p:extLst>
  </p:cSld>
  <p:clrMapOvr>
    <a:masterClrMapping/>
  </p:clrMapOvr>
  <p:extLst>
    <p:ext uri="{DCECCB84-F9BA-43D5-87BE-67443E8EF086}">
      <p15:sldGuideLst xmlns:p15="http://schemas.microsoft.com/office/powerpoint/2012/main"/>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5 Text only">
    <p:bg>
      <p:bgPr>
        <a:solidFill>
          <a:schemeClr val="bg2"/>
        </a:solidFill>
        <a:effectLst/>
      </p:bgPr>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323848" y="525600"/>
            <a:ext cx="7056440" cy="1498314"/>
          </a:xfrm>
        </p:spPr>
        <p:txBody>
          <a:bodyPr rIns="144000"/>
          <a:lstStyle>
            <a:lvl1pPr>
              <a:defRPr sz="3000" spc="-70"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50" y="276228"/>
            <a:ext cx="7056438" cy="249374"/>
          </a:xfrm>
        </p:spPr>
        <p:txBody>
          <a:bodyPr lIns="111600" rIns="144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chapter tracker</a:t>
            </a:r>
          </a:p>
        </p:txBody>
      </p:sp>
      <p:sp>
        <p:nvSpPr>
          <p:cNvPr id="12" name="Text 1">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323852" y="2103439"/>
            <a:ext cx="4176712" cy="2592387"/>
          </a:xfrm>
        </p:spPr>
        <p:txBody>
          <a:bodyPr rIns="180000"/>
          <a:lstStyle>
            <a:lvl1pPr>
              <a:defRPr sz="1400"/>
            </a:lvl1pPr>
            <a:lvl2pPr>
              <a:defRPr sz="1200"/>
            </a:lvl2pPr>
            <a:lvl3pPr>
              <a:defRPr sz="1200"/>
            </a:lvl3pPr>
            <a:lvl4pPr>
              <a:defRPr sz="1200"/>
            </a:lvl4pPr>
            <a:lvl5pPr>
              <a:defRPr sz="12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1" name="Text 2">
            <a:extLst>
              <a:ext uri="{FF2B5EF4-FFF2-40B4-BE49-F238E27FC236}">
                <a16:creationId xmlns:a16="http://schemas.microsoft.com/office/drawing/2014/main" id="{C849FC5B-B320-ED44-9AC1-132066E1AA48}"/>
              </a:ext>
            </a:extLst>
          </p:cNvPr>
          <p:cNvSpPr>
            <a:spLocks noGrp="1"/>
          </p:cNvSpPr>
          <p:nvPr>
            <p:ph type="body" sz="quarter" idx="15" hasCustomPrompt="1"/>
          </p:nvPr>
        </p:nvSpPr>
        <p:spPr>
          <a:xfrm>
            <a:off x="4643439" y="2103439"/>
            <a:ext cx="4176712" cy="2592387"/>
          </a:xfrm>
        </p:spPr>
        <p:txBody>
          <a:bodyPr rIns="180000"/>
          <a:lstStyle>
            <a:lvl1pPr>
              <a:defRPr sz="1400"/>
            </a:lvl1pPr>
            <a:lvl2pPr>
              <a:defRPr sz="1200"/>
            </a:lvl2pPr>
            <a:lvl3pPr>
              <a:defRPr sz="1200"/>
            </a:lvl3pPr>
            <a:lvl4pPr>
              <a:defRPr sz="1200"/>
            </a:lvl4pPr>
            <a:lvl5pPr>
              <a:defRPr sz="12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5" name="Date">
            <a:extLst>
              <a:ext uri="{FF2B5EF4-FFF2-40B4-BE49-F238E27FC236}">
                <a16:creationId xmlns:a16="http://schemas.microsoft.com/office/drawing/2014/main" id="{EBF909F0-CE1B-3D46-83B7-E4DA279DC19B}"/>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80534E8B-82F5-462F-B678-E6764901D2BF}" type="datetime1">
              <a:rPr lang="sv-SE" noProof="0" smtClean="0"/>
              <a:t>2025-09-04</a:t>
            </a:fld>
            <a:endParaRPr lang="en-GB" noProof="0"/>
          </a:p>
        </p:txBody>
      </p:sp>
      <p:sp>
        <p:nvSpPr>
          <p:cNvPr id="36" name="Number">
            <a:extLst>
              <a:ext uri="{FF2B5EF4-FFF2-40B4-BE49-F238E27FC236}">
                <a16:creationId xmlns:a16="http://schemas.microsoft.com/office/drawing/2014/main" id="{EB2FF840-5D29-6845-91DA-E82490F28637}"/>
              </a:ext>
            </a:extLst>
          </p:cNvPr>
          <p:cNvSpPr>
            <a:spLocks noGrp="1"/>
          </p:cNvSpPr>
          <p:nvPr>
            <p:ph type="sldNum" sz="quarter" idx="4"/>
          </p:nvPr>
        </p:nvSpPr>
        <p:spPr>
          <a:xfrm>
            <a:off x="8640418" y="5003475"/>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0" name="Footer">
            <a:extLst>
              <a:ext uri="{FF2B5EF4-FFF2-40B4-BE49-F238E27FC236}">
                <a16:creationId xmlns:a16="http://schemas.microsoft.com/office/drawing/2014/main" id="{9081F78F-04AB-B54E-AA0D-682C305BD0C3}"/>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3426748123"/>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 Three Bullets">
    <p:bg>
      <p:bgPr>
        <a:solidFill>
          <a:schemeClr val="bg2"/>
        </a:solidFill>
        <a:effectLst/>
      </p:bgPr>
    </p:bg>
    <p:spTree>
      <p:nvGrpSpPr>
        <p:cNvPr id="1" name=""/>
        <p:cNvGrpSpPr/>
        <p:nvPr/>
      </p:nvGrpSpPr>
      <p:grpSpPr>
        <a:xfrm>
          <a:off x="0" y="0"/>
          <a:ext cx="0" cy="0"/>
          <a:chOff x="0" y="0"/>
          <a:chExt cx="0" cy="0"/>
        </a:xfrm>
      </p:grpSpPr>
      <p:sp>
        <p:nvSpPr>
          <p:cNvPr id="10" name="Title">
            <a:extLst>
              <a:ext uri="{FF2B5EF4-FFF2-40B4-BE49-F238E27FC236}">
                <a16:creationId xmlns:a16="http://schemas.microsoft.com/office/drawing/2014/main" id="{53087196-C9C5-BE48-9D76-3372ECAC159C}"/>
              </a:ext>
            </a:extLst>
          </p:cNvPr>
          <p:cNvSpPr>
            <a:spLocks noGrp="1"/>
          </p:cNvSpPr>
          <p:nvPr>
            <p:ph type="title" hasCustomPrompt="1"/>
          </p:nvPr>
        </p:nvSpPr>
        <p:spPr>
          <a:xfrm>
            <a:off x="323848" y="525600"/>
            <a:ext cx="7056440" cy="630236"/>
          </a:xfrm>
        </p:spPr>
        <p:txBody>
          <a:bodyPr rIns="216000"/>
          <a:lstStyle>
            <a:lvl1pPr>
              <a:defRPr sz="3000" spc="-50" baseline="0"/>
            </a:lvl1pPr>
          </a:lstStyle>
          <a:p>
            <a:r>
              <a:rPr lang="en-GB" noProof="0"/>
              <a:t>Click to add short headline or delete</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50" y="276226"/>
            <a:ext cx="4176713" cy="276999"/>
          </a:xfrm>
        </p:spPr>
        <p:txBody>
          <a:bodyPr lIns="111600" rIns="216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chapter tracker</a:t>
            </a:r>
          </a:p>
        </p:txBody>
      </p:sp>
      <p:sp>
        <p:nvSpPr>
          <p:cNvPr id="3" name="Text 1">
            <a:extLst>
              <a:ext uri="{FF2B5EF4-FFF2-40B4-BE49-F238E27FC236}">
                <a16:creationId xmlns:a16="http://schemas.microsoft.com/office/drawing/2014/main" id="{3BF31E87-F6F5-0C4F-B6DB-72F0D53D636B}"/>
              </a:ext>
            </a:extLst>
          </p:cNvPr>
          <p:cNvSpPr>
            <a:spLocks noGrp="1" noChangeAspect="1"/>
          </p:cNvSpPr>
          <p:nvPr>
            <p:ph type="body" sz="quarter" idx="17" hasCustomPrompt="1"/>
          </p:nvPr>
        </p:nvSpPr>
        <p:spPr>
          <a:xfrm>
            <a:off x="669509" y="1473519"/>
            <a:ext cx="2052000" cy="2052000"/>
          </a:xfrm>
          <a:prstGeom prst="ellipse">
            <a:avLst/>
          </a:prstGeom>
          <a:solidFill>
            <a:schemeClr val="accent5"/>
          </a:solidFill>
        </p:spPr>
        <p:txBody>
          <a:bodyPr lIns="0" tIns="36000" rIns="0" bIns="36000" anchor="ctr"/>
          <a:lstStyle>
            <a:lvl1pPr marL="0" indent="-17463" algn="ctr">
              <a:lnSpc>
                <a:spcPct val="95000"/>
              </a:lnSpc>
              <a:spcBef>
                <a:spcPts val="0"/>
              </a:spcBef>
              <a:buNone/>
              <a:tabLst/>
              <a:defRPr sz="1400" b="1">
                <a:solidFill>
                  <a:schemeClr val="tx1"/>
                </a:solidFill>
              </a:defRPr>
            </a:lvl1pPr>
          </a:lstStyle>
          <a:p>
            <a:pPr lvl="0"/>
            <a:r>
              <a:rPr lang="en-GB" noProof="0"/>
              <a:t>Click to add text in a maximum of four lines</a:t>
            </a:r>
          </a:p>
        </p:txBody>
      </p:sp>
      <p:sp>
        <p:nvSpPr>
          <p:cNvPr id="18" name="Text 2">
            <a:extLst>
              <a:ext uri="{FF2B5EF4-FFF2-40B4-BE49-F238E27FC236}">
                <a16:creationId xmlns:a16="http://schemas.microsoft.com/office/drawing/2014/main" id="{8782FCDA-CE43-ED4B-B564-F2CC331FC617}"/>
              </a:ext>
            </a:extLst>
          </p:cNvPr>
          <p:cNvSpPr>
            <a:spLocks noGrp="1" noChangeAspect="1"/>
          </p:cNvSpPr>
          <p:nvPr>
            <p:ph type="body" sz="quarter" idx="18" hasCustomPrompt="1"/>
          </p:nvPr>
        </p:nvSpPr>
        <p:spPr>
          <a:xfrm>
            <a:off x="3546000" y="1473519"/>
            <a:ext cx="2052000" cy="2052000"/>
          </a:xfrm>
          <a:prstGeom prst="ellipse">
            <a:avLst/>
          </a:prstGeom>
          <a:solidFill>
            <a:schemeClr val="accent5"/>
          </a:solidFill>
        </p:spPr>
        <p:txBody>
          <a:bodyPr lIns="0" tIns="36000" rIns="0" bIns="36000" anchor="ctr"/>
          <a:lstStyle>
            <a:lvl1pPr marL="0" indent="-17463" algn="ctr">
              <a:lnSpc>
                <a:spcPct val="95000"/>
              </a:lnSpc>
              <a:spcBef>
                <a:spcPts val="0"/>
              </a:spcBef>
              <a:buNone/>
              <a:tabLst/>
              <a:defRPr sz="1400" b="1">
                <a:solidFill>
                  <a:schemeClr val="tx1"/>
                </a:solidFill>
              </a:defRPr>
            </a:lvl1pPr>
          </a:lstStyle>
          <a:p>
            <a:pPr lvl="0"/>
            <a:r>
              <a:rPr lang="en-GB" noProof="0"/>
              <a:t>Click to add text in a maximum of four lines</a:t>
            </a:r>
          </a:p>
        </p:txBody>
      </p:sp>
      <p:sp>
        <p:nvSpPr>
          <p:cNvPr id="19" name="Text 3">
            <a:extLst>
              <a:ext uri="{FF2B5EF4-FFF2-40B4-BE49-F238E27FC236}">
                <a16:creationId xmlns:a16="http://schemas.microsoft.com/office/drawing/2014/main" id="{86327479-9D75-FF49-A369-D1A00CC1DA81}"/>
              </a:ext>
            </a:extLst>
          </p:cNvPr>
          <p:cNvSpPr>
            <a:spLocks noGrp="1" noChangeAspect="1"/>
          </p:cNvSpPr>
          <p:nvPr>
            <p:ph type="body" sz="quarter" idx="19" hasCustomPrompt="1"/>
          </p:nvPr>
        </p:nvSpPr>
        <p:spPr>
          <a:xfrm>
            <a:off x="6432099" y="1473519"/>
            <a:ext cx="2052000" cy="2052000"/>
          </a:xfrm>
          <a:prstGeom prst="ellipse">
            <a:avLst/>
          </a:prstGeom>
          <a:solidFill>
            <a:schemeClr val="accent5"/>
          </a:solidFill>
        </p:spPr>
        <p:txBody>
          <a:bodyPr lIns="0" tIns="36000" rIns="0" bIns="36000" anchor="ctr"/>
          <a:lstStyle>
            <a:lvl1pPr marL="0" indent="-17463" algn="ctr">
              <a:lnSpc>
                <a:spcPct val="95000"/>
              </a:lnSpc>
              <a:spcBef>
                <a:spcPts val="0"/>
              </a:spcBef>
              <a:buNone/>
              <a:tabLst/>
              <a:defRPr sz="1400" b="1">
                <a:solidFill>
                  <a:schemeClr val="tx1"/>
                </a:solidFill>
              </a:defRPr>
            </a:lvl1pPr>
          </a:lstStyle>
          <a:p>
            <a:pPr lvl="0"/>
            <a:r>
              <a:rPr lang="en-GB" noProof="0"/>
              <a:t>Click to add text in a maximum of four lines</a:t>
            </a:r>
          </a:p>
        </p:txBody>
      </p:sp>
      <p:sp>
        <p:nvSpPr>
          <p:cNvPr id="35" name="Date">
            <a:extLst>
              <a:ext uri="{FF2B5EF4-FFF2-40B4-BE49-F238E27FC236}">
                <a16:creationId xmlns:a16="http://schemas.microsoft.com/office/drawing/2014/main" id="{EBF909F0-CE1B-3D46-83B7-E4DA279DC19B}"/>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8C6505E1-6FEA-4A9B-9E75-C858B1EAEFD1}" type="datetime1">
              <a:rPr lang="sv-SE" noProof="0" smtClean="0"/>
              <a:t>2025-09-04</a:t>
            </a:fld>
            <a:endParaRPr lang="en-GB" noProof="0"/>
          </a:p>
        </p:txBody>
      </p:sp>
      <p:sp>
        <p:nvSpPr>
          <p:cNvPr id="36" name="Number">
            <a:extLst>
              <a:ext uri="{FF2B5EF4-FFF2-40B4-BE49-F238E27FC236}">
                <a16:creationId xmlns:a16="http://schemas.microsoft.com/office/drawing/2014/main" id="{EB2FF840-5D29-6845-91DA-E82490F28637}"/>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3" name="Footer">
            <a:extLst>
              <a:ext uri="{FF2B5EF4-FFF2-40B4-BE49-F238E27FC236}">
                <a16:creationId xmlns:a16="http://schemas.microsoft.com/office/drawing/2014/main" id="{8DF4D24D-538B-A54E-BE5A-7EAB96CDD093}"/>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3606139677"/>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5 Three Bullets">
    <p:bg>
      <p:bgPr>
        <a:solidFill>
          <a:schemeClr val="bg2"/>
        </a:solidFill>
        <a:effectLst/>
      </p:bgPr>
    </p:bg>
    <p:spTree>
      <p:nvGrpSpPr>
        <p:cNvPr id="1" name=""/>
        <p:cNvGrpSpPr/>
        <p:nvPr/>
      </p:nvGrpSpPr>
      <p:grpSpPr>
        <a:xfrm>
          <a:off x="0" y="0"/>
          <a:ext cx="0" cy="0"/>
          <a:chOff x="0" y="0"/>
          <a:chExt cx="0" cy="0"/>
        </a:xfrm>
      </p:grpSpPr>
      <p:sp>
        <p:nvSpPr>
          <p:cNvPr id="10" name="Title">
            <a:extLst>
              <a:ext uri="{FF2B5EF4-FFF2-40B4-BE49-F238E27FC236}">
                <a16:creationId xmlns:a16="http://schemas.microsoft.com/office/drawing/2014/main" id="{53087196-C9C5-BE48-9D76-3372ECAC159C}"/>
              </a:ext>
            </a:extLst>
          </p:cNvPr>
          <p:cNvSpPr>
            <a:spLocks noGrp="1"/>
          </p:cNvSpPr>
          <p:nvPr>
            <p:ph type="title" hasCustomPrompt="1"/>
          </p:nvPr>
        </p:nvSpPr>
        <p:spPr>
          <a:xfrm>
            <a:off x="323848" y="525601"/>
            <a:ext cx="7056440" cy="630236"/>
          </a:xfrm>
        </p:spPr>
        <p:txBody>
          <a:bodyPr rIns="216000"/>
          <a:lstStyle>
            <a:lvl1pPr>
              <a:defRPr sz="3000" spc="-70" baseline="0"/>
            </a:lvl1pPr>
          </a:lstStyle>
          <a:p>
            <a:r>
              <a:rPr lang="en-GB" noProof="0"/>
              <a:t>Click to add short headline or delete</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51" y="276227"/>
            <a:ext cx="4176713" cy="276999"/>
          </a:xfrm>
        </p:spPr>
        <p:txBody>
          <a:bodyPr lIns="111600" rIns="216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chapter tracker</a:t>
            </a:r>
          </a:p>
        </p:txBody>
      </p:sp>
      <p:sp>
        <p:nvSpPr>
          <p:cNvPr id="3" name="Text 1">
            <a:extLst>
              <a:ext uri="{FF2B5EF4-FFF2-40B4-BE49-F238E27FC236}">
                <a16:creationId xmlns:a16="http://schemas.microsoft.com/office/drawing/2014/main" id="{3BF31E87-F6F5-0C4F-B6DB-72F0D53D636B}"/>
              </a:ext>
            </a:extLst>
          </p:cNvPr>
          <p:cNvSpPr>
            <a:spLocks noGrp="1" noChangeAspect="1"/>
          </p:cNvSpPr>
          <p:nvPr>
            <p:ph type="body" sz="quarter" idx="17" hasCustomPrompt="1"/>
          </p:nvPr>
        </p:nvSpPr>
        <p:spPr>
          <a:xfrm>
            <a:off x="669509" y="1473519"/>
            <a:ext cx="2052000" cy="2052000"/>
          </a:xfrm>
          <a:prstGeom prst="ellipse">
            <a:avLst/>
          </a:prstGeom>
          <a:solidFill>
            <a:schemeClr val="accent5"/>
          </a:solidFill>
        </p:spPr>
        <p:txBody>
          <a:bodyPr lIns="0" tIns="36000" rIns="0" bIns="36000" anchor="ctr"/>
          <a:lstStyle>
            <a:lvl1pPr marL="0" indent="-17462" algn="ctr">
              <a:lnSpc>
                <a:spcPct val="95000"/>
              </a:lnSpc>
              <a:spcBef>
                <a:spcPts val="0"/>
              </a:spcBef>
              <a:buNone/>
              <a:tabLst/>
              <a:defRPr sz="1400" b="1">
                <a:solidFill>
                  <a:schemeClr val="bg1"/>
                </a:solidFill>
              </a:defRPr>
            </a:lvl1pPr>
          </a:lstStyle>
          <a:p>
            <a:pPr lvl="0"/>
            <a:r>
              <a:rPr lang="en-GB" noProof="0"/>
              <a:t>Click to add text in a maximum of four lines</a:t>
            </a:r>
          </a:p>
        </p:txBody>
      </p:sp>
      <p:sp>
        <p:nvSpPr>
          <p:cNvPr id="18" name="Text 2">
            <a:extLst>
              <a:ext uri="{FF2B5EF4-FFF2-40B4-BE49-F238E27FC236}">
                <a16:creationId xmlns:a16="http://schemas.microsoft.com/office/drawing/2014/main" id="{8782FCDA-CE43-ED4B-B564-F2CC331FC617}"/>
              </a:ext>
            </a:extLst>
          </p:cNvPr>
          <p:cNvSpPr>
            <a:spLocks noGrp="1" noChangeAspect="1"/>
          </p:cNvSpPr>
          <p:nvPr>
            <p:ph type="body" sz="quarter" idx="18" hasCustomPrompt="1"/>
          </p:nvPr>
        </p:nvSpPr>
        <p:spPr>
          <a:xfrm>
            <a:off x="3546000" y="1473519"/>
            <a:ext cx="2052000" cy="2052000"/>
          </a:xfrm>
          <a:prstGeom prst="ellipse">
            <a:avLst/>
          </a:prstGeom>
          <a:solidFill>
            <a:schemeClr val="accent5"/>
          </a:solidFill>
        </p:spPr>
        <p:txBody>
          <a:bodyPr lIns="0" tIns="36000" rIns="0" bIns="36000" anchor="ctr"/>
          <a:lstStyle>
            <a:lvl1pPr marL="0" indent="-17462" algn="ctr">
              <a:lnSpc>
                <a:spcPct val="95000"/>
              </a:lnSpc>
              <a:spcBef>
                <a:spcPts val="0"/>
              </a:spcBef>
              <a:buNone/>
              <a:tabLst/>
              <a:defRPr sz="1400" b="1">
                <a:solidFill>
                  <a:schemeClr val="bg1"/>
                </a:solidFill>
              </a:defRPr>
            </a:lvl1pPr>
          </a:lstStyle>
          <a:p>
            <a:pPr lvl="0"/>
            <a:r>
              <a:rPr lang="en-GB" noProof="0"/>
              <a:t>Click to add text in a maximum of four lines</a:t>
            </a:r>
          </a:p>
        </p:txBody>
      </p:sp>
      <p:sp>
        <p:nvSpPr>
          <p:cNvPr id="19" name="Text 3">
            <a:extLst>
              <a:ext uri="{FF2B5EF4-FFF2-40B4-BE49-F238E27FC236}">
                <a16:creationId xmlns:a16="http://schemas.microsoft.com/office/drawing/2014/main" id="{86327479-9D75-FF49-A369-D1A00CC1DA81}"/>
              </a:ext>
            </a:extLst>
          </p:cNvPr>
          <p:cNvSpPr>
            <a:spLocks noGrp="1" noChangeAspect="1"/>
          </p:cNvSpPr>
          <p:nvPr>
            <p:ph type="body" sz="quarter" idx="19" hasCustomPrompt="1"/>
          </p:nvPr>
        </p:nvSpPr>
        <p:spPr>
          <a:xfrm>
            <a:off x="6432099" y="1473519"/>
            <a:ext cx="2052000" cy="2052000"/>
          </a:xfrm>
          <a:prstGeom prst="ellipse">
            <a:avLst/>
          </a:prstGeom>
          <a:solidFill>
            <a:schemeClr val="accent5"/>
          </a:solidFill>
        </p:spPr>
        <p:txBody>
          <a:bodyPr lIns="0" tIns="36000" rIns="0" bIns="36000" anchor="ctr"/>
          <a:lstStyle>
            <a:lvl1pPr marL="0" indent="-17462" algn="ctr">
              <a:lnSpc>
                <a:spcPct val="95000"/>
              </a:lnSpc>
              <a:spcBef>
                <a:spcPts val="0"/>
              </a:spcBef>
              <a:buNone/>
              <a:tabLst/>
              <a:defRPr sz="1400" b="1">
                <a:solidFill>
                  <a:schemeClr val="bg1"/>
                </a:solidFill>
              </a:defRPr>
            </a:lvl1pPr>
          </a:lstStyle>
          <a:p>
            <a:pPr lvl="0"/>
            <a:r>
              <a:rPr lang="en-GB" noProof="0"/>
              <a:t>Click to add text in a maximum of four lines</a:t>
            </a:r>
          </a:p>
        </p:txBody>
      </p:sp>
      <p:sp>
        <p:nvSpPr>
          <p:cNvPr id="35" name="Date">
            <a:extLst>
              <a:ext uri="{FF2B5EF4-FFF2-40B4-BE49-F238E27FC236}">
                <a16:creationId xmlns:a16="http://schemas.microsoft.com/office/drawing/2014/main" id="{EBF909F0-CE1B-3D46-83B7-E4DA279DC19B}"/>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91286D10-7FAD-4C2F-83C1-85FA63726BBB}" type="datetime1">
              <a:rPr lang="sv-SE" noProof="0" smtClean="0"/>
              <a:t>2025-09-04</a:t>
            </a:fld>
            <a:endParaRPr lang="en-GB" noProof="0"/>
          </a:p>
        </p:txBody>
      </p:sp>
      <p:sp>
        <p:nvSpPr>
          <p:cNvPr id="36" name="Number">
            <a:extLst>
              <a:ext uri="{FF2B5EF4-FFF2-40B4-BE49-F238E27FC236}">
                <a16:creationId xmlns:a16="http://schemas.microsoft.com/office/drawing/2014/main" id="{EB2FF840-5D29-6845-91DA-E82490F28637}"/>
              </a:ext>
            </a:extLst>
          </p:cNvPr>
          <p:cNvSpPr>
            <a:spLocks noGrp="1"/>
          </p:cNvSpPr>
          <p:nvPr>
            <p:ph type="sldNum" sz="quarter" idx="4"/>
          </p:nvPr>
        </p:nvSpPr>
        <p:spPr>
          <a:xfrm>
            <a:off x="8640418" y="5003475"/>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3" name="Footer">
            <a:extLst>
              <a:ext uri="{FF2B5EF4-FFF2-40B4-BE49-F238E27FC236}">
                <a16:creationId xmlns:a16="http://schemas.microsoft.com/office/drawing/2014/main" id="{8DF4D24D-538B-A54E-BE5A-7EAB96CDD093}"/>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1401754901"/>
      </p:ext>
    </p:extLst>
  </p:cSld>
  <p:clrMapOvr>
    <a:masterClrMapping/>
  </p:clrMapOvr>
  <p:extLst>
    <p:ext uri="{DCECCB84-F9BA-43D5-87BE-67443E8EF086}">
      <p15:sldGuideLst xmlns:p15="http://schemas.microsoft.com/office/powerpoint/2012/main"/>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5 Three Bullets and Image">
    <p:spTree>
      <p:nvGrpSpPr>
        <p:cNvPr id="1" name=""/>
        <p:cNvGrpSpPr/>
        <p:nvPr/>
      </p:nvGrpSpPr>
      <p:grpSpPr>
        <a:xfrm>
          <a:off x="0" y="0"/>
          <a:ext cx="0" cy="0"/>
          <a:chOff x="0" y="0"/>
          <a:chExt cx="0" cy="0"/>
        </a:xfrm>
      </p:grpSpPr>
      <p:sp>
        <p:nvSpPr>
          <p:cNvPr id="19" name="Background image">
            <a:extLst>
              <a:ext uri="{FF2B5EF4-FFF2-40B4-BE49-F238E27FC236}">
                <a16:creationId xmlns:a16="http://schemas.microsoft.com/office/drawing/2014/main" id="{1C249437-ECE8-8C43-BEB1-A558F34C86D4}"/>
              </a:ext>
            </a:extLst>
          </p:cNvPr>
          <p:cNvSpPr>
            <a:spLocks noGrp="1"/>
          </p:cNvSpPr>
          <p:nvPr>
            <p:ph type="pic" sz="quarter" idx="10" hasCustomPrompt="1"/>
          </p:nvPr>
        </p:nvSpPr>
        <p:spPr>
          <a:xfrm>
            <a:off x="179389" y="158751"/>
            <a:ext cx="8785322" cy="4681538"/>
          </a:xfrm>
          <a:blipFill>
            <a:blip r:embed="rId2"/>
            <a:tile tx="0" ty="0" sx="100000" sy="100000" flip="none" algn="tl"/>
          </a:blipFill>
        </p:spPr>
        <p:txBody>
          <a:bodyPr/>
          <a:lstStyle>
            <a:lvl1pPr algn="r">
              <a:buNone/>
              <a:defRPr sz="800">
                <a:solidFill>
                  <a:schemeClr val="bg1">
                    <a:lumMod val="75000"/>
                  </a:schemeClr>
                </a:solidFill>
              </a:defRPr>
            </a:lvl1pPr>
          </a:lstStyle>
          <a:p>
            <a:r>
              <a:rPr lang="en-GB" noProof="0"/>
              <a:t>Select placeholder and select Insert &gt; Pictures</a:t>
            </a:r>
          </a:p>
        </p:txBody>
      </p:sp>
      <p:sp>
        <p:nvSpPr>
          <p:cNvPr id="13" name="Title">
            <a:extLst>
              <a:ext uri="{FF2B5EF4-FFF2-40B4-BE49-F238E27FC236}">
                <a16:creationId xmlns:a16="http://schemas.microsoft.com/office/drawing/2014/main" id="{E49F3BE6-D2B1-164B-B9F4-18257A7F1BEE}"/>
              </a:ext>
            </a:extLst>
          </p:cNvPr>
          <p:cNvSpPr>
            <a:spLocks noGrp="1"/>
          </p:cNvSpPr>
          <p:nvPr>
            <p:ph type="title" hasCustomPrompt="1"/>
          </p:nvPr>
        </p:nvSpPr>
        <p:spPr>
          <a:xfrm>
            <a:off x="323848" y="525601"/>
            <a:ext cx="7056440" cy="630236"/>
          </a:xfrm>
        </p:spPr>
        <p:txBody>
          <a:bodyPr rIns="216000"/>
          <a:lstStyle>
            <a:lvl1pPr>
              <a:defRPr sz="3000" spc="-70" baseline="0">
                <a:solidFill>
                  <a:schemeClr val="bg1"/>
                </a:solidFill>
              </a:defRPr>
            </a:lvl1pPr>
          </a:lstStyle>
          <a:p>
            <a:r>
              <a:rPr lang="en-GB" noProof="0"/>
              <a:t>Click to add short headline or delete</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51" y="276227"/>
            <a:ext cx="4176713" cy="276999"/>
          </a:xfrm>
        </p:spPr>
        <p:txBody>
          <a:bodyPr lIns="111600" rIns="216000" anchor="t"/>
          <a:lstStyle>
            <a:lvl1pPr marL="3175" indent="-3175">
              <a:buNone/>
              <a:tabLst/>
              <a:defRPr sz="1200" b="1">
                <a:solidFill>
                  <a:schemeClr val="bg1"/>
                </a:solidFill>
              </a:defRPr>
            </a:lvl1pPr>
            <a:lvl2pPr>
              <a:buNone/>
              <a:defRPr/>
            </a:lvl2pPr>
            <a:lvl3pPr>
              <a:buNone/>
              <a:defRPr/>
            </a:lvl3pPr>
            <a:lvl4pPr>
              <a:buNone/>
              <a:defRPr/>
            </a:lvl4pPr>
            <a:lvl5pPr>
              <a:buNone/>
              <a:defRPr/>
            </a:lvl5pPr>
          </a:lstStyle>
          <a:p>
            <a:pPr lvl="0"/>
            <a:r>
              <a:rPr lang="en-GB" noProof="0"/>
              <a:t>Click to add navigation/chapter tracker</a:t>
            </a:r>
          </a:p>
        </p:txBody>
      </p:sp>
      <p:sp>
        <p:nvSpPr>
          <p:cNvPr id="10" name="Text 1">
            <a:extLst>
              <a:ext uri="{FF2B5EF4-FFF2-40B4-BE49-F238E27FC236}">
                <a16:creationId xmlns:a16="http://schemas.microsoft.com/office/drawing/2014/main" id="{A0D0A950-AAC5-7A4C-BBFF-C2F1D36A2CFF}"/>
              </a:ext>
            </a:extLst>
          </p:cNvPr>
          <p:cNvSpPr>
            <a:spLocks noGrp="1" noChangeAspect="1"/>
          </p:cNvSpPr>
          <p:nvPr>
            <p:ph type="body" sz="quarter" idx="17" hasCustomPrompt="1"/>
          </p:nvPr>
        </p:nvSpPr>
        <p:spPr>
          <a:xfrm>
            <a:off x="669509" y="1473519"/>
            <a:ext cx="2052000" cy="2052000"/>
          </a:xfrm>
          <a:prstGeom prst="ellipse">
            <a:avLst/>
          </a:prstGeom>
          <a:solidFill>
            <a:srgbClr val="EDF9F3"/>
          </a:solidFill>
        </p:spPr>
        <p:txBody>
          <a:bodyPr lIns="0" tIns="36000" rIns="0" bIns="36000" anchor="ctr"/>
          <a:lstStyle>
            <a:lvl1pPr marL="0" indent="-17462" algn="ctr">
              <a:lnSpc>
                <a:spcPct val="95000"/>
              </a:lnSpc>
              <a:spcBef>
                <a:spcPts val="0"/>
              </a:spcBef>
              <a:buNone/>
              <a:tabLst/>
              <a:defRPr sz="1400" b="1">
                <a:solidFill>
                  <a:schemeClr val="tx1"/>
                </a:solidFill>
              </a:defRPr>
            </a:lvl1pPr>
          </a:lstStyle>
          <a:p>
            <a:pPr lvl="0"/>
            <a:r>
              <a:rPr lang="en-GB" noProof="0"/>
              <a:t>Click to add text in a maximum of four lines</a:t>
            </a:r>
          </a:p>
        </p:txBody>
      </p:sp>
      <p:sp>
        <p:nvSpPr>
          <p:cNvPr id="11" name="Text 2">
            <a:extLst>
              <a:ext uri="{FF2B5EF4-FFF2-40B4-BE49-F238E27FC236}">
                <a16:creationId xmlns:a16="http://schemas.microsoft.com/office/drawing/2014/main" id="{E23DDBC6-EA11-0449-AB3C-6281C5EDAC05}"/>
              </a:ext>
            </a:extLst>
          </p:cNvPr>
          <p:cNvSpPr>
            <a:spLocks noGrp="1" noChangeAspect="1"/>
          </p:cNvSpPr>
          <p:nvPr>
            <p:ph type="body" sz="quarter" idx="18" hasCustomPrompt="1"/>
          </p:nvPr>
        </p:nvSpPr>
        <p:spPr>
          <a:xfrm>
            <a:off x="3546000" y="1473519"/>
            <a:ext cx="2052000" cy="2052000"/>
          </a:xfrm>
          <a:prstGeom prst="ellipse">
            <a:avLst/>
          </a:prstGeom>
          <a:solidFill>
            <a:srgbClr val="EDF9F3"/>
          </a:solidFill>
        </p:spPr>
        <p:txBody>
          <a:bodyPr lIns="0" tIns="36000" rIns="0" bIns="36000" anchor="ctr"/>
          <a:lstStyle>
            <a:lvl1pPr marL="0" indent="-17462" algn="ctr">
              <a:lnSpc>
                <a:spcPct val="95000"/>
              </a:lnSpc>
              <a:spcBef>
                <a:spcPts val="0"/>
              </a:spcBef>
              <a:buNone/>
              <a:tabLst/>
              <a:defRPr sz="1400" b="1">
                <a:solidFill>
                  <a:schemeClr val="tx1"/>
                </a:solidFill>
              </a:defRPr>
            </a:lvl1pPr>
          </a:lstStyle>
          <a:p>
            <a:pPr lvl="0"/>
            <a:r>
              <a:rPr lang="en-GB" noProof="0"/>
              <a:t>Click to add text in a maximum of four lines</a:t>
            </a:r>
          </a:p>
        </p:txBody>
      </p:sp>
      <p:sp>
        <p:nvSpPr>
          <p:cNvPr id="12" name="Text 3">
            <a:extLst>
              <a:ext uri="{FF2B5EF4-FFF2-40B4-BE49-F238E27FC236}">
                <a16:creationId xmlns:a16="http://schemas.microsoft.com/office/drawing/2014/main" id="{4BE092D2-014A-3A42-9A92-2EBCB0703736}"/>
              </a:ext>
            </a:extLst>
          </p:cNvPr>
          <p:cNvSpPr>
            <a:spLocks noGrp="1" noChangeAspect="1"/>
          </p:cNvSpPr>
          <p:nvPr>
            <p:ph type="body" sz="quarter" idx="19" hasCustomPrompt="1"/>
          </p:nvPr>
        </p:nvSpPr>
        <p:spPr>
          <a:xfrm>
            <a:off x="6432099" y="1473519"/>
            <a:ext cx="2052000" cy="2052000"/>
          </a:xfrm>
          <a:prstGeom prst="ellipse">
            <a:avLst/>
          </a:prstGeom>
          <a:solidFill>
            <a:srgbClr val="EDF9F3"/>
          </a:solidFill>
        </p:spPr>
        <p:txBody>
          <a:bodyPr lIns="0" tIns="36000" rIns="0" bIns="36000" anchor="ctr"/>
          <a:lstStyle>
            <a:lvl1pPr marL="0" indent="-17462" algn="ctr">
              <a:lnSpc>
                <a:spcPct val="95000"/>
              </a:lnSpc>
              <a:spcBef>
                <a:spcPts val="0"/>
              </a:spcBef>
              <a:buNone/>
              <a:tabLst/>
              <a:defRPr sz="1400" b="1">
                <a:solidFill>
                  <a:schemeClr val="tx1"/>
                </a:solidFill>
              </a:defRPr>
            </a:lvl1pPr>
          </a:lstStyle>
          <a:p>
            <a:pPr lvl="0"/>
            <a:r>
              <a:rPr lang="en-GB" noProof="0"/>
              <a:t>Click to add text in a maximum of four lines</a:t>
            </a:r>
          </a:p>
        </p:txBody>
      </p:sp>
      <p:sp>
        <p:nvSpPr>
          <p:cNvPr id="35" name="Date">
            <a:extLst>
              <a:ext uri="{FF2B5EF4-FFF2-40B4-BE49-F238E27FC236}">
                <a16:creationId xmlns:a16="http://schemas.microsoft.com/office/drawing/2014/main" id="{EBF909F0-CE1B-3D46-83B7-E4DA279DC19B}"/>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2C0DDE8A-5FE9-4F74-B575-CFF0DBB687C9}" type="datetime1">
              <a:rPr lang="sv-SE" noProof="0" smtClean="0"/>
              <a:t>2025-09-04</a:t>
            </a:fld>
            <a:endParaRPr lang="en-GB" noProof="0"/>
          </a:p>
        </p:txBody>
      </p:sp>
      <p:sp>
        <p:nvSpPr>
          <p:cNvPr id="36" name="Number">
            <a:extLst>
              <a:ext uri="{FF2B5EF4-FFF2-40B4-BE49-F238E27FC236}">
                <a16:creationId xmlns:a16="http://schemas.microsoft.com/office/drawing/2014/main" id="{EB2FF840-5D29-6845-91DA-E82490F28637}"/>
              </a:ext>
            </a:extLst>
          </p:cNvPr>
          <p:cNvSpPr>
            <a:spLocks noGrp="1"/>
          </p:cNvSpPr>
          <p:nvPr>
            <p:ph type="sldNum" sz="quarter" idx="4"/>
          </p:nvPr>
        </p:nvSpPr>
        <p:spPr>
          <a:xfrm>
            <a:off x="8640418" y="5003475"/>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5" name="Footer">
            <a:extLst>
              <a:ext uri="{FF2B5EF4-FFF2-40B4-BE49-F238E27FC236}">
                <a16:creationId xmlns:a16="http://schemas.microsoft.com/office/drawing/2014/main" id="{4C90DA47-3EEB-B445-BFD0-FB49D53363F6}"/>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err="1"/>
          </a:p>
        </p:txBody>
      </p:sp>
    </p:spTree>
    <p:extLst>
      <p:ext uri="{BB962C8B-B14F-4D97-AF65-F5344CB8AC3E}">
        <p14:creationId xmlns:p14="http://schemas.microsoft.com/office/powerpoint/2010/main" val="3959281799"/>
      </p:ext>
    </p:extLst>
  </p:cSld>
  <p:clrMapOvr>
    <a:masterClrMapping/>
  </p:clrMapOvr>
  <p:extLst>
    <p:ext uri="{DCECCB84-F9BA-43D5-87BE-67443E8EF086}">
      <p15:sldGuideLst xmlns:p15="http://schemas.microsoft.com/office/powerpoint/2012/main"/>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5 Three Icons">
    <p:bg>
      <p:bgPr>
        <a:solidFill>
          <a:schemeClr val="bg2"/>
        </a:solidFill>
        <a:effectLst/>
      </p:bgPr>
    </p:bg>
    <p:spTree>
      <p:nvGrpSpPr>
        <p:cNvPr id="1" name=""/>
        <p:cNvGrpSpPr/>
        <p:nvPr/>
      </p:nvGrpSpPr>
      <p:grpSpPr>
        <a:xfrm>
          <a:off x="0" y="0"/>
          <a:ext cx="0" cy="0"/>
          <a:chOff x="0" y="0"/>
          <a:chExt cx="0" cy="0"/>
        </a:xfrm>
      </p:grpSpPr>
      <p:sp>
        <p:nvSpPr>
          <p:cNvPr id="42" name="Title">
            <a:extLst>
              <a:ext uri="{FF2B5EF4-FFF2-40B4-BE49-F238E27FC236}">
                <a16:creationId xmlns:a16="http://schemas.microsoft.com/office/drawing/2014/main" id="{4EE3E706-517C-DA49-BD6A-D25F70D7C32F}"/>
              </a:ext>
            </a:extLst>
          </p:cNvPr>
          <p:cNvSpPr>
            <a:spLocks noGrp="1"/>
          </p:cNvSpPr>
          <p:nvPr>
            <p:ph type="title" hasCustomPrompt="1"/>
          </p:nvPr>
        </p:nvSpPr>
        <p:spPr>
          <a:xfrm>
            <a:off x="323850" y="525601"/>
            <a:ext cx="7056438" cy="619845"/>
          </a:xfrm>
        </p:spPr>
        <p:txBody>
          <a:bodyPr rIns="144000"/>
          <a:lstStyle>
            <a:lvl1pPr>
              <a:defRPr sz="3000" spc="-70" baseline="0"/>
            </a:lvl1pPr>
          </a:lstStyle>
          <a:p>
            <a:r>
              <a:rPr lang="en-GB" noProof="0"/>
              <a:t>Click to add short headline or delete</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51" y="276227"/>
            <a:ext cx="4176713" cy="276999"/>
          </a:xfrm>
        </p:spPr>
        <p:txBody>
          <a:bodyPr lIns="111600" rIns="144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chapter tracker</a:t>
            </a:r>
          </a:p>
        </p:txBody>
      </p:sp>
      <p:sp>
        <p:nvSpPr>
          <p:cNvPr id="3" name="Icon 1">
            <a:extLst>
              <a:ext uri="{FF2B5EF4-FFF2-40B4-BE49-F238E27FC236}">
                <a16:creationId xmlns:a16="http://schemas.microsoft.com/office/drawing/2014/main" id="{BF6831D5-0949-4149-AC62-D7EE74E03FA0}"/>
              </a:ext>
            </a:extLst>
          </p:cNvPr>
          <p:cNvSpPr>
            <a:spLocks noGrp="1"/>
          </p:cNvSpPr>
          <p:nvPr>
            <p:ph type="pic" sz="quarter" idx="22" hasCustomPrompt="1"/>
          </p:nvPr>
        </p:nvSpPr>
        <p:spPr>
          <a:xfrm>
            <a:off x="1199521" y="2003402"/>
            <a:ext cx="992237" cy="992237"/>
          </a:xfrm>
        </p:spPr>
        <p:txBody>
          <a:bodyPr/>
          <a:lstStyle>
            <a:lvl1pPr algn="ctr">
              <a:buNone/>
              <a:defRPr sz="800"/>
            </a:lvl1pPr>
          </a:lstStyle>
          <a:p>
            <a:r>
              <a:rPr lang="en-GB" sz="800" noProof="0"/>
              <a:t>Click to add icon</a:t>
            </a:r>
            <a:endParaRPr lang="en-GB" noProof="0"/>
          </a:p>
        </p:txBody>
      </p:sp>
      <p:sp>
        <p:nvSpPr>
          <p:cNvPr id="27" name="Subtitle 1">
            <a:extLst>
              <a:ext uri="{FF2B5EF4-FFF2-40B4-BE49-F238E27FC236}">
                <a16:creationId xmlns:a16="http://schemas.microsoft.com/office/drawing/2014/main" id="{66FB5539-4991-4D46-884F-A63F571088C6}"/>
              </a:ext>
            </a:extLst>
          </p:cNvPr>
          <p:cNvSpPr>
            <a:spLocks noGrp="1"/>
          </p:cNvSpPr>
          <p:nvPr>
            <p:ph type="body" sz="quarter" idx="16" hasCustomPrompt="1"/>
          </p:nvPr>
        </p:nvSpPr>
        <p:spPr>
          <a:xfrm>
            <a:off x="323851" y="3390839"/>
            <a:ext cx="2735263" cy="355993"/>
          </a:xfrm>
        </p:spPr>
        <p:txBody>
          <a:bodyPr lIns="144000" rIns="144000" anchor="b"/>
          <a:lstStyle>
            <a:lvl1pPr marL="0" indent="0" algn="ctr">
              <a:lnSpc>
                <a:spcPct val="95000"/>
              </a:lnSpc>
              <a:spcBef>
                <a:spcPts val="0"/>
              </a:spcBef>
              <a:buNone/>
              <a:tabLst/>
              <a:defRPr sz="1800" b="1"/>
            </a:lvl1pPr>
            <a:lvl2pPr marL="0" indent="0">
              <a:buNone/>
              <a:tabLst/>
              <a:defRPr sz="1200"/>
            </a:lvl2pPr>
            <a:lvl3pPr marL="0" indent="0">
              <a:buNone/>
              <a:tabLst/>
              <a:defRPr sz="1200"/>
            </a:lvl3pPr>
            <a:lvl4pPr marL="0" indent="0">
              <a:buNone/>
              <a:tabLst/>
              <a:defRPr sz="1200"/>
            </a:lvl4pPr>
            <a:lvl5pPr marL="0" indent="0">
              <a:buNone/>
              <a:tabLst/>
              <a:defRPr sz="1200"/>
            </a:lvl5pPr>
          </a:lstStyle>
          <a:p>
            <a:pPr lvl="0"/>
            <a:r>
              <a:rPr lang="en-GB" noProof="0"/>
              <a:t>Click to add headline</a:t>
            </a:r>
          </a:p>
        </p:txBody>
      </p:sp>
      <p:sp>
        <p:nvSpPr>
          <p:cNvPr id="28" name="Text 1">
            <a:extLst>
              <a:ext uri="{FF2B5EF4-FFF2-40B4-BE49-F238E27FC236}">
                <a16:creationId xmlns:a16="http://schemas.microsoft.com/office/drawing/2014/main" id="{0BDC7661-3072-564C-891C-82718D2BF14C}"/>
              </a:ext>
            </a:extLst>
          </p:cNvPr>
          <p:cNvSpPr>
            <a:spLocks noGrp="1"/>
          </p:cNvSpPr>
          <p:nvPr>
            <p:ph type="body" sz="quarter" idx="17" hasCustomPrompt="1"/>
          </p:nvPr>
        </p:nvSpPr>
        <p:spPr>
          <a:xfrm>
            <a:off x="323850" y="3777336"/>
            <a:ext cx="2736000" cy="918490"/>
          </a:xfrm>
        </p:spPr>
        <p:txBody>
          <a:bodyPr lIns="180000" rIns="180000"/>
          <a:lstStyle>
            <a:lvl1pPr marL="15875" indent="-15875" algn="ctr">
              <a:buNone/>
              <a:tabLst/>
              <a:defRPr sz="1400"/>
            </a:lvl1pPr>
            <a:lvl2pPr marL="15875" indent="-15875" algn="ctr">
              <a:buNone/>
              <a:tabLst/>
              <a:defRPr sz="1200"/>
            </a:lvl2pPr>
            <a:lvl3pPr marL="15875" indent="-15875" algn="ctr">
              <a:buNone/>
              <a:tabLst/>
              <a:defRPr sz="1200"/>
            </a:lvl3pPr>
            <a:lvl4pPr marL="15875" indent="-15875" algn="ctr">
              <a:buNone/>
              <a:tabLst/>
              <a:defRPr sz="1200"/>
            </a:lvl4pPr>
            <a:lvl5pPr marL="15875" indent="-15875" algn="ctr">
              <a:buNone/>
              <a:tabLst/>
              <a:defRPr sz="1200"/>
            </a:lvl5pPr>
          </a:lstStyle>
          <a:p>
            <a:pPr lvl="0"/>
            <a:r>
              <a:rPr lang="en-GB" noProof="0"/>
              <a:t>Click to add text</a:t>
            </a:r>
          </a:p>
        </p:txBody>
      </p:sp>
      <p:sp>
        <p:nvSpPr>
          <p:cNvPr id="43" name="Icon 2">
            <a:extLst>
              <a:ext uri="{FF2B5EF4-FFF2-40B4-BE49-F238E27FC236}">
                <a16:creationId xmlns:a16="http://schemas.microsoft.com/office/drawing/2014/main" id="{BF57B7AA-6436-9944-BED9-277CEAC62278}"/>
              </a:ext>
            </a:extLst>
          </p:cNvPr>
          <p:cNvSpPr>
            <a:spLocks noGrp="1"/>
          </p:cNvSpPr>
          <p:nvPr>
            <p:ph type="pic" sz="quarter" idx="23" hasCustomPrompt="1"/>
          </p:nvPr>
        </p:nvSpPr>
        <p:spPr>
          <a:xfrm>
            <a:off x="4076071" y="2003402"/>
            <a:ext cx="992237" cy="992237"/>
          </a:xfrm>
        </p:spPr>
        <p:txBody>
          <a:bodyPr/>
          <a:lstStyle>
            <a:lvl1pPr algn="ctr">
              <a:buNone/>
              <a:defRPr sz="800"/>
            </a:lvl1pPr>
          </a:lstStyle>
          <a:p>
            <a:r>
              <a:rPr lang="en-GB" sz="800" noProof="0"/>
              <a:t>Click to add icon</a:t>
            </a:r>
            <a:endParaRPr lang="en-GB" noProof="0"/>
          </a:p>
        </p:txBody>
      </p:sp>
      <p:sp>
        <p:nvSpPr>
          <p:cNvPr id="29" name="Subtitle 2">
            <a:extLst>
              <a:ext uri="{FF2B5EF4-FFF2-40B4-BE49-F238E27FC236}">
                <a16:creationId xmlns:a16="http://schemas.microsoft.com/office/drawing/2014/main" id="{C48D686F-94A2-DD46-82F1-E264BEE11C43}"/>
              </a:ext>
            </a:extLst>
          </p:cNvPr>
          <p:cNvSpPr>
            <a:spLocks noGrp="1"/>
          </p:cNvSpPr>
          <p:nvPr>
            <p:ph type="body" sz="quarter" idx="18" hasCustomPrompt="1"/>
          </p:nvPr>
        </p:nvSpPr>
        <p:spPr>
          <a:xfrm>
            <a:off x="3203576" y="3390839"/>
            <a:ext cx="2735263" cy="355993"/>
          </a:xfrm>
        </p:spPr>
        <p:txBody>
          <a:bodyPr lIns="144000" rIns="144000" anchor="b"/>
          <a:lstStyle>
            <a:lvl1pPr marL="0" indent="0" algn="ctr">
              <a:lnSpc>
                <a:spcPct val="95000"/>
              </a:lnSpc>
              <a:spcBef>
                <a:spcPts val="0"/>
              </a:spcBef>
              <a:buNone/>
              <a:tabLst/>
              <a:defRPr sz="1800" b="1"/>
            </a:lvl1pPr>
            <a:lvl2pPr marL="0" indent="0">
              <a:buNone/>
              <a:tabLst/>
              <a:defRPr sz="1200"/>
            </a:lvl2pPr>
            <a:lvl3pPr marL="0" indent="0">
              <a:buNone/>
              <a:tabLst/>
              <a:defRPr sz="1200"/>
            </a:lvl3pPr>
            <a:lvl4pPr marL="0" indent="0">
              <a:buNone/>
              <a:tabLst/>
              <a:defRPr sz="1200"/>
            </a:lvl4pPr>
            <a:lvl5pPr marL="0" indent="0">
              <a:buNone/>
              <a:tabLst/>
              <a:defRPr sz="1200"/>
            </a:lvl5pPr>
          </a:lstStyle>
          <a:p>
            <a:pPr lvl="0"/>
            <a:r>
              <a:rPr lang="en-GB" noProof="0"/>
              <a:t>Click to add headline</a:t>
            </a:r>
          </a:p>
        </p:txBody>
      </p:sp>
      <p:sp>
        <p:nvSpPr>
          <p:cNvPr id="30" name="Text 2">
            <a:extLst>
              <a:ext uri="{FF2B5EF4-FFF2-40B4-BE49-F238E27FC236}">
                <a16:creationId xmlns:a16="http://schemas.microsoft.com/office/drawing/2014/main" id="{642F0A82-A9F6-AF48-B15A-56A4F0C4908D}"/>
              </a:ext>
            </a:extLst>
          </p:cNvPr>
          <p:cNvSpPr>
            <a:spLocks noGrp="1"/>
          </p:cNvSpPr>
          <p:nvPr>
            <p:ph type="body" sz="quarter" idx="19" hasCustomPrompt="1"/>
          </p:nvPr>
        </p:nvSpPr>
        <p:spPr>
          <a:xfrm>
            <a:off x="3203575" y="3777336"/>
            <a:ext cx="2736000" cy="918490"/>
          </a:xfrm>
        </p:spPr>
        <p:txBody>
          <a:bodyPr lIns="180000" rIns="180000"/>
          <a:lstStyle>
            <a:lvl1pPr marL="15875" indent="-15875" algn="ctr">
              <a:buNone/>
              <a:tabLst/>
              <a:defRPr sz="1400"/>
            </a:lvl1pPr>
            <a:lvl2pPr marL="15875" indent="-15875" algn="ctr">
              <a:buNone/>
              <a:tabLst/>
              <a:defRPr sz="1200"/>
            </a:lvl2pPr>
            <a:lvl3pPr marL="15875" indent="-15875" algn="ctr">
              <a:buNone/>
              <a:tabLst/>
              <a:defRPr sz="1200"/>
            </a:lvl3pPr>
            <a:lvl4pPr marL="15875" indent="-15875" algn="ctr">
              <a:buNone/>
              <a:tabLst/>
              <a:defRPr sz="1200"/>
            </a:lvl4pPr>
            <a:lvl5pPr marL="15875" indent="-15875" algn="ctr">
              <a:buNone/>
              <a:tabLst/>
              <a:defRPr sz="1200"/>
            </a:lvl5pPr>
          </a:lstStyle>
          <a:p>
            <a:pPr lvl="0"/>
            <a:r>
              <a:rPr lang="en-GB" noProof="0"/>
              <a:t>Click to add text</a:t>
            </a:r>
          </a:p>
        </p:txBody>
      </p:sp>
      <p:sp>
        <p:nvSpPr>
          <p:cNvPr id="44" name="Icon 3">
            <a:extLst>
              <a:ext uri="{FF2B5EF4-FFF2-40B4-BE49-F238E27FC236}">
                <a16:creationId xmlns:a16="http://schemas.microsoft.com/office/drawing/2014/main" id="{D533FAC1-ED80-7B4E-8ECA-38C55CFD41A1}"/>
              </a:ext>
            </a:extLst>
          </p:cNvPr>
          <p:cNvSpPr>
            <a:spLocks noGrp="1"/>
          </p:cNvSpPr>
          <p:nvPr>
            <p:ph type="pic" sz="quarter" idx="24" hasCustomPrompt="1"/>
          </p:nvPr>
        </p:nvSpPr>
        <p:spPr>
          <a:xfrm>
            <a:off x="6962146" y="2003402"/>
            <a:ext cx="992237" cy="992237"/>
          </a:xfrm>
        </p:spPr>
        <p:txBody>
          <a:bodyPr/>
          <a:lstStyle>
            <a:lvl1pPr algn="ctr">
              <a:buNone/>
              <a:defRPr sz="800"/>
            </a:lvl1pPr>
          </a:lstStyle>
          <a:p>
            <a:r>
              <a:rPr lang="en-GB" sz="800" noProof="0"/>
              <a:t>Click to add icon</a:t>
            </a:r>
            <a:endParaRPr lang="en-GB" noProof="0"/>
          </a:p>
        </p:txBody>
      </p:sp>
      <p:sp>
        <p:nvSpPr>
          <p:cNvPr id="31" name="Subtitle 3">
            <a:extLst>
              <a:ext uri="{FF2B5EF4-FFF2-40B4-BE49-F238E27FC236}">
                <a16:creationId xmlns:a16="http://schemas.microsoft.com/office/drawing/2014/main" id="{54CE80BA-70B6-674B-8EEE-564BBFD7E630}"/>
              </a:ext>
            </a:extLst>
          </p:cNvPr>
          <p:cNvSpPr>
            <a:spLocks noGrp="1"/>
          </p:cNvSpPr>
          <p:nvPr>
            <p:ph type="body" sz="quarter" idx="20" hasCustomPrompt="1"/>
          </p:nvPr>
        </p:nvSpPr>
        <p:spPr>
          <a:xfrm>
            <a:off x="6084888" y="3390839"/>
            <a:ext cx="2735262" cy="355993"/>
          </a:xfrm>
        </p:spPr>
        <p:txBody>
          <a:bodyPr lIns="144000" rIns="144000" anchor="b"/>
          <a:lstStyle>
            <a:lvl1pPr marL="0" indent="0" algn="ctr">
              <a:lnSpc>
                <a:spcPct val="95000"/>
              </a:lnSpc>
              <a:spcBef>
                <a:spcPts val="0"/>
              </a:spcBef>
              <a:buNone/>
              <a:tabLst/>
              <a:defRPr sz="1800" b="1"/>
            </a:lvl1pPr>
            <a:lvl2pPr marL="0" indent="0">
              <a:buNone/>
              <a:tabLst/>
              <a:defRPr sz="1200"/>
            </a:lvl2pPr>
            <a:lvl3pPr marL="0" indent="0">
              <a:buNone/>
              <a:tabLst/>
              <a:defRPr sz="1200"/>
            </a:lvl3pPr>
            <a:lvl4pPr marL="0" indent="0">
              <a:buNone/>
              <a:tabLst/>
              <a:defRPr sz="1200"/>
            </a:lvl4pPr>
            <a:lvl5pPr marL="0" indent="0">
              <a:buNone/>
              <a:tabLst/>
              <a:defRPr sz="1200"/>
            </a:lvl5pPr>
          </a:lstStyle>
          <a:p>
            <a:pPr lvl="0"/>
            <a:r>
              <a:rPr lang="en-GB" noProof="0"/>
              <a:t>Click to add headline</a:t>
            </a:r>
          </a:p>
        </p:txBody>
      </p:sp>
      <p:sp>
        <p:nvSpPr>
          <p:cNvPr id="32" name="Text 3">
            <a:extLst>
              <a:ext uri="{FF2B5EF4-FFF2-40B4-BE49-F238E27FC236}">
                <a16:creationId xmlns:a16="http://schemas.microsoft.com/office/drawing/2014/main" id="{F5FFA93D-6EB2-9F4D-A77F-D10B1DBE6477}"/>
              </a:ext>
            </a:extLst>
          </p:cNvPr>
          <p:cNvSpPr>
            <a:spLocks noGrp="1"/>
          </p:cNvSpPr>
          <p:nvPr>
            <p:ph type="body" sz="quarter" idx="21" hasCustomPrompt="1"/>
          </p:nvPr>
        </p:nvSpPr>
        <p:spPr>
          <a:xfrm>
            <a:off x="6084888" y="3777336"/>
            <a:ext cx="2736000" cy="918490"/>
          </a:xfrm>
        </p:spPr>
        <p:txBody>
          <a:bodyPr lIns="180000" rIns="180000"/>
          <a:lstStyle>
            <a:lvl1pPr marL="15875" indent="-15875" algn="ctr">
              <a:buNone/>
              <a:tabLst/>
              <a:defRPr sz="1400"/>
            </a:lvl1pPr>
            <a:lvl2pPr marL="15875" indent="-15875" algn="ctr">
              <a:buNone/>
              <a:tabLst/>
              <a:defRPr sz="1200"/>
            </a:lvl2pPr>
            <a:lvl3pPr marL="15875" indent="-15875" algn="ctr">
              <a:buNone/>
              <a:tabLst/>
              <a:defRPr sz="1200"/>
            </a:lvl3pPr>
            <a:lvl4pPr marL="15875" indent="-15875" algn="ctr">
              <a:buNone/>
              <a:tabLst/>
              <a:defRPr sz="1200"/>
            </a:lvl4pPr>
            <a:lvl5pPr marL="15875" indent="-15875" algn="ctr">
              <a:buNone/>
              <a:tabLst/>
              <a:defRPr sz="1200"/>
            </a:lvl5pPr>
          </a:lstStyle>
          <a:p>
            <a:pPr lvl="0"/>
            <a:r>
              <a:rPr lang="en-GB" noProof="0"/>
              <a:t>Click to add text</a:t>
            </a:r>
          </a:p>
        </p:txBody>
      </p:sp>
      <p:sp>
        <p:nvSpPr>
          <p:cNvPr id="35" name="Date">
            <a:extLst>
              <a:ext uri="{FF2B5EF4-FFF2-40B4-BE49-F238E27FC236}">
                <a16:creationId xmlns:a16="http://schemas.microsoft.com/office/drawing/2014/main" id="{EBF909F0-CE1B-3D46-83B7-E4DA279DC19B}"/>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CCB2F444-6FD6-481E-8283-CFD2FB39278F}" type="datetime1">
              <a:rPr lang="sv-SE" noProof="0" smtClean="0"/>
              <a:t>2025-09-04</a:t>
            </a:fld>
            <a:endParaRPr lang="en-GB" noProof="0"/>
          </a:p>
        </p:txBody>
      </p:sp>
      <p:sp>
        <p:nvSpPr>
          <p:cNvPr id="36" name="Number">
            <a:extLst>
              <a:ext uri="{FF2B5EF4-FFF2-40B4-BE49-F238E27FC236}">
                <a16:creationId xmlns:a16="http://schemas.microsoft.com/office/drawing/2014/main" id="{EB2FF840-5D29-6845-91DA-E82490F28637}"/>
              </a:ext>
            </a:extLst>
          </p:cNvPr>
          <p:cNvSpPr>
            <a:spLocks noGrp="1"/>
          </p:cNvSpPr>
          <p:nvPr>
            <p:ph type="sldNum" sz="quarter" idx="4"/>
          </p:nvPr>
        </p:nvSpPr>
        <p:spPr>
          <a:xfrm>
            <a:off x="8640418" y="5003475"/>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8" name="Footer">
            <a:extLst>
              <a:ext uri="{FF2B5EF4-FFF2-40B4-BE49-F238E27FC236}">
                <a16:creationId xmlns:a16="http://schemas.microsoft.com/office/drawing/2014/main" id="{004EB2A8-772A-6F45-A53E-60955D52F3A6}"/>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2833092583"/>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5 Three Images">
    <p:bg>
      <p:bgPr>
        <a:solidFill>
          <a:schemeClr val="bg2"/>
        </a:solidFill>
        <a:effectLst/>
      </p:bgPr>
    </p:bg>
    <p:spTree>
      <p:nvGrpSpPr>
        <p:cNvPr id="1" name=""/>
        <p:cNvGrpSpPr/>
        <p:nvPr/>
      </p:nvGrpSpPr>
      <p:grpSpPr>
        <a:xfrm>
          <a:off x="0" y="0"/>
          <a:ext cx="0" cy="0"/>
          <a:chOff x="0" y="0"/>
          <a:chExt cx="0" cy="0"/>
        </a:xfrm>
      </p:grpSpPr>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51" y="276227"/>
            <a:ext cx="4176713" cy="276999"/>
          </a:xfrm>
        </p:spPr>
        <p:txBody>
          <a:bodyPr lIns="111600" rIns="144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chapter tracker</a:t>
            </a:r>
          </a:p>
        </p:txBody>
      </p:sp>
      <p:sp>
        <p:nvSpPr>
          <p:cNvPr id="4" name="Image 1">
            <a:extLst>
              <a:ext uri="{FF2B5EF4-FFF2-40B4-BE49-F238E27FC236}">
                <a16:creationId xmlns:a16="http://schemas.microsoft.com/office/drawing/2014/main" id="{A5A31898-D5B1-EE4E-A7EE-E18C844975AA}"/>
              </a:ext>
            </a:extLst>
          </p:cNvPr>
          <p:cNvSpPr>
            <a:spLocks noGrp="1"/>
          </p:cNvSpPr>
          <p:nvPr>
            <p:ph type="pic" sz="quarter" idx="22" hasCustomPrompt="1"/>
          </p:nvPr>
        </p:nvSpPr>
        <p:spPr>
          <a:xfrm>
            <a:off x="323851" y="650875"/>
            <a:ext cx="2735263" cy="2451871"/>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17" name="Subtitle 1">
            <a:extLst>
              <a:ext uri="{FF2B5EF4-FFF2-40B4-BE49-F238E27FC236}">
                <a16:creationId xmlns:a16="http://schemas.microsoft.com/office/drawing/2014/main" id="{9539D912-EDEC-D04A-AE66-E4AF2B4B8924}"/>
              </a:ext>
            </a:extLst>
          </p:cNvPr>
          <p:cNvSpPr>
            <a:spLocks noGrp="1"/>
          </p:cNvSpPr>
          <p:nvPr>
            <p:ph type="body" sz="quarter" idx="16" hasCustomPrompt="1"/>
          </p:nvPr>
        </p:nvSpPr>
        <p:spPr>
          <a:xfrm>
            <a:off x="323851" y="3390839"/>
            <a:ext cx="2735263" cy="355993"/>
          </a:xfrm>
        </p:spPr>
        <p:txBody>
          <a:bodyPr lIns="144000" rIns="144000" anchor="b"/>
          <a:lstStyle>
            <a:lvl1pPr marL="0" indent="0" algn="ctr">
              <a:lnSpc>
                <a:spcPct val="95000"/>
              </a:lnSpc>
              <a:spcBef>
                <a:spcPts val="0"/>
              </a:spcBef>
              <a:buNone/>
              <a:tabLst/>
              <a:defRPr sz="1800" b="1"/>
            </a:lvl1pPr>
            <a:lvl2pPr marL="0" indent="0">
              <a:buNone/>
              <a:tabLst/>
              <a:defRPr sz="1200"/>
            </a:lvl2pPr>
            <a:lvl3pPr marL="0" indent="0">
              <a:buNone/>
              <a:tabLst/>
              <a:defRPr sz="1200"/>
            </a:lvl3pPr>
            <a:lvl4pPr marL="0" indent="0">
              <a:buNone/>
              <a:tabLst/>
              <a:defRPr sz="1200"/>
            </a:lvl4pPr>
            <a:lvl5pPr marL="0" indent="0">
              <a:buNone/>
              <a:tabLst/>
              <a:defRPr sz="1200"/>
            </a:lvl5pPr>
          </a:lstStyle>
          <a:p>
            <a:pPr lvl="0"/>
            <a:r>
              <a:rPr lang="en-GB" noProof="0"/>
              <a:t>Click to add headline</a:t>
            </a:r>
          </a:p>
        </p:txBody>
      </p:sp>
      <p:sp>
        <p:nvSpPr>
          <p:cNvPr id="18" name="Text 1">
            <a:extLst>
              <a:ext uri="{FF2B5EF4-FFF2-40B4-BE49-F238E27FC236}">
                <a16:creationId xmlns:a16="http://schemas.microsoft.com/office/drawing/2014/main" id="{42913F9C-29B8-3D4E-A5EA-0F08C0C9FAC6}"/>
              </a:ext>
            </a:extLst>
          </p:cNvPr>
          <p:cNvSpPr>
            <a:spLocks noGrp="1"/>
          </p:cNvSpPr>
          <p:nvPr>
            <p:ph type="body" sz="quarter" idx="17" hasCustomPrompt="1"/>
          </p:nvPr>
        </p:nvSpPr>
        <p:spPr>
          <a:xfrm>
            <a:off x="323850" y="3777336"/>
            <a:ext cx="2736000" cy="918490"/>
          </a:xfrm>
        </p:spPr>
        <p:txBody>
          <a:bodyPr lIns="180000" rIns="180000"/>
          <a:lstStyle>
            <a:lvl1pPr marL="15875" indent="-15875" algn="ctr">
              <a:buNone/>
              <a:tabLst/>
              <a:defRPr sz="1400"/>
            </a:lvl1pPr>
            <a:lvl2pPr marL="15875" indent="-15875" algn="ctr">
              <a:buNone/>
              <a:tabLst/>
              <a:defRPr sz="1200"/>
            </a:lvl2pPr>
            <a:lvl3pPr marL="15875" indent="-15875" algn="ctr">
              <a:buNone/>
              <a:tabLst/>
              <a:defRPr sz="1200"/>
            </a:lvl3pPr>
            <a:lvl4pPr marL="15875" indent="-15875" algn="ctr">
              <a:buNone/>
              <a:tabLst/>
              <a:defRPr sz="1200"/>
            </a:lvl4pPr>
            <a:lvl5pPr marL="15875" indent="-15875" algn="ctr">
              <a:buNone/>
              <a:tabLst/>
              <a:defRPr sz="1200"/>
            </a:lvl5pPr>
          </a:lstStyle>
          <a:p>
            <a:pPr lvl="0"/>
            <a:r>
              <a:rPr lang="en-GB" noProof="0"/>
              <a:t>Click to add text</a:t>
            </a:r>
          </a:p>
        </p:txBody>
      </p:sp>
      <p:sp>
        <p:nvSpPr>
          <p:cNvPr id="19" name="Image 2">
            <a:extLst>
              <a:ext uri="{FF2B5EF4-FFF2-40B4-BE49-F238E27FC236}">
                <a16:creationId xmlns:a16="http://schemas.microsoft.com/office/drawing/2014/main" id="{CFB476F6-A1A2-9341-A7CE-364121691484}"/>
              </a:ext>
            </a:extLst>
          </p:cNvPr>
          <p:cNvSpPr>
            <a:spLocks noGrp="1"/>
          </p:cNvSpPr>
          <p:nvPr>
            <p:ph type="pic" sz="quarter" idx="23" hasCustomPrompt="1"/>
          </p:nvPr>
        </p:nvSpPr>
        <p:spPr>
          <a:xfrm>
            <a:off x="3204370" y="650875"/>
            <a:ext cx="2735263" cy="2451871"/>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22" name="Subtitle 2">
            <a:extLst>
              <a:ext uri="{FF2B5EF4-FFF2-40B4-BE49-F238E27FC236}">
                <a16:creationId xmlns:a16="http://schemas.microsoft.com/office/drawing/2014/main" id="{C3C5B55E-94CB-7B47-B062-5D9F39ACF993}"/>
              </a:ext>
            </a:extLst>
          </p:cNvPr>
          <p:cNvSpPr>
            <a:spLocks noGrp="1"/>
          </p:cNvSpPr>
          <p:nvPr>
            <p:ph type="body" sz="quarter" idx="18" hasCustomPrompt="1"/>
          </p:nvPr>
        </p:nvSpPr>
        <p:spPr>
          <a:xfrm>
            <a:off x="3203576" y="3390839"/>
            <a:ext cx="2735263" cy="355993"/>
          </a:xfrm>
        </p:spPr>
        <p:txBody>
          <a:bodyPr lIns="144000" rIns="144000" anchor="b"/>
          <a:lstStyle>
            <a:lvl1pPr marL="0" indent="0" algn="ctr">
              <a:lnSpc>
                <a:spcPct val="95000"/>
              </a:lnSpc>
              <a:spcBef>
                <a:spcPts val="0"/>
              </a:spcBef>
              <a:buNone/>
              <a:tabLst/>
              <a:defRPr sz="1800" b="1"/>
            </a:lvl1pPr>
            <a:lvl2pPr marL="0" indent="0">
              <a:buNone/>
              <a:tabLst/>
              <a:defRPr sz="1200"/>
            </a:lvl2pPr>
            <a:lvl3pPr marL="0" indent="0">
              <a:buNone/>
              <a:tabLst/>
              <a:defRPr sz="1200"/>
            </a:lvl3pPr>
            <a:lvl4pPr marL="0" indent="0">
              <a:buNone/>
              <a:tabLst/>
              <a:defRPr sz="1200"/>
            </a:lvl4pPr>
            <a:lvl5pPr marL="0" indent="0">
              <a:buNone/>
              <a:tabLst/>
              <a:defRPr sz="1200"/>
            </a:lvl5pPr>
          </a:lstStyle>
          <a:p>
            <a:pPr lvl="0"/>
            <a:r>
              <a:rPr lang="en-GB" noProof="0"/>
              <a:t>Click to add headline</a:t>
            </a:r>
          </a:p>
        </p:txBody>
      </p:sp>
      <p:sp>
        <p:nvSpPr>
          <p:cNvPr id="23" name="Text 2">
            <a:extLst>
              <a:ext uri="{FF2B5EF4-FFF2-40B4-BE49-F238E27FC236}">
                <a16:creationId xmlns:a16="http://schemas.microsoft.com/office/drawing/2014/main" id="{A1A87AB1-E04D-7D40-AA0E-7E9AAA85FDD7}"/>
              </a:ext>
            </a:extLst>
          </p:cNvPr>
          <p:cNvSpPr>
            <a:spLocks noGrp="1"/>
          </p:cNvSpPr>
          <p:nvPr>
            <p:ph type="body" sz="quarter" idx="19" hasCustomPrompt="1"/>
          </p:nvPr>
        </p:nvSpPr>
        <p:spPr>
          <a:xfrm>
            <a:off x="3203575" y="3777336"/>
            <a:ext cx="2736000" cy="918490"/>
          </a:xfrm>
        </p:spPr>
        <p:txBody>
          <a:bodyPr lIns="180000" rIns="180000"/>
          <a:lstStyle>
            <a:lvl1pPr marL="15875" indent="-15875" algn="ctr">
              <a:buNone/>
              <a:tabLst/>
              <a:defRPr sz="1400"/>
            </a:lvl1pPr>
            <a:lvl2pPr marL="15875" indent="-15875" algn="ctr">
              <a:buNone/>
              <a:tabLst/>
              <a:defRPr sz="1200"/>
            </a:lvl2pPr>
            <a:lvl3pPr marL="15875" indent="-15875" algn="ctr">
              <a:buNone/>
              <a:tabLst/>
              <a:defRPr sz="1200"/>
            </a:lvl3pPr>
            <a:lvl4pPr marL="15875" indent="-15875" algn="ctr">
              <a:buNone/>
              <a:tabLst/>
              <a:defRPr sz="1200"/>
            </a:lvl4pPr>
            <a:lvl5pPr marL="15875" indent="-15875" algn="ctr">
              <a:buNone/>
              <a:tabLst/>
              <a:defRPr sz="1200"/>
            </a:lvl5pPr>
          </a:lstStyle>
          <a:p>
            <a:pPr lvl="0"/>
            <a:r>
              <a:rPr lang="en-GB" noProof="0"/>
              <a:t>Click to add text</a:t>
            </a:r>
          </a:p>
        </p:txBody>
      </p:sp>
      <p:sp>
        <p:nvSpPr>
          <p:cNvPr id="20" name="Image 3">
            <a:extLst>
              <a:ext uri="{FF2B5EF4-FFF2-40B4-BE49-F238E27FC236}">
                <a16:creationId xmlns:a16="http://schemas.microsoft.com/office/drawing/2014/main" id="{AA2CC83E-62F3-474B-9DE5-B6EDF26CA353}"/>
              </a:ext>
            </a:extLst>
          </p:cNvPr>
          <p:cNvSpPr>
            <a:spLocks noGrp="1"/>
          </p:cNvSpPr>
          <p:nvPr>
            <p:ph type="pic" sz="quarter" idx="24" hasCustomPrompt="1"/>
          </p:nvPr>
        </p:nvSpPr>
        <p:spPr>
          <a:xfrm>
            <a:off x="6084888" y="650875"/>
            <a:ext cx="2735263" cy="2451871"/>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24" name="Subtitle 3">
            <a:extLst>
              <a:ext uri="{FF2B5EF4-FFF2-40B4-BE49-F238E27FC236}">
                <a16:creationId xmlns:a16="http://schemas.microsoft.com/office/drawing/2014/main" id="{F30BCF56-210D-1340-ACE8-BFCB24314D0A}"/>
              </a:ext>
            </a:extLst>
          </p:cNvPr>
          <p:cNvSpPr>
            <a:spLocks noGrp="1"/>
          </p:cNvSpPr>
          <p:nvPr>
            <p:ph type="body" sz="quarter" idx="20" hasCustomPrompt="1"/>
          </p:nvPr>
        </p:nvSpPr>
        <p:spPr>
          <a:xfrm>
            <a:off x="6084888" y="3390839"/>
            <a:ext cx="2735262" cy="355993"/>
          </a:xfrm>
        </p:spPr>
        <p:txBody>
          <a:bodyPr lIns="144000" rIns="144000" anchor="b"/>
          <a:lstStyle>
            <a:lvl1pPr marL="0" indent="0" algn="ctr">
              <a:lnSpc>
                <a:spcPct val="95000"/>
              </a:lnSpc>
              <a:spcBef>
                <a:spcPts val="0"/>
              </a:spcBef>
              <a:buNone/>
              <a:tabLst/>
              <a:defRPr sz="1800" b="1"/>
            </a:lvl1pPr>
            <a:lvl2pPr marL="0" indent="0">
              <a:buNone/>
              <a:tabLst/>
              <a:defRPr sz="1200"/>
            </a:lvl2pPr>
            <a:lvl3pPr marL="0" indent="0">
              <a:buNone/>
              <a:tabLst/>
              <a:defRPr sz="1200"/>
            </a:lvl3pPr>
            <a:lvl4pPr marL="0" indent="0">
              <a:buNone/>
              <a:tabLst/>
              <a:defRPr sz="1200"/>
            </a:lvl4pPr>
            <a:lvl5pPr marL="0" indent="0">
              <a:buNone/>
              <a:tabLst/>
              <a:defRPr sz="1200"/>
            </a:lvl5pPr>
          </a:lstStyle>
          <a:p>
            <a:pPr lvl="0"/>
            <a:r>
              <a:rPr lang="en-GB" noProof="0"/>
              <a:t>Click to add headline</a:t>
            </a:r>
          </a:p>
        </p:txBody>
      </p:sp>
      <p:sp>
        <p:nvSpPr>
          <p:cNvPr id="25" name="Text 3">
            <a:extLst>
              <a:ext uri="{FF2B5EF4-FFF2-40B4-BE49-F238E27FC236}">
                <a16:creationId xmlns:a16="http://schemas.microsoft.com/office/drawing/2014/main" id="{B6BB44C6-034C-2A4F-9D6D-0F870DF593AF}"/>
              </a:ext>
            </a:extLst>
          </p:cNvPr>
          <p:cNvSpPr>
            <a:spLocks noGrp="1"/>
          </p:cNvSpPr>
          <p:nvPr>
            <p:ph type="body" sz="quarter" idx="21" hasCustomPrompt="1"/>
          </p:nvPr>
        </p:nvSpPr>
        <p:spPr>
          <a:xfrm>
            <a:off x="6084888" y="3777336"/>
            <a:ext cx="2736000" cy="918490"/>
          </a:xfrm>
        </p:spPr>
        <p:txBody>
          <a:bodyPr lIns="180000" rIns="180000"/>
          <a:lstStyle>
            <a:lvl1pPr marL="15875" indent="-15875" algn="ctr">
              <a:buNone/>
              <a:tabLst/>
              <a:defRPr sz="1400"/>
            </a:lvl1pPr>
            <a:lvl2pPr marL="15875" indent="-15875" algn="ctr">
              <a:buNone/>
              <a:tabLst/>
              <a:defRPr sz="1200"/>
            </a:lvl2pPr>
            <a:lvl3pPr marL="15875" indent="-15875" algn="ctr">
              <a:buNone/>
              <a:tabLst/>
              <a:defRPr sz="1200"/>
            </a:lvl3pPr>
            <a:lvl4pPr marL="15875" indent="-15875" algn="ctr">
              <a:buNone/>
              <a:tabLst/>
              <a:defRPr sz="1200"/>
            </a:lvl4pPr>
            <a:lvl5pPr marL="15875" indent="-15875" algn="ctr">
              <a:buNone/>
              <a:tabLst/>
              <a:defRPr sz="1200"/>
            </a:lvl5pPr>
          </a:lstStyle>
          <a:p>
            <a:pPr lvl="0"/>
            <a:r>
              <a:rPr lang="en-GB" noProof="0"/>
              <a:t>Click to add text</a:t>
            </a:r>
          </a:p>
        </p:txBody>
      </p:sp>
      <p:sp>
        <p:nvSpPr>
          <p:cNvPr id="35" name="Date">
            <a:extLst>
              <a:ext uri="{FF2B5EF4-FFF2-40B4-BE49-F238E27FC236}">
                <a16:creationId xmlns:a16="http://schemas.microsoft.com/office/drawing/2014/main" id="{EBF909F0-CE1B-3D46-83B7-E4DA279DC19B}"/>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65A4291A-E796-4052-8758-C81C1D0E5AFD}" type="datetime1">
              <a:rPr lang="sv-SE" noProof="0" smtClean="0"/>
              <a:t>2025-09-04</a:t>
            </a:fld>
            <a:endParaRPr lang="en-GB" noProof="0"/>
          </a:p>
        </p:txBody>
      </p:sp>
      <p:sp>
        <p:nvSpPr>
          <p:cNvPr id="36" name="Number">
            <a:extLst>
              <a:ext uri="{FF2B5EF4-FFF2-40B4-BE49-F238E27FC236}">
                <a16:creationId xmlns:a16="http://schemas.microsoft.com/office/drawing/2014/main" id="{EB2FF840-5D29-6845-91DA-E82490F28637}"/>
              </a:ext>
            </a:extLst>
          </p:cNvPr>
          <p:cNvSpPr>
            <a:spLocks noGrp="1"/>
          </p:cNvSpPr>
          <p:nvPr>
            <p:ph type="sldNum" sz="quarter" idx="4"/>
          </p:nvPr>
        </p:nvSpPr>
        <p:spPr>
          <a:xfrm>
            <a:off x="8640418" y="5003475"/>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21" name="Footer">
            <a:extLst>
              <a:ext uri="{FF2B5EF4-FFF2-40B4-BE49-F238E27FC236}">
                <a16:creationId xmlns:a16="http://schemas.microsoft.com/office/drawing/2014/main" id="{5D5AD7F1-DD0A-5249-BE82-8E2CAFDE6736}"/>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1243727885"/>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5 Chart and Image">
    <p:spTree>
      <p:nvGrpSpPr>
        <p:cNvPr id="1" name=""/>
        <p:cNvGrpSpPr/>
        <p:nvPr/>
      </p:nvGrpSpPr>
      <p:grpSpPr>
        <a:xfrm>
          <a:off x="0" y="0"/>
          <a:ext cx="0" cy="0"/>
          <a:chOff x="0" y="0"/>
          <a:chExt cx="0" cy="0"/>
        </a:xfrm>
      </p:grpSpPr>
      <p:sp>
        <p:nvSpPr>
          <p:cNvPr id="4" name="Image">
            <a:extLst>
              <a:ext uri="{FF2B5EF4-FFF2-40B4-BE49-F238E27FC236}">
                <a16:creationId xmlns:a16="http://schemas.microsoft.com/office/drawing/2014/main" id="{0C18E683-E62F-A04E-9D50-572DEA18E067}"/>
              </a:ext>
            </a:extLst>
          </p:cNvPr>
          <p:cNvSpPr>
            <a:spLocks noGrp="1"/>
          </p:cNvSpPr>
          <p:nvPr>
            <p:ph type="pic" sz="quarter" idx="15" hasCustomPrompt="1"/>
          </p:nvPr>
        </p:nvSpPr>
        <p:spPr>
          <a:xfrm>
            <a:off x="4646613" y="158751"/>
            <a:ext cx="4318000" cy="4681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323850" y="525600"/>
            <a:ext cx="4173538" cy="1498314"/>
          </a:xfrm>
        </p:spPr>
        <p:txBody>
          <a:bodyPr rIns="216000"/>
          <a:lstStyle>
            <a:lvl1pPr>
              <a:defRPr sz="3000" spc="-70"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50" y="276227"/>
            <a:ext cx="4173538" cy="276999"/>
          </a:xfrm>
        </p:spPr>
        <p:txBody>
          <a:bodyPr lIns="111600" rIns="216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chapter tracker</a:t>
            </a:r>
          </a:p>
        </p:txBody>
      </p:sp>
      <p:sp>
        <p:nvSpPr>
          <p:cNvPr id="3" name="Chart">
            <a:extLst>
              <a:ext uri="{FF2B5EF4-FFF2-40B4-BE49-F238E27FC236}">
                <a16:creationId xmlns:a16="http://schemas.microsoft.com/office/drawing/2014/main" id="{D12947F2-2E24-E74E-ABD3-2D0BB0AEAA87}"/>
              </a:ext>
            </a:extLst>
          </p:cNvPr>
          <p:cNvSpPr>
            <a:spLocks noGrp="1"/>
          </p:cNvSpPr>
          <p:nvPr>
            <p:ph type="chart" sz="quarter" idx="16" hasCustomPrompt="1"/>
          </p:nvPr>
        </p:nvSpPr>
        <p:spPr>
          <a:xfrm>
            <a:off x="323851" y="2103439"/>
            <a:ext cx="4025900" cy="2592387"/>
          </a:xfrm>
        </p:spPr>
        <p:txBody>
          <a:bodyPr/>
          <a:lstStyle>
            <a:lvl1pPr algn="ctr">
              <a:buNone/>
              <a:defRPr sz="800"/>
            </a:lvl1pPr>
          </a:lstStyle>
          <a:p>
            <a:r>
              <a:rPr lang="en-GB" noProof="0"/>
              <a:t>Click on the icon to add chart</a:t>
            </a:r>
          </a:p>
        </p:txBody>
      </p:sp>
      <p:sp>
        <p:nvSpPr>
          <p:cNvPr id="2" name="Notes">
            <a:extLst>
              <a:ext uri="{FF2B5EF4-FFF2-40B4-BE49-F238E27FC236}">
                <a16:creationId xmlns:a16="http://schemas.microsoft.com/office/drawing/2014/main" id="{11595CA4-EF2B-D233-21D6-7671E39200FA}"/>
              </a:ext>
            </a:extLst>
          </p:cNvPr>
          <p:cNvSpPr>
            <a:spLocks noGrp="1"/>
          </p:cNvSpPr>
          <p:nvPr>
            <p:ph type="body" sz="quarter" idx="19" hasCustomPrompt="1"/>
          </p:nvPr>
        </p:nvSpPr>
        <p:spPr>
          <a:xfrm>
            <a:off x="323851" y="4695826"/>
            <a:ext cx="4176715" cy="144463"/>
          </a:xfrm>
        </p:spPr>
        <p:txBody>
          <a:bodyPr lIns="111600" tIns="0" rIns="216000" bIns="18000" anchor="b"/>
          <a:lstStyle>
            <a:lvl1pPr marL="0" indent="0">
              <a:spcBef>
                <a:spcPts val="0"/>
              </a:spcBef>
              <a:buNone/>
              <a:tabLst/>
              <a:defRPr sz="600"/>
            </a:lvl1pPr>
            <a:lvl2pPr>
              <a:buNone/>
              <a:defRPr sz="800"/>
            </a:lvl2pPr>
            <a:lvl3pPr>
              <a:buNone/>
              <a:defRPr sz="800"/>
            </a:lvl3pPr>
            <a:lvl4pPr>
              <a:buNone/>
              <a:defRPr sz="800"/>
            </a:lvl4pPr>
            <a:lvl5pPr>
              <a:buNone/>
              <a:defRPr sz="800"/>
            </a:lvl5pPr>
          </a:lstStyle>
          <a:p>
            <a:pPr lvl="0"/>
            <a:r>
              <a:rPr lang="en-GB" noProof="0"/>
              <a:t>*Click to add footnotes</a:t>
            </a:r>
          </a:p>
        </p:txBody>
      </p:sp>
      <p:sp>
        <p:nvSpPr>
          <p:cNvPr id="38" name="Date">
            <a:extLst>
              <a:ext uri="{FF2B5EF4-FFF2-40B4-BE49-F238E27FC236}">
                <a16:creationId xmlns:a16="http://schemas.microsoft.com/office/drawing/2014/main" id="{B7D04508-015B-A24C-A068-9517A03041E5}"/>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7AABE2FE-1C79-46F1-AC1C-387C38D90B6C}" type="datetime1">
              <a:rPr lang="sv-SE" noProof="0" smtClean="0"/>
              <a:t>2025-09-04</a:t>
            </a:fld>
            <a:endParaRPr lang="en-GB" noProof="0"/>
          </a:p>
        </p:txBody>
      </p:sp>
      <p:sp>
        <p:nvSpPr>
          <p:cNvPr id="39" name="Number">
            <a:extLst>
              <a:ext uri="{FF2B5EF4-FFF2-40B4-BE49-F238E27FC236}">
                <a16:creationId xmlns:a16="http://schemas.microsoft.com/office/drawing/2014/main" id="{24E3E452-24F0-1B44-9014-429AC576B5B6}"/>
              </a:ext>
            </a:extLst>
          </p:cNvPr>
          <p:cNvSpPr>
            <a:spLocks noGrp="1"/>
          </p:cNvSpPr>
          <p:nvPr>
            <p:ph type="sldNum" sz="quarter" idx="4"/>
          </p:nvPr>
        </p:nvSpPr>
        <p:spPr>
          <a:xfrm>
            <a:off x="8640418" y="5003475"/>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0" name="Footer">
            <a:extLst>
              <a:ext uri="{FF2B5EF4-FFF2-40B4-BE49-F238E27FC236}">
                <a16:creationId xmlns:a16="http://schemas.microsoft.com/office/drawing/2014/main" id="{29FB046A-7260-684A-8AE8-A5E2FA938289}"/>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743373187"/>
      </p:ext>
    </p:extLst>
  </p:cSld>
  <p:clrMapOvr>
    <a:masterClrMapping/>
  </p:clrMapOvr>
  <p:extLst>
    <p:ext uri="{DCECCB84-F9BA-43D5-87BE-67443E8EF086}">
      <p15:sldGuideLst xmlns:p15="http://schemas.microsoft.com/office/powerpoint/2012/main"/>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5 Text and Chart">
    <p:spTree>
      <p:nvGrpSpPr>
        <p:cNvPr id="1" name=""/>
        <p:cNvGrpSpPr/>
        <p:nvPr/>
      </p:nvGrpSpPr>
      <p:grpSpPr>
        <a:xfrm>
          <a:off x="0" y="0"/>
          <a:ext cx="0" cy="0"/>
          <a:chOff x="0" y="0"/>
          <a:chExt cx="0" cy="0"/>
        </a:xfrm>
      </p:grpSpPr>
      <p:sp>
        <p:nvSpPr>
          <p:cNvPr id="10" name="Rektangel 9">
            <a:extLst>
              <a:ext uri="{FF2B5EF4-FFF2-40B4-BE49-F238E27FC236}">
                <a16:creationId xmlns:a16="http://schemas.microsoft.com/office/drawing/2014/main" id="{A1839504-BA43-3148-B19E-480FB1E15F74}"/>
              </a:ext>
            </a:extLst>
          </p:cNvPr>
          <p:cNvSpPr/>
          <p:nvPr userDrawn="1"/>
        </p:nvSpPr>
        <p:spPr>
          <a:xfrm>
            <a:off x="6084889" y="158751"/>
            <a:ext cx="2879725" cy="46815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323850" y="525600"/>
            <a:ext cx="5616575" cy="1498314"/>
          </a:xfrm>
        </p:spPr>
        <p:txBody>
          <a:bodyPr rIns="144000"/>
          <a:lstStyle>
            <a:lvl1pPr>
              <a:defRPr sz="3000" spc="-70"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51" y="276227"/>
            <a:ext cx="4176713" cy="276999"/>
          </a:xfrm>
        </p:spPr>
        <p:txBody>
          <a:bodyPr lIns="111600" rIns="144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chapter tracker</a:t>
            </a:r>
          </a:p>
        </p:txBody>
      </p:sp>
      <p:sp>
        <p:nvSpPr>
          <p:cNvPr id="12" name="Text 1">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323849" y="2103439"/>
            <a:ext cx="2734161" cy="2592387"/>
          </a:xfrm>
        </p:spPr>
        <p:txBody>
          <a:bodyPr rIns="216000"/>
          <a:lstStyle>
            <a:lvl1pPr>
              <a:defRPr sz="1400"/>
            </a:lvl1pPr>
            <a:lvl2pPr>
              <a:defRPr sz="1200"/>
            </a:lvl2pPr>
            <a:lvl3pPr>
              <a:defRPr sz="1200"/>
            </a:lvl3pPr>
            <a:lvl4pPr>
              <a:defRPr sz="1200"/>
            </a:lvl4pPr>
            <a:lvl5pPr>
              <a:defRPr sz="12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Text 2">
            <a:extLst>
              <a:ext uri="{FF2B5EF4-FFF2-40B4-BE49-F238E27FC236}">
                <a16:creationId xmlns:a16="http://schemas.microsoft.com/office/drawing/2014/main" id="{089CFEC7-99C6-0746-8ADC-4898C0347892}"/>
              </a:ext>
            </a:extLst>
          </p:cNvPr>
          <p:cNvSpPr>
            <a:spLocks noGrp="1"/>
          </p:cNvSpPr>
          <p:nvPr>
            <p:ph type="body" sz="quarter" idx="22" hasCustomPrompt="1"/>
          </p:nvPr>
        </p:nvSpPr>
        <p:spPr>
          <a:xfrm>
            <a:off x="3206263" y="2103439"/>
            <a:ext cx="2734161" cy="2592387"/>
          </a:xfrm>
        </p:spPr>
        <p:txBody>
          <a:bodyPr rIns="216000"/>
          <a:lstStyle>
            <a:lvl1pPr>
              <a:defRPr sz="1400"/>
            </a:lvl1pPr>
            <a:lvl2pPr>
              <a:defRPr sz="1200"/>
            </a:lvl2pPr>
            <a:lvl3pPr>
              <a:defRPr sz="1200"/>
            </a:lvl3pPr>
            <a:lvl4pPr>
              <a:defRPr sz="1200"/>
            </a:lvl4pPr>
            <a:lvl5pPr>
              <a:defRPr sz="12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9" name="Chart">
            <a:extLst>
              <a:ext uri="{FF2B5EF4-FFF2-40B4-BE49-F238E27FC236}">
                <a16:creationId xmlns:a16="http://schemas.microsoft.com/office/drawing/2014/main" id="{A91A41A0-04EF-2048-AE61-5DDC5148F93A}"/>
              </a:ext>
            </a:extLst>
          </p:cNvPr>
          <p:cNvSpPr>
            <a:spLocks noGrp="1"/>
          </p:cNvSpPr>
          <p:nvPr>
            <p:ph type="chart" sz="quarter" idx="15" hasCustomPrompt="1"/>
          </p:nvPr>
        </p:nvSpPr>
        <p:spPr>
          <a:xfrm>
            <a:off x="6221942" y="627064"/>
            <a:ext cx="2605617" cy="2500617"/>
          </a:xfrm>
        </p:spPr>
        <p:txBody>
          <a:bodyPr/>
          <a:lstStyle>
            <a:lvl1pPr algn="ctr">
              <a:buNone/>
              <a:defRPr sz="800"/>
            </a:lvl1pPr>
          </a:lstStyle>
          <a:p>
            <a:r>
              <a:rPr lang="en-GB" noProof="0"/>
              <a:t>Click on the icon to add chart</a:t>
            </a:r>
          </a:p>
        </p:txBody>
      </p:sp>
      <p:sp>
        <p:nvSpPr>
          <p:cNvPr id="14" name="Subtitle 1">
            <a:extLst>
              <a:ext uri="{FF2B5EF4-FFF2-40B4-BE49-F238E27FC236}">
                <a16:creationId xmlns:a16="http://schemas.microsoft.com/office/drawing/2014/main" id="{67982006-AFBB-0E47-AD42-44CEB05BBE12}"/>
              </a:ext>
            </a:extLst>
          </p:cNvPr>
          <p:cNvSpPr>
            <a:spLocks noGrp="1"/>
          </p:cNvSpPr>
          <p:nvPr>
            <p:ph type="body" sz="quarter" idx="20" hasCustomPrompt="1"/>
          </p:nvPr>
        </p:nvSpPr>
        <p:spPr>
          <a:xfrm>
            <a:off x="6228254" y="3390839"/>
            <a:ext cx="2595600" cy="355993"/>
          </a:xfrm>
        </p:spPr>
        <p:txBody>
          <a:bodyPr lIns="144000" rIns="144000" anchor="b"/>
          <a:lstStyle>
            <a:lvl1pPr marL="0" indent="0" algn="ctr">
              <a:lnSpc>
                <a:spcPct val="95000"/>
              </a:lnSpc>
              <a:spcBef>
                <a:spcPts val="0"/>
              </a:spcBef>
              <a:buNone/>
              <a:tabLst/>
              <a:defRPr sz="1800" b="1"/>
            </a:lvl1pPr>
            <a:lvl2pPr marL="0" indent="0">
              <a:buNone/>
              <a:tabLst/>
              <a:defRPr sz="1200"/>
            </a:lvl2pPr>
            <a:lvl3pPr marL="0" indent="0">
              <a:buNone/>
              <a:tabLst/>
              <a:defRPr sz="1200"/>
            </a:lvl3pPr>
            <a:lvl4pPr marL="0" indent="0">
              <a:buNone/>
              <a:tabLst/>
              <a:defRPr sz="1200"/>
            </a:lvl4pPr>
            <a:lvl5pPr marL="0" indent="0">
              <a:buNone/>
              <a:tabLst/>
              <a:defRPr sz="1200"/>
            </a:lvl5pPr>
          </a:lstStyle>
          <a:p>
            <a:pPr lvl="0"/>
            <a:r>
              <a:rPr lang="en-GB" noProof="0"/>
              <a:t>Click to add headline</a:t>
            </a:r>
          </a:p>
        </p:txBody>
      </p:sp>
      <p:sp>
        <p:nvSpPr>
          <p:cNvPr id="18" name="Text 3">
            <a:extLst>
              <a:ext uri="{FF2B5EF4-FFF2-40B4-BE49-F238E27FC236}">
                <a16:creationId xmlns:a16="http://schemas.microsoft.com/office/drawing/2014/main" id="{754D20A8-6A7E-3C4B-82E9-6F1713B7D670}"/>
              </a:ext>
            </a:extLst>
          </p:cNvPr>
          <p:cNvSpPr>
            <a:spLocks noGrp="1"/>
          </p:cNvSpPr>
          <p:nvPr>
            <p:ph type="body" sz="quarter" idx="21" hasCustomPrompt="1"/>
          </p:nvPr>
        </p:nvSpPr>
        <p:spPr>
          <a:xfrm>
            <a:off x="6225647" y="3777336"/>
            <a:ext cx="2598208" cy="918490"/>
          </a:xfrm>
        </p:spPr>
        <p:txBody>
          <a:bodyPr lIns="216000" rIns="216000"/>
          <a:lstStyle>
            <a:lvl1pPr marL="15875" indent="-15875" algn="ctr">
              <a:buNone/>
              <a:tabLst/>
              <a:defRPr sz="1400"/>
            </a:lvl1pPr>
            <a:lvl2pPr marL="15875" indent="-15875" algn="ctr">
              <a:buNone/>
              <a:tabLst/>
              <a:defRPr sz="1200"/>
            </a:lvl2pPr>
            <a:lvl3pPr marL="15875" indent="-15875" algn="ctr">
              <a:buNone/>
              <a:tabLst/>
              <a:defRPr sz="1200"/>
            </a:lvl3pPr>
            <a:lvl4pPr marL="15875" indent="-15875" algn="ctr">
              <a:buNone/>
              <a:tabLst/>
              <a:defRPr sz="1200"/>
            </a:lvl4pPr>
            <a:lvl5pPr marL="15875" indent="-15875" algn="ctr">
              <a:buNone/>
              <a:tabLst/>
              <a:defRPr sz="1200"/>
            </a:lvl5pPr>
          </a:lstStyle>
          <a:p>
            <a:pPr lvl="0"/>
            <a:r>
              <a:rPr lang="en-GB" noProof="0"/>
              <a:t>Click to add text</a:t>
            </a:r>
          </a:p>
        </p:txBody>
      </p:sp>
      <p:sp>
        <p:nvSpPr>
          <p:cNvPr id="2" name="Notes">
            <a:extLst>
              <a:ext uri="{FF2B5EF4-FFF2-40B4-BE49-F238E27FC236}">
                <a16:creationId xmlns:a16="http://schemas.microsoft.com/office/drawing/2014/main" id="{3F5A0366-B78C-8BBB-FBFD-59D31AD2FAEF}"/>
              </a:ext>
            </a:extLst>
          </p:cNvPr>
          <p:cNvSpPr>
            <a:spLocks noGrp="1"/>
          </p:cNvSpPr>
          <p:nvPr>
            <p:ph type="body" sz="quarter" idx="19" hasCustomPrompt="1"/>
          </p:nvPr>
        </p:nvSpPr>
        <p:spPr>
          <a:xfrm>
            <a:off x="6088675" y="4695826"/>
            <a:ext cx="2731476" cy="144463"/>
          </a:xfrm>
        </p:spPr>
        <p:txBody>
          <a:bodyPr lIns="111600" tIns="0" rIns="216000" bIns="18000" anchor="b"/>
          <a:lstStyle>
            <a:lvl1pPr marL="0" indent="0">
              <a:spcBef>
                <a:spcPts val="0"/>
              </a:spcBef>
              <a:buNone/>
              <a:tabLst/>
              <a:defRPr sz="600"/>
            </a:lvl1pPr>
            <a:lvl2pPr>
              <a:buNone/>
              <a:defRPr sz="800"/>
            </a:lvl2pPr>
            <a:lvl3pPr>
              <a:buNone/>
              <a:defRPr sz="800"/>
            </a:lvl3pPr>
            <a:lvl4pPr>
              <a:buNone/>
              <a:defRPr sz="800"/>
            </a:lvl4pPr>
            <a:lvl5pPr>
              <a:buNone/>
              <a:defRPr sz="800"/>
            </a:lvl5pPr>
          </a:lstStyle>
          <a:p>
            <a:pPr lvl="0"/>
            <a:r>
              <a:rPr lang="en-GB" noProof="0"/>
              <a:t>*Click to add footnotes</a:t>
            </a:r>
          </a:p>
        </p:txBody>
      </p:sp>
      <p:sp>
        <p:nvSpPr>
          <p:cNvPr id="38" name="Date">
            <a:extLst>
              <a:ext uri="{FF2B5EF4-FFF2-40B4-BE49-F238E27FC236}">
                <a16:creationId xmlns:a16="http://schemas.microsoft.com/office/drawing/2014/main" id="{9AD8DCC8-E09D-6045-BD4F-CD56F045E71F}"/>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8B34CAD2-A44F-486D-BFBC-37049E301BA7}" type="datetime1">
              <a:rPr lang="sv-SE" noProof="0" smtClean="0"/>
              <a:t>2025-09-04</a:t>
            </a:fld>
            <a:endParaRPr lang="en-GB" noProof="0"/>
          </a:p>
        </p:txBody>
      </p:sp>
      <p:sp>
        <p:nvSpPr>
          <p:cNvPr id="39" name="Number">
            <a:extLst>
              <a:ext uri="{FF2B5EF4-FFF2-40B4-BE49-F238E27FC236}">
                <a16:creationId xmlns:a16="http://schemas.microsoft.com/office/drawing/2014/main" id="{8146F900-BA4E-2B4B-B712-8BFC2919DDD1}"/>
              </a:ext>
            </a:extLst>
          </p:cNvPr>
          <p:cNvSpPr>
            <a:spLocks noGrp="1"/>
          </p:cNvSpPr>
          <p:nvPr>
            <p:ph type="sldNum" sz="quarter" idx="4"/>
          </p:nvPr>
        </p:nvSpPr>
        <p:spPr>
          <a:xfrm>
            <a:off x="8640418" y="5003475"/>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5" name="Footer">
            <a:extLst>
              <a:ext uri="{FF2B5EF4-FFF2-40B4-BE49-F238E27FC236}">
                <a16:creationId xmlns:a16="http://schemas.microsoft.com/office/drawing/2014/main" id="{75B76674-8D8E-5447-A5ED-487EED102E9F}"/>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4117874688"/>
      </p:ext>
    </p:extLst>
  </p:cSld>
  <p:clrMapOvr>
    <a:masterClrMapping/>
  </p:clrMapOvr>
  <p:extLst>
    <p:ext uri="{DCECCB84-F9BA-43D5-87BE-67443E8EF086}">
      <p15:sldGuideLst xmlns:p15="http://schemas.microsoft.com/office/powerpoint/2012/main"/>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5 Headline only">
    <p:bg>
      <p:bgPr>
        <a:solidFill>
          <a:schemeClr val="bg2"/>
        </a:solidFill>
        <a:effectLst/>
      </p:bgPr>
    </p:bg>
    <p:spTree>
      <p:nvGrpSpPr>
        <p:cNvPr id="1" name=""/>
        <p:cNvGrpSpPr/>
        <p:nvPr/>
      </p:nvGrpSpPr>
      <p:grpSpPr>
        <a:xfrm>
          <a:off x="0" y="0"/>
          <a:ext cx="0" cy="0"/>
          <a:chOff x="0" y="0"/>
          <a:chExt cx="0" cy="0"/>
        </a:xfrm>
      </p:grpSpPr>
      <p:sp>
        <p:nvSpPr>
          <p:cNvPr id="35" name="Date">
            <a:extLst>
              <a:ext uri="{FF2B5EF4-FFF2-40B4-BE49-F238E27FC236}">
                <a16:creationId xmlns:a16="http://schemas.microsoft.com/office/drawing/2014/main" id="{EBF909F0-CE1B-3D46-83B7-E4DA279DC19B}"/>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5B578804-E8E1-4D0F-BD4C-ACE82EFB736F}" type="datetime1">
              <a:rPr lang="sv-SE" noProof="0" smtClean="0"/>
              <a:t>2025-09-04</a:t>
            </a:fld>
            <a:endParaRPr lang="en-GB" noProof="0"/>
          </a:p>
        </p:txBody>
      </p:sp>
      <p:sp>
        <p:nvSpPr>
          <p:cNvPr id="36" name="Number">
            <a:extLst>
              <a:ext uri="{FF2B5EF4-FFF2-40B4-BE49-F238E27FC236}">
                <a16:creationId xmlns:a16="http://schemas.microsoft.com/office/drawing/2014/main" id="{EB2FF840-5D29-6845-91DA-E82490F28637}"/>
              </a:ext>
            </a:extLst>
          </p:cNvPr>
          <p:cNvSpPr>
            <a:spLocks noGrp="1"/>
          </p:cNvSpPr>
          <p:nvPr>
            <p:ph type="sldNum" sz="quarter" idx="4"/>
          </p:nvPr>
        </p:nvSpPr>
        <p:spPr>
          <a:xfrm>
            <a:off x="8640418" y="5003475"/>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9" name="Footer">
            <a:extLst>
              <a:ext uri="{FF2B5EF4-FFF2-40B4-BE49-F238E27FC236}">
                <a16:creationId xmlns:a16="http://schemas.microsoft.com/office/drawing/2014/main" id="{616B5AAB-F6E7-9147-98E7-3D0B31E4B4D8}"/>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1110838967"/>
      </p:ext>
    </p:extLst>
  </p:cSld>
  <p:clrMapOvr>
    <a:masterClrMapping/>
  </p:clrMapOvr>
  <p:extLst>
    <p:ext uri="{DCECCB84-F9BA-43D5-87BE-67443E8EF086}">
      <p15:sldGuideLst xmlns:p15="http://schemas.microsoft.com/office/powerpoint/2012/main"/>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5 Full image">
    <p:spTree>
      <p:nvGrpSpPr>
        <p:cNvPr id="1" name=""/>
        <p:cNvGrpSpPr/>
        <p:nvPr/>
      </p:nvGrpSpPr>
      <p:grpSpPr>
        <a:xfrm>
          <a:off x="0" y="0"/>
          <a:ext cx="0" cy="0"/>
          <a:chOff x="0" y="0"/>
          <a:chExt cx="0" cy="0"/>
        </a:xfrm>
      </p:grpSpPr>
      <p:sp>
        <p:nvSpPr>
          <p:cNvPr id="3" name="Background image">
            <a:extLst>
              <a:ext uri="{FF2B5EF4-FFF2-40B4-BE49-F238E27FC236}">
                <a16:creationId xmlns:a16="http://schemas.microsoft.com/office/drawing/2014/main" id="{9F1AC932-946D-0741-A2C9-2D08F5084820}"/>
              </a:ext>
            </a:extLst>
          </p:cNvPr>
          <p:cNvSpPr>
            <a:spLocks noGrp="1"/>
          </p:cNvSpPr>
          <p:nvPr>
            <p:ph type="pic" sz="quarter" idx="10" hasCustomPrompt="1"/>
          </p:nvPr>
        </p:nvSpPr>
        <p:spPr>
          <a:xfrm>
            <a:off x="179389" y="158751"/>
            <a:ext cx="8785322" cy="4681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35" name="Date">
            <a:extLst>
              <a:ext uri="{FF2B5EF4-FFF2-40B4-BE49-F238E27FC236}">
                <a16:creationId xmlns:a16="http://schemas.microsoft.com/office/drawing/2014/main" id="{EBF909F0-CE1B-3D46-83B7-E4DA279DC19B}"/>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F78E0705-6569-4C71-B939-BFBD8B2042B3}" type="datetime1">
              <a:rPr lang="sv-SE" noProof="0" smtClean="0"/>
              <a:t>2025-09-04</a:t>
            </a:fld>
            <a:endParaRPr lang="en-GB" noProof="0"/>
          </a:p>
        </p:txBody>
      </p:sp>
      <p:sp>
        <p:nvSpPr>
          <p:cNvPr id="36" name="Number">
            <a:extLst>
              <a:ext uri="{FF2B5EF4-FFF2-40B4-BE49-F238E27FC236}">
                <a16:creationId xmlns:a16="http://schemas.microsoft.com/office/drawing/2014/main" id="{EB2FF840-5D29-6845-91DA-E82490F28637}"/>
              </a:ext>
            </a:extLst>
          </p:cNvPr>
          <p:cNvSpPr>
            <a:spLocks noGrp="1"/>
          </p:cNvSpPr>
          <p:nvPr>
            <p:ph type="sldNum" sz="quarter" idx="4"/>
          </p:nvPr>
        </p:nvSpPr>
        <p:spPr>
          <a:xfrm>
            <a:off x="8640418" y="5003475"/>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6" name="Footer">
            <a:extLst>
              <a:ext uri="{FF2B5EF4-FFF2-40B4-BE49-F238E27FC236}">
                <a16:creationId xmlns:a16="http://schemas.microsoft.com/office/drawing/2014/main" id="{FD8AC7D3-A9FD-F249-A363-5AE59D634F07}"/>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2050075686"/>
      </p:ext>
    </p:extLst>
  </p:cSld>
  <p:clrMapOvr>
    <a:masterClrMapping/>
  </p:clrMapOvr>
  <p:extLst>
    <p:ext uri="{DCECCB84-F9BA-43D5-87BE-67443E8EF086}">
      <p15:sldGuideLst xmlns:p15="http://schemas.microsoft.com/office/powerpoint/2012/main"/>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 Two images">
    <p:spTree>
      <p:nvGrpSpPr>
        <p:cNvPr id="1" name=""/>
        <p:cNvGrpSpPr/>
        <p:nvPr/>
      </p:nvGrpSpPr>
      <p:grpSpPr>
        <a:xfrm>
          <a:off x="0" y="0"/>
          <a:ext cx="0" cy="0"/>
          <a:chOff x="0" y="0"/>
          <a:chExt cx="0" cy="0"/>
        </a:xfrm>
      </p:grpSpPr>
      <p:sp>
        <p:nvSpPr>
          <p:cNvPr id="9" name="Image 1">
            <a:extLst>
              <a:ext uri="{FF2B5EF4-FFF2-40B4-BE49-F238E27FC236}">
                <a16:creationId xmlns:a16="http://schemas.microsoft.com/office/drawing/2014/main" id="{C852BE8F-C448-8C49-AD64-836FAF5E88FE}"/>
              </a:ext>
            </a:extLst>
          </p:cNvPr>
          <p:cNvSpPr>
            <a:spLocks noGrp="1"/>
          </p:cNvSpPr>
          <p:nvPr>
            <p:ph type="pic" sz="quarter" idx="16" hasCustomPrompt="1"/>
          </p:nvPr>
        </p:nvSpPr>
        <p:spPr>
          <a:xfrm>
            <a:off x="179388" y="158751"/>
            <a:ext cx="4321272" cy="4681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4" name="Image 2">
            <a:extLst>
              <a:ext uri="{FF2B5EF4-FFF2-40B4-BE49-F238E27FC236}">
                <a16:creationId xmlns:a16="http://schemas.microsoft.com/office/drawing/2014/main" id="{0C18E683-E62F-A04E-9D50-572DEA18E067}"/>
              </a:ext>
            </a:extLst>
          </p:cNvPr>
          <p:cNvSpPr>
            <a:spLocks noGrp="1"/>
          </p:cNvSpPr>
          <p:nvPr>
            <p:ph type="pic" sz="quarter" idx="15" hasCustomPrompt="1"/>
          </p:nvPr>
        </p:nvSpPr>
        <p:spPr>
          <a:xfrm>
            <a:off x="4643439" y="158751"/>
            <a:ext cx="4321272" cy="4681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38" name="Date">
            <a:extLst>
              <a:ext uri="{FF2B5EF4-FFF2-40B4-BE49-F238E27FC236}">
                <a16:creationId xmlns:a16="http://schemas.microsoft.com/office/drawing/2014/main" id="{B7D04508-015B-A24C-A068-9517A03041E5}"/>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44CEEFAB-5901-49ED-81D4-D74311479BA9}" type="datetime1">
              <a:rPr lang="sv-SE" noProof="0" smtClean="0"/>
              <a:t>2025-09-04</a:t>
            </a:fld>
            <a:endParaRPr lang="en-GB" noProof="0"/>
          </a:p>
        </p:txBody>
      </p:sp>
      <p:sp>
        <p:nvSpPr>
          <p:cNvPr id="39" name="Number">
            <a:extLst>
              <a:ext uri="{FF2B5EF4-FFF2-40B4-BE49-F238E27FC236}">
                <a16:creationId xmlns:a16="http://schemas.microsoft.com/office/drawing/2014/main" id="{24E3E452-24F0-1B44-9014-429AC576B5B6}"/>
              </a:ext>
            </a:extLst>
          </p:cNvPr>
          <p:cNvSpPr>
            <a:spLocks noGrp="1"/>
          </p:cNvSpPr>
          <p:nvPr>
            <p:ph type="sldNum" sz="quarter" idx="4"/>
          </p:nvPr>
        </p:nvSpPr>
        <p:spPr>
          <a:xfrm>
            <a:off x="8640418" y="5003475"/>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0" name="Footer">
            <a:extLst>
              <a:ext uri="{FF2B5EF4-FFF2-40B4-BE49-F238E27FC236}">
                <a16:creationId xmlns:a16="http://schemas.microsoft.com/office/drawing/2014/main" id="{9F273896-B1DA-2A4A-9AEB-368D26B986DD}"/>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2485435862"/>
      </p:ext>
    </p:extLst>
  </p:cSld>
  <p:clrMapOvr>
    <a:masterClrMapping/>
  </p:clrMapOvr>
  <p:extLst>
    <p:ext uri="{DCECCB84-F9BA-43D5-87BE-67443E8EF086}">
      <p15:sldGuideLst xmlns:p15="http://schemas.microsoft.com/office/powerpoint/2012/main"/>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5 Four images">
    <p:spTree>
      <p:nvGrpSpPr>
        <p:cNvPr id="1" name=""/>
        <p:cNvGrpSpPr/>
        <p:nvPr/>
      </p:nvGrpSpPr>
      <p:grpSpPr>
        <a:xfrm>
          <a:off x="0" y="0"/>
          <a:ext cx="0" cy="0"/>
          <a:chOff x="0" y="0"/>
          <a:chExt cx="0" cy="0"/>
        </a:xfrm>
      </p:grpSpPr>
      <p:sp>
        <p:nvSpPr>
          <p:cNvPr id="3" name="Image 1">
            <a:extLst>
              <a:ext uri="{FF2B5EF4-FFF2-40B4-BE49-F238E27FC236}">
                <a16:creationId xmlns:a16="http://schemas.microsoft.com/office/drawing/2014/main" id="{9F1AC932-946D-0741-A2C9-2D08F5084820}"/>
              </a:ext>
            </a:extLst>
          </p:cNvPr>
          <p:cNvSpPr>
            <a:spLocks noGrp="1"/>
          </p:cNvSpPr>
          <p:nvPr>
            <p:ph type="pic" sz="quarter" idx="10" hasCustomPrompt="1"/>
          </p:nvPr>
        </p:nvSpPr>
        <p:spPr>
          <a:xfrm>
            <a:off x="179389" y="158751"/>
            <a:ext cx="4321175" cy="2268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7" name="Image 2">
            <a:extLst>
              <a:ext uri="{FF2B5EF4-FFF2-40B4-BE49-F238E27FC236}">
                <a16:creationId xmlns:a16="http://schemas.microsoft.com/office/drawing/2014/main" id="{B114F85C-8B26-BE4A-B292-29FD00F542C6}"/>
              </a:ext>
            </a:extLst>
          </p:cNvPr>
          <p:cNvSpPr>
            <a:spLocks noGrp="1"/>
          </p:cNvSpPr>
          <p:nvPr>
            <p:ph type="pic" sz="quarter" idx="11" hasCustomPrompt="1"/>
          </p:nvPr>
        </p:nvSpPr>
        <p:spPr>
          <a:xfrm>
            <a:off x="4643440" y="158751"/>
            <a:ext cx="4321175" cy="2268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8" name="Image 3">
            <a:extLst>
              <a:ext uri="{FF2B5EF4-FFF2-40B4-BE49-F238E27FC236}">
                <a16:creationId xmlns:a16="http://schemas.microsoft.com/office/drawing/2014/main" id="{C1764068-BB7E-844C-8FE4-5E6E64CD8234}"/>
              </a:ext>
            </a:extLst>
          </p:cNvPr>
          <p:cNvSpPr>
            <a:spLocks noGrp="1"/>
          </p:cNvSpPr>
          <p:nvPr>
            <p:ph type="pic" sz="quarter" idx="12" hasCustomPrompt="1"/>
          </p:nvPr>
        </p:nvSpPr>
        <p:spPr>
          <a:xfrm>
            <a:off x="179389" y="2572850"/>
            <a:ext cx="4321175" cy="2267439"/>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9" name="Image 4">
            <a:extLst>
              <a:ext uri="{FF2B5EF4-FFF2-40B4-BE49-F238E27FC236}">
                <a16:creationId xmlns:a16="http://schemas.microsoft.com/office/drawing/2014/main" id="{8DDF5D38-B4FD-9A4D-B8B3-F65485F88AA0}"/>
              </a:ext>
            </a:extLst>
          </p:cNvPr>
          <p:cNvSpPr>
            <a:spLocks noGrp="1"/>
          </p:cNvSpPr>
          <p:nvPr>
            <p:ph type="pic" sz="quarter" idx="13" hasCustomPrompt="1"/>
          </p:nvPr>
        </p:nvSpPr>
        <p:spPr>
          <a:xfrm>
            <a:off x="4643440" y="2572850"/>
            <a:ext cx="4321175" cy="2267439"/>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35" name="Date">
            <a:extLst>
              <a:ext uri="{FF2B5EF4-FFF2-40B4-BE49-F238E27FC236}">
                <a16:creationId xmlns:a16="http://schemas.microsoft.com/office/drawing/2014/main" id="{EBF909F0-CE1B-3D46-83B7-E4DA279DC19B}"/>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78B543B1-0CEC-49C0-B701-0FBF4E59EDDF}" type="datetime1">
              <a:rPr lang="sv-SE" noProof="0" smtClean="0"/>
              <a:t>2025-09-04</a:t>
            </a:fld>
            <a:endParaRPr lang="en-GB" noProof="0"/>
          </a:p>
        </p:txBody>
      </p:sp>
      <p:sp>
        <p:nvSpPr>
          <p:cNvPr id="36" name="Number">
            <a:extLst>
              <a:ext uri="{FF2B5EF4-FFF2-40B4-BE49-F238E27FC236}">
                <a16:creationId xmlns:a16="http://schemas.microsoft.com/office/drawing/2014/main" id="{EB2FF840-5D29-6845-91DA-E82490F28637}"/>
              </a:ext>
            </a:extLst>
          </p:cNvPr>
          <p:cNvSpPr>
            <a:spLocks noGrp="1"/>
          </p:cNvSpPr>
          <p:nvPr>
            <p:ph type="sldNum" sz="quarter" idx="4"/>
          </p:nvPr>
        </p:nvSpPr>
        <p:spPr>
          <a:xfrm>
            <a:off x="8640418" y="5003475"/>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6" name="Footer">
            <a:extLst>
              <a:ext uri="{FF2B5EF4-FFF2-40B4-BE49-F238E27FC236}">
                <a16:creationId xmlns:a16="http://schemas.microsoft.com/office/drawing/2014/main" id="{FD8AC7D3-A9FD-F249-A363-5AE59D634F07}"/>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534058525"/>
      </p:ext>
    </p:extLst>
  </p:cSld>
  <p:clrMapOvr>
    <a:masterClrMapping/>
  </p:clrMapOvr>
  <p:extLst>
    <p:ext uri="{DCECCB84-F9BA-43D5-87BE-67443E8EF086}">
      <p15:sldGuideLst xmlns:p15="http://schemas.microsoft.com/office/powerpoint/2012/main">
        <p15:guide id="1" orient="horz" pos="1575">
          <p15:clr>
            <a:srgbClr val="FBAE40"/>
          </p15:clr>
        </p15:guide>
        <p15:guide id="2" orient="horz" pos="1620">
          <p15:clr>
            <a:srgbClr val="FBAE40"/>
          </p15:clr>
        </p15:guide>
        <p15:guide id="3" orient="horz" pos="152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 Three Bullets and Image">
    <p:spTree>
      <p:nvGrpSpPr>
        <p:cNvPr id="1" name=""/>
        <p:cNvGrpSpPr/>
        <p:nvPr/>
      </p:nvGrpSpPr>
      <p:grpSpPr>
        <a:xfrm>
          <a:off x="0" y="0"/>
          <a:ext cx="0" cy="0"/>
          <a:chOff x="0" y="0"/>
          <a:chExt cx="0" cy="0"/>
        </a:xfrm>
      </p:grpSpPr>
      <p:sp>
        <p:nvSpPr>
          <p:cNvPr id="19" name="Background image">
            <a:extLst>
              <a:ext uri="{FF2B5EF4-FFF2-40B4-BE49-F238E27FC236}">
                <a16:creationId xmlns:a16="http://schemas.microsoft.com/office/drawing/2014/main" id="{1C249437-ECE8-8C43-BEB1-A558F34C86D4}"/>
              </a:ext>
            </a:extLst>
          </p:cNvPr>
          <p:cNvSpPr>
            <a:spLocks noGrp="1"/>
          </p:cNvSpPr>
          <p:nvPr>
            <p:ph type="pic" sz="quarter" idx="10" hasCustomPrompt="1"/>
          </p:nvPr>
        </p:nvSpPr>
        <p:spPr>
          <a:xfrm>
            <a:off x="179388" y="158750"/>
            <a:ext cx="8785322" cy="4681538"/>
          </a:xfrm>
          <a:blipFill>
            <a:blip r:embed="rId2"/>
            <a:tile tx="0" ty="0" sx="100000" sy="100000" flip="none" algn="tl"/>
          </a:blipFill>
        </p:spPr>
        <p:txBody>
          <a:bodyPr/>
          <a:lstStyle>
            <a:lvl1pPr algn="r">
              <a:buNone/>
              <a:defRPr sz="800">
                <a:solidFill>
                  <a:schemeClr val="bg1">
                    <a:lumMod val="75000"/>
                  </a:schemeClr>
                </a:solidFill>
              </a:defRPr>
            </a:lvl1pPr>
          </a:lstStyle>
          <a:p>
            <a:r>
              <a:rPr lang="en-GB" noProof="0"/>
              <a:t>Select placeholder and select Insert &gt; Pictures</a:t>
            </a:r>
          </a:p>
        </p:txBody>
      </p:sp>
      <p:sp>
        <p:nvSpPr>
          <p:cNvPr id="13" name="Title">
            <a:extLst>
              <a:ext uri="{FF2B5EF4-FFF2-40B4-BE49-F238E27FC236}">
                <a16:creationId xmlns:a16="http://schemas.microsoft.com/office/drawing/2014/main" id="{E49F3BE6-D2B1-164B-B9F4-18257A7F1BEE}"/>
              </a:ext>
            </a:extLst>
          </p:cNvPr>
          <p:cNvSpPr>
            <a:spLocks noGrp="1"/>
          </p:cNvSpPr>
          <p:nvPr>
            <p:ph type="title" hasCustomPrompt="1"/>
          </p:nvPr>
        </p:nvSpPr>
        <p:spPr>
          <a:xfrm>
            <a:off x="323848" y="525600"/>
            <a:ext cx="7056440" cy="630236"/>
          </a:xfrm>
        </p:spPr>
        <p:txBody>
          <a:bodyPr rIns="216000"/>
          <a:lstStyle>
            <a:lvl1pPr>
              <a:defRPr sz="3000" spc="-50" baseline="0">
                <a:solidFill>
                  <a:schemeClr val="bg1"/>
                </a:solidFill>
              </a:defRPr>
            </a:lvl1pPr>
          </a:lstStyle>
          <a:p>
            <a:r>
              <a:rPr lang="en-GB" noProof="0"/>
              <a:t>Click to add short headline or delete</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50" y="276226"/>
            <a:ext cx="4176713" cy="276999"/>
          </a:xfrm>
        </p:spPr>
        <p:txBody>
          <a:bodyPr lIns="111600" rIns="216000" anchor="t"/>
          <a:lstStyle>
            <a:lvl1pPr marL="3175" indent="-3175">
              <a:buNone/>
              <a:tabLst/>
              <a:defRPr sz="1200" b="1">
                <a:solidFill>
                  <a:schemeClr val="bg1"/>
                </a:solidFill>
              </a:defRPr>
            </a:lvl1pPr>
            <a:lvl2pPr>
              <a:buNone/>
              <a:defRPr/>
            </a:lvl2pPr>
            <a:lvl3pPr>
              <a:buNone/>
              <a:defRPr/>
            </a:lvl3pPr>
            <a:lvl4pPr>
              <a:buNone/>
              <a:defRPr/>
            </a:lvl4pPr>
            <a:lvl5pPr>
              <a:buNone/>
              <a:defRPr/>
            </a:lvl5pPr>
          </a:lstStyle>
          <a:p>
            <a:pPr lvl="0"/>
            <a:r>
              <a:rPr lang="en-GB" noProof="0"/>
              <a:t>Click to add navigation/chapter tracker</a:t>
            </a:r>
          </a:p>
        </p:txBody>
      </p:sp>
      <p:sp>
        <p:nvSpPr>
          <p:cNvPr id="10" name="Text 1">
            <a:extLst>
              <a:ext uri="{FF2B5EF4-FFF2-40B4-BE49-F238E27FC236}">
                <a16:creationId xmlns:a16="http://schemas.microsoft.com/office/drawing/2014/main" id="{A0D0A950-AAC5-7A4C-BBFF-C2F1D36A2CFF}"/>
              </a:ext>
            </a:extLst>
          </p:cNvPr>
          <p:cNvSpPr>
            <a:spLocks noGrp="1" noChangeAspect="1"/>
          </p:cNvSpPr>
          <p:nvPr>
            <p:ph type="body" sz="quarter" idx="17" hasCustomPrompt="1"/>
          </p:nvPr>
        </p:nvSpPr>
        <p:spPr>
          <a:xfrm>
            <a:off x="669509" y="1473519"/>
            <a:ext cx="2052000" cy="2052000"/>
          </a:xfrm>
          <a:prstGeom prst="ellipse">
            <a:avLst/>
          </a:prstGeom>
          <a:solidFill>
            <a:srgbClr val="EDF9F3"/>
          </a:solidFill>
        </p:spPr>
        <p:txBody>
          <a:bodyPr lIns="0" tIns="36000" rIns="0" bIns="36000" anchor="ctr"/>
          <a:lstStyle>
            <a:lvl1pPr marL="0" indent="-17463" algn="ctr">
              <a:lnSpc>
                <a:spcPct val="95000"/>
              </a:lnSpc>
              <a:spcBef>
                <a:spcPts val="0"/>
              </a:spcBef>
              <a:buNone/>
              <a:tabLst/>
              <a:defRPr sz="1400" b="1">
                <a:solidFill>
                  <a:schemeClr val="tx1"/>
                </a:solidFill>
              </a:defRPr>
            </a:lvl1pPr>
          </a:lstStyle>
          <a:p>
            <a:pPr lvl="0"/>
            <a:r>
              <a:rPr lang="en-GB" noProof="0"/>
              <a:t>Click to add text in a maximum of four lines</a:t>
            </a:r>
          </a:p>
        </p:txBody>
      </p:sp>
      <p:sp>
        <p:nvSpPr>
          <p:cNvPr id="11" name="Text 2">
            <a:extLst>
              <a:ext uri="{FF2B5EF4-FFF2-40B4-BE49-F238E27FC236}">
                <a16:creationId xmlns:a16="http://schemas.microsoft.com/office/drawing/2014/main" id="{E23DDBC6-EA11-0449-AB3C-6281C5EDAC05}"/>
              </a:ext>
            </a:extLst>
          </p:cNvPr>
          <p:cNvSpPr>
            <a:spLocks noGrp="1" noChangeAspect="1"/>
          </p:cNvSpPr>
          <p:nvPr>
            <p:ph type="body" sz="quarter" idx="18" hasCustomPrompt="1"/>
          </p:nvPr>
        </p:nvSpPr>
        <p:spPr>
          <a:xfrm>
            <a:off x="3546000" y="1473519"/>
            <a:ext cx="2052000" cy="2052000"/>
          </a:xfrm>
          <a:prstGeom prst="ellipse">
            <a:avLst/>
          </a:prstGeom>
          <a:solidFill>
            <a:srgbClr val="EDF9F3"/>
          </a:solidFill>
        </p:spPr>
        <p:txBody>
          <a:bodyPr lIns="0" tIns="36000" rIns="0" bIns="36000" anchor="ctr"/>
          <a:lstStyle>
            <a:lvl1pPr marL="0" indent="-17463" algn="ctr">
              <a:lnSpc>
                <a:spcPct val="95000"/>
              </a:lnSpc>
              <a:spcBef>
                <a:spcPts val="0"/>
              </a:spcBef>
              <a:buNone/>
              <a:tabLst/>
              <a:defRPr sz="1400" b="1">
                <a:solidFill>
                  <a:schemeClr val="tx1"/>
                </a:solidFill>
              </a:defRPr>
            </a:lvl1pPr>
          </a:lstStyle>
          <a:p>
            <a:pPr lvl="0"/>
            <a:r>
              <a:rPr lang="en-GB" noProof="0"/>
              <a:t>Click to add text in a maximum of four lines</a:t>
            </a:r>
          </a:p>
        </p:txBody>
      </p:sp>
      <p:sp>
        <p:nvSpPr>
          <p:cNvPr id="12" name="Text 3">
            <a:extLst>
              <a:ext uri="{FF2B5EF4-FFF2-40B4-BE49-F238E27FC236}">
                <a16:creationId xmlns:a16="http://schemas.microsoft.com/office/drawing/2014/main" id="{4BE092D2-014A-3A42-9A92-2EBCB0703736}"/>
              </a:ext>
            </a:extLst>
          </p:cNvPr>
          <p:cNvSpPr>
            <a:spLocks noGrp="1" noChangeAspect="1"/>
          </p:cNvSpPr>
          <p:nvPr>
            <p:ph type="body" sz="quarter" idx="19" hasCustomPrompt="1"/>
          </p:nvPr>
        </p:nvSpPr>
        <p:spPr>
          <a:xfrm>
            <a:off x="6432099" y="1473519"/>
            <a:ext cx="2052000" cy="2052000"/>
          </a:xfrm>
          <a:prstGeom prst="ellipse">
            <a:avLst/>
          </a:prstGeom>
          <a:solidFill>
            <a:srgbClr val="EDF9F3"/>
          </a:solidFill>
        </p:spPr>
        <p:txBody>
          <a:bodyPr lIns="0" tIns="36000" rIns="0" bIns="36000" anchor="ctr"/>
          <a:lstStyle>
            <a:lvl1pPr marL="0" indent="-17463" algn="ctr">
              <a:lnSpc>
                <a:spcPct val="95000"/>
              </a:lnSpc>
              <a:spcBef>
                <a:spcPts val="0"/>
              </a:spcBef>
              <a:buNone/>
              <a:tabLst/>
              <a:defRPr sz="1400" b="1">
                <a:solidFill>
                  <a:schemeClr val="tx1"/>
                </a:solidFill>
              </a:defRPr>
            </a:lvl1pPr>
          </a:lstStyle>
          <a:p>
            <a:pPr lvl="0"/>
            <a:r>
              <a:rPr lang="en-GB" noProof="0"/>
              <a:t>Click to add text in a maximum of four lines</a:t>
            </a:r>
          </a:p>
        </p:txBody>
      </p:sp>
      <p:sp>
        <p:nvSpPr>
          <p:cNvPr id="35" name="Date">
            <a:extLst>
              <a:ext uri="{FF2B5EF4-FFF2-40B4-BE49-F238E27FC236}">
                <a16:creationId xmlns:a16="http://schemas.microsoft.com/office/drawing/2014/main" id="{EBF909F0-CE1B-3D46-83B7-E4DA279DC19B}"/>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8DA3B67A-7C47-4083-9210-7624BBBCE62A}" type="datetime1">
              <a:rPr lang="sv-SE" noProof="0" smtClean="0"/>
              <a:t>2025-09-04</a:t>
            </a:fld>
            <a:endParaRPr lang="en-GB" noProof="0"/>
          </a:p>
        </p:txBody>
      </p:sp>
      <p:sp>
        <p:nvSpPr>
          <p:cNvPr id="36" name="Number">
            <a:extLst>
              <a:ext uri="{FF2B5EF4-FFF2-40B4-BE49-F238E27FC236}">
                <a16:creationId xmlns:a16="http://schemas.microsoft.com/office/drawing/2014/main" id="{EB2FF840-5D29-6845-91DA-E82490F28637}"/>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5" name="Footer">
            <a:extLst>
              <a:ext uri="{FF2B5EF4-FFF2-40B4-BE49-F238E27FC236}">
                <a16:creationId xmlns:a16="http://schemas.microsoft.com/office/drawing/2014/main" id="{4C90DA47-3EEB-B445-BFD0-FB49D53363F6}"/>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err="1"/>
          </a:p>
        </p:txBody>
      </p:sp>
    </p:spTree>
    <p:extLst>
      <p:ext uri="{BB962C8B-B14F-4D97-AF65-F5344CB8AC3E}">
        <p14:creationId xmlns:p14="http://schemas.microsoft.com/office/powerpoint/2010/main" val="1610298055"/>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5 Full screen Video">
    <p:spTree>
      <p:nvGrpSpPr>
        <p:cNvPr id="1" name=""/>
        <p:cNvGrpSpPr/>
        <p:nvPr/>
      </p:nvGrpSpPr>
      <p:grpSpPr>
        <a:xfrm>
          <a:off x="0" y="0"/>
          <a:ext cx="0" cy="0"/>
          <a:chOff x="0" y="0"/>
          <a:chExt cx="0" cy="0"/>
        </a:xfrm>
      </p:grpSpPr>
      <p:sp>
        <p:nvSpPr>
          <p:cNvPr id="5" name="Video">
            <a:extLst>
              <a:ext uri="{FF2B5EF4-FFF2-40B4-BE49-F238E27FC236}">
                <a16:creationId xmlns:a16="http://schemas.microsoft.com/office/drawing/2014/main" id="{426C75EA-3F6F-404B-9ADF-CF64EAB80C72}"/>
              </a:ext>
            </a:extLst>
          </p:cNvPr>
          <p:cNvSpPr>
            <a:spLocks noGrp="1"/>
          </p:cNvSpPr>
          <p:nvPr>
            <p:ph type="media" sz="quarter" idx="10" hasCustomPrompt="1"/>
          </p:nvPr>
        </p:nvSpPr>
        <p:spPr>
          <a:xfrm>
            <a:off x="0" y="0"/>
            <a:ext cx="9144000" cy="5143500"/>
          </a:xfrm>
          <a:solidFill>
            <a:schemeClr val="bg2">
              <a:lumMod val="90000"/>
            </a:schemeClr>
          </a:solidFill>
        </p:spPr>
        <p:txBody>
          <a:bodyPr/>
          <a:lstStyle>
            <a:lvl1pPr marL="17462" indent="-17462" algn="ctr">
              <a:buNone/>
              <a:tabLst/>
              <a:defRPr sz="800"/>
            </a:lvl1pPr>
          </a:lstStyle>
          <a:p>
            <a:r>
              <a:rPr lang="en-GB" sz="800" noProof="0"/>
              <a:t>Click on the icon to add video</a:t>
            </a:r>
            <a:endParaRPr lang="en-GB" noProof="0"/>
          </a:p>
        </p:txBody>
      </p:sp>
      <p:sp>
        <p:nvSpPr>
          <p:cNvPr id="35" name="Date">
            <a:extLst>
              <a:ext uri="{FF2B5EF4-FFF2-40B4-BE49-F238E27FC236}">
                <a16:creationId xmlns:a16="http://schemas.microsoft.com/office/drawing/2014/main" id="{EBF909F0-CE1B-3D46-83B7-E4DA279DC19B}"/>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9CA51EEA-77FF-4FEE-99F5-BD4557C37B0F}" type="datetime1">
              <a:rPr lang="sv-SE" noProof="0" smtClean="0"/>
              <a:t>2025-09-04</a:t>
            </a:fld>
            <a:endParaRPr lang="en-GB" noProof="0"/>
          </a:p>
        </p:txBody>
      </p:sp>
      <p:sp>
        <p:nvSpPr>
          <p:cNvPr id="36" name="Number">
            <a:extLst>
              <a:ext uri="{FF2B5EF4-FFF2-40B4-BE49-F238E27FC236}">
                <a16:creationId xmlns:a16="http://schemas.microsoft.com/office/drawing/2014/main" id="{EB2FF840-5D29-6845-91DA-E82490F28637}"/>
              </a:ext>
            </a:extLst>
          </p:cNvPr>
          <p:cNvSpPr>
            <a:spLocks noGrp="1"/>
          </p:cNvSpPr>
          <p:nvPr>
            <p:ph type="sldNum" sz="quarter" idx="4"/>
          </p:nvPr>
        </p:nvSpPr>
        <p:spPr>
          <a:xfrm>
            <a:off x="8640418" y="5003475"/>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6" name="Footer">
            <a:extLst>
              <a:ext uri="{FF2B5EF4-FFF2-40B4-BE49-F238E27FC236}">
                <a16:creationId xmlns:a16="http://schemas.microsoft.com/office/drawing/2014/main" id="{FD7C421D-A908-E241-99C0-BB3A8F81B258}"/>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2733698099"/>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5 Text and Video">
    <p:spTree>
      <p:nvGrpSpPr>
        <p:cNvPr id="1" name=""/>
        <p:cNvGrpSpPr/>
        <p:nvPr/>
      </p:nvGrpSpPr>
      <p:grpSpPr>
        <a:xfrm>
          <a:off x="0" y="0"/>
          <a:ext cx="0" cy="0"/>
          <a:chOff x="0" y="0"/>
          <a:chExt cx="0" cy="0"/>
        </a:xfrm>
      </p:grpSpPr>
      <p:sp>
        <p:nvSpPr>
          <p:cNvPr id="7" name="Video">
            <a:extLst>
              <a:ext uri="{FF2B5EF4-FFF2-40B4-BE49-F238E27FC236}">
                <a16:creationId xmlns:a16="http://schemas.microsoft.com/office/drawing/2014/main" id="{0EE9A542-5863-3049-A7EF-24ADE3267341}"/>
              </a:ext>
            </a:extLst>
          </p:cNvPr>
          <p:cNvSpPr>
            <a:spLocks noGrp="1"/>
          </p:cNvSpPr>
          <p:nvPr>
            <p:ph type="media" sz="quarter" idx="15" hasCustomPrompt="1"/>
          </p:nvPr>
        </p:nvSpPr>
        <p:spPr>
          <a:xfrm>
            <a:off x="4643439" y="158751"/>
            <a:ext cx="4321174" cy="4681538"/>
          </a:xfrm>
          <a:blipFill dpi="0" rotWithShape="1">
            <a:blip r:embed="rId2"/>
            <a:srcRect/>
            <a:tile tx="0" ty="0" sx="100000" sy="100000" flip="none" algn="tl"/>
          </a:blipFill>
        </p:spPr>
        <p:txBody>
          <a:bodyPr vert="horz" lIns="90000" tIns="45720" rIns="90000" bIns="45720" rtlCol="0">
            <a:noAutofit/>
          </a:bodyPr>
          <a:lstStyle>
            <a:lvl1pPr marL="0" indent="0" algn="ctr">
              <a:buNone/>
              <a:defRPr lang="en-GB" sz="800" dirty="0">
                <a:solidFill>
                  <a:schemeClr val="bg1">
                    <a:lumMod val="75000"/>
                  </a:schemeClr>
                </a:solidFill>
              </a:defRPr>
            </a:lvl1pPr>
          </a:lstStyle>
          <a:p>
            <a:pPr marL="171446" lvl="0" indent="-171446" algn="ctr"/>
            <a:r>
              <a:rPr lang="en-GB"/>
              <a:t>Click on the icon to add video</a:t>
            </a:r>
          </a:p>
        </p:txBody>
      </p:sp>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323851" y="525601"/>
            <a:ext cx="4176713" cy="1583617"/>
          </a:xfrm>
        </p:spPr>
        <p:txBody>
          <a:bodyPr rIns="216000"/>
          <a:lstStyle>
            <a:lvl1pPr>
              <a:defRPr sz="3000" spc="-70"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51" y="276227"/>
            <a:ext cx="4176713" cy="276999"/>
          </a:xfrm>
        </p:spPr>
        <p:txBody>
          <a:bodyPr lIns="111600" rIns="216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chapter tracker</a:t>
            </a:r>
          </a:p>
          <a:p>
            <a:pPr lvl="0"/>
            <a:endParaRPr lang="en-GB" noProof="0"/>
          </a:p>
        </p:txBody>
      </p:sp>
      <p:sp>
        <p:nvSpPr>
          <p:cNvPr id="12" name="Text">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323852" y="2103439"/>
            <a:ext cx="4176712" cy="2607170"/>
          </a:xfrm>
        </p:spPr>
        <p:txBody>
          <a:bodyPr rIns="216000"/>
          <a:lstStyle>
            <a:lvl1pPr>
              <a:defRPr sz="1400"/>
            </a:lvl1pPr>
            <a:lvl2pPr>
              <a:defRPr sz="1200"/>
            </a:lvl2pPr>
            <a:lvl3pPr>
              <a:defRPr sz="1200"/>
            </a:lvl3pPr>
            <a:lvl4pPr>
              <a:defRPr sz="1200"/>
            </a:lvl4pPr>
            <a:lvl5pPr>
              <a:defRPr sz="12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Date">
            <a:extLst>
              <a:ext uri="{FF2B5EF4-FFF2-40B4-BE49-F238E27FC236}">
                <a16:creationId xmlns:a16="http://schemas.microsoft.com/office/drawing/2014/main" id="{B7D04508-015B-A24C-A068-9517A03041E5}"/>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85F044E3-9167-4048-AC94-5EB866C898EE}" type="datetime1">
              <a:rPr lang="sv-SE" noProof="0" smtClean="0"/>
              <a:t>2025-09-04</a:t>
            </a:fld>
            <a:endParaRPr lang="en-GB" noProof="0"/>
          </a:p>
        </p:txBody>
      </p:sp>
      <p:sp>
        <p:nvSpPr>
          <p:cNvPr id="39" name="Number">
            <a:extLst>
              <a:ext uri="{FF2B5EF4-FFF2-40B4-BE49-F238E27FC236}">
                <a16:creationId xmlns:a16="http://schemas.microsoft.com/office/drawing/2014/main" id="{24E3E452-24F0-1B44-9014-429AC576B5B6}"/>
              </a:ext>
            </a:extLst>
          </p:cNvPr>
          <p:cNvSpPr>
            <a:spLocks noGrp="1"/>
          </p:cNvSpPr>
          <p:nvPr>
            <p:ph type="sldNum" sz="quarter" idx="4"/>
          </p:nvPr>
        </p:nvSpPr>
        <p:spPr>
          <a:xfrm>
            <a:off x="8640418" y="5003475"/>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0" name="Footer">
            <a:extLst>
              <a:ext uri="{FF2B5EF4-FFF2-40B4-BE49-F238E27FC236}">
                <a16:creationId xmlns:a16="http://schemas.microsoft.com/office/drawing/2014/main" id="{9F273896-B1DA-2A4A-9AEB-368D26B986DD}"/>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3611701561"/>
      </p:ext>
    </p:extLst>
  </p:cSld>
  <p:clrMapOvr>
    <a:masterClrMapping/>
  </p:clrMapOvr>
  <p:extLst>
    <p:ext uri="{DCECCB84-F9BA-43D5-87BE-67443E8EF086}">
      <p15:sldGuideLst xmlns:p15="http://schemas.microsoft.com/office/powerpoint/2012/main"/>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6 Contact slide">
    <p:spTree>
      <p:nvGrpSpPr>
        <p:cNvPr id="1" name=""/>
        <p:cNvGrpSpPr/>
        <p:nvPr/>
      </p:nvGrpSpPr>
      <p:grpSpPr>
        <a:xfrm>
          <a:off x="0" y="0"/>
          <a:ext cx="0" cy="0"/>
          <a:chOff x="0" y="0"/>
          <a:chExt cx="0" cy="0"/>
        </a:xfrm>
      </p:grpSpPr>
      <p:sp>
        <p:nvSpPr>
          <p:cNvPr id="9" name="Rektangel 8">
            <a:extLst>
              <a:ext uri="{FF2B5EF4-FFF2-40B4-BE49-F238E27FC236}">
                <a16:creationId xmlns:a16="http://schemas.microsoft.com/office/drawing/2014/main" id="{E3CDC065-B6AF-4D4A-9B9C-40EB6216A6A9}"/>
              </a:ext>
            </a:extLst>
          </p:cNvPr>
          <p:cNvSpPr/>
          <p:nvPr userDrawn="1"/>
        </p:nvSpPr>
        <p:spPr>
          <a:xfrm>
            <a:off x="6084889" y="158751"/>
            <a:ext cx="2879725" cy="4681538"/>
          </a:xfrm>
          <a:prstGeom prst="rect">
            <a:avLst/>
          </a:prstGeom>
          <a:solidFill>
            <a:srgbClr val="EB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 name="Image">
            <a:extLst>
              <a:ext uri="{FF2B5EF4-FFF2-40B4-BE49-F238E27FC236}">
                <a16:creationId xmlns:a16="http://schemas.microsoft.com/office/drawing/2014/main" id="{25798999-2A1E-2547-A8D5-4373B7132ADB}"/>
              </a:ext>
            </a:extLst>
          </p:cNvPr>
          <p:cNvSpPr>
            <a:spLocks noGrp="1"/>
          </p:cNvSpPr>
          <p:nvPr>
            <p:ph type="pic" sz="quarter" idx="10" hasCustomPrompt="1"/>
          </p:nvPr>
        </p:nvSpPr>
        <p:spPr>
          <a:xfrm>
            <a:off x="179389" y="158751"/>
            <a:ext cx="5761037" cy="4681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31" name="Title">
            <a:extLst>
              <a:ext uri="{FF2B5EF4-FFF2-40B4-BE49-F238E27FC236}">
                <a16:creationId xmlns:a16="http://schemas.microsoft.com/office/drawing/2014/main" id="{144BC857-79CB-DC47-950E-631BB0C70886}"/>
              </a:ext>
            </a:extLst>
          </p:cNvPr>
          <p:cNvSpPr>
            <a:spLocks noGrp="1"/>
          </p:cNvSpPr>
          <p:nvPr>
            <p:ph type="title" hasCustomPrompt="1"/>
          </p:nvPr>
        </p:nvSpPr>
        <p:spPr>
          <a:xfrm>
            <a:off x="6084888" y="594001"/>
            <a:ext cx="2736526" cy="1029237"/>
          </a:xfrm>
        </p:spPr>
        <p:txBody>
          <a:bodyPr lIns="154800" tIns="64800" rIns="144000"/>
          <a:lstStyle>
            <a:lvl1pPr marL="0" indent="0">
              <a:tabLst/>
              <a:defRPr sz="2000" spc="-50" baseline="0"/>
            </a:lvl1pPr>
          </a:lstStyle>
          <a:p>
            <a:r>
              <a:rPr lang="en-GB" noProof="0"/>
              <a:t>Click to add name and job title</a:t>
            </a:r>
          </a:p>
        </p:txBody>
      </p:sp>
      <p:sp>
        <p:nvSpPr>
          <p:cNvPr id="4" name="Contact">
            <a:extLst>
              <a:ext uri="{FF2B5EF4-FFF2-40B4-BE49-F238E27FC236}">
                <a16:creationId xmlns:a16="http://schemas.microsoft.com/office/drawing/2014/main" id="{EEF2FFD1-DBE4-AA42-98BA-1DAD9CA09A52}"/>
              </a:ext>
            </a:extLst>
          </p:cNvPr>
          <p:cNvSpPr txBox="1"/>
          <p:nvPr userDrawn="1"/>
        </p:nvSpPr>
        <p:spPr>
          <a:xfrm>
            <a:off x="6084887" y="276227"/>
            <a:ext cx="2736525" cy="276999"/>
          </a:xfrm>
          <a:prstGeom prst="rect">
            <a:avLst/>
          </a:prstGeom>
          <a:noFill/>
        </p:spPr>
        <p:txBody>
          <a:bodyPr wrap="square" lIns="154800" rIns="144000" rtlCol="0">
            <a:spAutoFit/>
          </a:bodyPr>
          <a:lstStyle/>
          <a:p>
            <a:r>
              <a:rPr lang="en-GB" sz="1200" b="1" noProof="0"/>
              <a:t>Contact</a:t>
            </a:r>
          </a:p>
        </p:txBody>
      </p:sp>
      <p:sp>
        <p:nvSpPr>
          <p:cNvPr id="32" name="Text">
            <a:extLst>
              <a:ext uri="{FF2B5EF4-FFF2-40B4-BE49-F238E27FC236}">
                <a16:creationId xmlns:a16="http://schemas.microsoft.com/office/drawing/2014/main" id="{2ADCBC67-4690-BD43-ABCE-F69DA625BC98}"/>
              </a:ext>
            </a:extLst>
          </p:cNvPr>
          <p:cNvSpPr>
            <a:spLocks noGrp="1"/>
          </p:cNvSpPr>
          <p:nvPr>
            <p:ph type="body" sz="quarter" idx="13" hasCustomPrompt="1"/>
          </p:nvPr>
        </p:nvSpPr>
        <p:spPr>
          <a:xfrm>
            <a:off x="6089938" y="2103439"/>
            <a:ext cx="2730212" cy="2592387"/>
          </a:xfrm>
        </p:spPr>
        <p:txBody>
          <a:bodyPr lIns="144000" rIns="144000"/>
          <a:lstStyle>
            <a:lvl1pPr marL="0" indent="0">
              <a:buNone/>
              <a:tabLst/>
              <a:defRPr sz="1200"/>
            </a:lvl1pPr>
            <a:lvl2pPr marL="0" indent="0">
              <a:buNone/>
              <a:tabLst/>
              <a:defRPr sz="1200"/>
            </a:lvl2pPr>
            <a:lvl3pPr marL="0" indent="0">
              <a:buNone/>
              <a:tabLst/>
              <a:defRPr sz="1200"/>
            </a:lvl3pPr>
            <a:lvl4pPr marL="0" indent="0">
              <a:buNone/>
              <a:tabLst/>
              <a:defRPr sz="1200"/>
            </a:lvl4pPr>
            <a:lvl5pPr marL="0" indent="0">
              <a:buNone/>
              <a:tabLst/>
              <a:defRPr sz="1200"/>
            </a:lvl5pPr>
          </a:lstStyle>
          <a:p>
            <a:pPr lvl="0"/>
            <a:r>
              <a:rPr lang="en-GB" noProof="0"/>
              <a:t>Click to add contact information</a:t>
            </a:r>
          </a:p>
        </p:txBody>
      </p:sp>
      <p:sp>
        <p:nvSpPr>
          <p:cNvPr id="11" name="Date">
            <a:extLst>
              <a:ext uri="{FF2B5EF4-FFF2-40B4-BE49-F238E27FC236}">
                <a16:creationId xmlns:a16="http://schemas.microsoft.com/office/drawing/2014/main" id="{38CA3AD7-12F8-9F43-820D-33071C26D41A}"/>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A0A085E3-1015-4219-898E-2B75B267BB5F}" type="datetime1">
              <a:rPr lang="sv-SE" noProof="0" smtClean="0"/>
              <a:t>2025-09-04</a:t>
            </a:fld>
            <a:endParaRPr lang="en-GB" noProof="0"/>
          </a:p>
        </p:txBody>
      </p:sp>
      <p:sp>
        <p:nvSpPr>
          <p:cNvPr id="12" name="Number">
            <a:extLst>
              <a:ext uri="{FF2B5EF4-FFF2-40B4-BE49-F238E27FC236}">
                <a16:creationId xmlns:a16="http://schemas.microsoft.com/office/drawing/2014/main" id="{DFED6C3B-4A73-344C-A9A5-F8224178884F}"/>
              </a:ext>
            </a:extLst>
          </p:cNvPr>
          <p:cNvSpPr>
            <a:spLocks noGrp="1"/>
          </p:cNvSpPr>
          <p:nvPr>
            <p:ph type="sldNum" sz="quarter" idx="4"/>
          </p:nvPr>
        </p:nvSpPr>
        <p:spPr>
          <a:xfrm>
            <a:off x="8640418" y="5003475"/>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4" name="Footer">
            <a:extLst>
              <a:ext uri="{FF2B5EF4-FFF2-40B4-BE49-F238E27FC236}">
                <a16:creationId xmlns:a16="http://schemas.microsoft.com/office/drawing/2014/main" id="{373FE5A1-132B-B247-9BF4-ED02DBE7E9C2}"/>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3312262704"/>
      </p:ext>
    </p:extLst>
  </p:cSld>
  <p:clrMapOvr>
    <a:masterClrMapping/>
  </p:clrMapOvr>
  <p:extLst>
    <p:ext uri="{DCECCB84-F9BA-43D5-87BE-67443E8EF086}">
      <p15:sldGuideLst xmlns:p15="http://schemas.microsoft.com/office/powerpoint/2012/main"/>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7 Mockup Samsung Galaxy">
    <p:bg>
      <p:bgPr>
        <a:solidFill>
          <a:srgbClr val="EBF2F3"/>
        </a:solidFill>
        <a:effectLst/>
      </p:bgPr>
    </p:bg>
    <p:spTree>
      <p:nvGrpSpPr>
        <p:cNvPr id="1" name=""/>
        <p:cNvGrpSpPr/>
        <p:nvPr/>
      </p:nvGrpSpPr>
      <p:grpSpPr>
        <a:xfrm>
          <a:off x="0" y="0"/>
          <a:ext cx="0" cy="0"/>
          <a:chOff x="0" y="0"/>
          <a:chExt cx="0" cy="0"/>
        </a:xfrm>
      </p:grpSpPr>
      <p:sp>
        <p:nvSpPr>
          <p:cNvPr id="9" name="Image">
            <a:extLst>
              <a:ext uri="{FF2B5EF4-FFF2-40B4-BE49-F238E27FC236}">
                <a16:creationId xmlns:a16="http://schemas.microsoft.com/office/drawing/2014/main" id="{10E8AA89-7C88-3143-8124-1E0503C42088}"/>
              </a:ext>
            </a:extLst>
          </p:cNvPr>
          <p:cNvSpPr>
            <a:spLocks noGrp="1"/>
          </p:cNvSpPr>
          <p:nvPr>
            <p:ph type="pic" sz="quarter" idx="12" hasCustomPrompt="1"/>
          </p:nvPr>
        </p:nvSpPr>
        <p:spPr>
          <a:xfrm>
            <a:off x="5809917" y="450447"/>
            <a:ext cx="1872000" cy="4104000"/>
          </a:xfrm>
          <a:prstGeom prst="roundRect">
            <a:avLst>
              <a:gd name="adj" fmla="val 10210"/>
            </a:avLst>
          </a:prstGeom>
          <a:blipFill dpi="0" rotWithShape="1">
            <a:blip r:embed="rId2"/>
            <a:srcRect/>
            <a:tile tx="0" ty="0" sx="100000" sy="100000" flip="none" algn="tl"/>
          </a:blipFill>
        </p:spPr>
        <p:txBody>
          <a:bodyPr/>
          <a:lstStyle>
            <a:lvl1pPr marL="4763" indent="-4763" algn="ctr">
              <a:buFont typeface="Arial" panose="020B0604020202020204" pitchFamily="34" charset="0"/>
              <a:buNone/>
              <a:tabLst/>
              <a:defRPr sz="800"/>
            </a:lvl1pPr>
          </a:lstStyle>
          <a:p>
            <a:r>
              <a:rPr lang="en-GB" noProof="0"/>
              <a:t>Click on the icon to add screenshot</a:t>
            </a:r>
          </a:p>
        </p:txBody>
      </p:sp>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323851" y="525600"/>
            <a:ext cx="4176713" cy="1498314"/>
          </a:xfrm>
        </p:spPr>
        <p:txBody>
          <a:bodyPr rIns="144000"/>
          <a:lstStyle>
            <a:lvl1pPr>
              <a:defRPr sz="3000" spc="-70"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50" y="276227"/>
            <a:ext cx="4176077" cy="276999"/>
          </a:xfrm>
        </p:spPr>
        <p:txBody>
          <a:bodyPr lIns="111600" rIns="144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a:t>
            </a:r>
            <a:r>
              <a:rPr lang="en-GB" noProof="0" err="1"/>
              <a:t>subheader</a:t>
            </a:r>
            <a:endParaRPr lang="en-GB" noProof="0"/>
          </a:p>
        </p:txBody>
      </p:sp>
      <p:sp>
        <p:nvSpPr>
          <p:cNvPr id="12" name="Text">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323852" y="2103439"/>
            <a:ext cx="4176712" cy="2592387"/>
          </a:xfrm>
        </p:spPr>
        <p:txBody>
          <a:bodyPr rIns="144000"/>
          <a:lstStyle>
            <a:lvl1pPr>
              <a:defRPr sz="1400"/>
            </a:lvl1pPr>
            <a:lvl2pPr>
              <a:defRPr sz="1200"/>
            </a:lvl2pPr>
            <a:lvl3pPr>
              <a:defRPr sz="1200"/>
            </a:lvl3pPr>
            <a:lvl4pPr>
              <a:defRPr sz="1200"/>
            </a:lvl4pPr>
            <a:lvl5pPr>
              <a:defRPr sz="12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5" name="Date">
            <a:extLst>
              <a:ext uri="{FF2B5EF4-FFF2-40B4-BE49-F238E27FC236}">
                <a16:creationId xmlns:a16="http://schemas.microsoft.com/office/drawing/2014/main" id="{FED9A850-451C-994B-9CEF-A2B324B2852F}"/>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1D77D6D9-877F-4392-8271-826DA4E1E86A}" type="datetime1">
              <a:rPr lang="sv-SE" noProof="0" smtClean="0"/>
              <a:t>2025-09-04</a:t>
            </a:fld>
            <a:endParaRPr lang="en-GB" noProof="0"/>
          </a:p>
        </p:txBody>
      </p:sp>
      <p:sp>
        <p:nvSpPr>
          <p:cNvPr id="36" name="Number">
            <a:extLst>
              <a:ext uri="{FF2B5EF4-FFF2-40B4-BE49-F238E27FC236}">
                <a16:creationId xmlns:a16="http://schemas.microsoft.com/office/drawing/2014/main" id="{3D6301AA-5E2B-7F46-BF55-64A8320A6BF9}"/>
              </a:ext>
            </a:extLst>
          </p:cNvPr>
          <p:cNvSpPr>
            <a:spLocks noGrp="1"/>
          </p:cNvSpPr>
          <p:nvPr>
            <p:ph type="sldNum" sz="quarter" idx="4"/>
          </p:nvPr>
        </p:nvSpPr>
        <p:spPr>
          <a:xfrm>
            <a:off x="8640418" y="5003475"/>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3" name="Footer">
            <a:extLst>
              <a:ext uri="{FF2B5EF4-FFF2-40B4-BE49-F238E27FC236}">
                <a16:creationId xmlns:a16="http://schemas.microsoft.com/office/drawing/2014/main" id="{DC643E75-61AD-CE44-8B9B-514A1A088DD3}"/>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
        <p:nvSpPr>
          <p:cNvPr id="2" name="Freeform 1">
            <a:extLst>
              <a:ext uri="{FF2B5EF4-FFF2-40B4-BE49-F238E27FC236}">
                <a16:creationId xmlns:a16="http://schemas.microsoft.com/office/drawing/2014/main" id="{973A5889-ABE6-C735-E4C4-95E5FECAFFD8}"/>
              </a:ext>
            </a:extLst>
          </p:cNvPr>
          <p:cNvSpPr/>
          <p:nvPr userDrawn="1"/>
        </p:nvSpPr>
        <p:spPr>
          <a:xfrm>
            <a:off x="5732736" y="364452"/>
            <a:ext cx="2030518" cy="4275202"/>
          </a:xfrm>
          <a:custGeom>
            <a:avLst/>
            <a:gdLst>
              <a:gd name="connsiteX0" fmla="*/ 1308395 w 1308394"/>
              <a:gd name="connsiteY0" fmla="*/ 1065750 h 2754789"/>
              <a:gd name="connsiteX1" fmla="*/ 1308395 w 1308394"/>
              <a:gd name="connsiteY1" fmla="*/ 702997 h 2754789"/>
              <a:gd name="connsiteX2" fmla="*/ 1301796 w 1308394"/>
              <a:gd name="connsiteY2" fmla="*/ 702997 h 2754789"/>
              <a:gd name="connsiteX3" fmla="*/ 1301796 w 1308394"/>
              <a:gd name="connsiteY3" fmla="*/ 157594 h 2754789"/>
              <a:gd name="connsiteX4" fmla="*/ 1144203 w 1308394"/>
              <a:gd name="connsiteY4" fmla="*/ 0 h 2754789"/>
              <a:gd name="connsiteX5" fmla="*/ 157593 w 1308394"/>
              <a:gd name="connsiteY5" fmla="*/ 0 h 2754789"/>
              <a:gd name="connsiteX6" fmla="*/ 0 w 1308394"/>
              <a:gd name="connsiteY6" fmla="*/ 157594 h 2754789"/>
              <a:gd name="connsiteX7" fmla="*/ 0 w 1308394"/>
              <a:gd name="connsiteY7" fmla="*/ 2597196 h 2754789"/>
              <a:gd name="connsiteX8" fmla="*/ 157593 w 1308394"/>
              <a:gd name="connsiteY8" fmla="*/ 2754790 h 2754789"/>
              <a:gd name="connsiteX9" fmla="*/ 1144203 w 1308394"/>
              <a:gd name="connsiteY9" fmla="*/ 2754790 h 2754789"/>
              <a:gd name="connsiteX10" fmla="*/ 1301796 w 1308394"/>
              <a:gd name="connsiteY10" fmla="*/ 2597196 h 2754789"/>
              <a:gd name="connsiteX11" fmla="*/ 1301796 w 1308394"/>
              <a:gd name="connsiteY11" fmla="*/ 1368631 h 2754789"/>
              <a:gd name="connsiteX12" fmla="*/ 1308395 w 1308394"/>
              <a:gd name="connsiteY12" fmla="*/ 1368631 h 2754789"/>
              <a:gd name="connsiteX13" fmla="*/ 1308395 w 1308394"/>
              <a:gd name="connsiteY13" fmla="*/ 1196019 h 2754789"/>
              <a:gd name="connsiteX14" fmla="*/ 1301796 w 1308394"/>
              <a:gd name="connsiteY14" fmla="*/ 1196019 h 2754789"/>
              <a:gd name="connsiteX15" fmla="*/ 1301796 w 1308394"/>
              <a:gd name="connsiteY15" fmla="*/ 1065709 h 2754789"/>
              <a:gd name="connsiteX16" fmla="*/ 1308395 w 1308394"/>
              <a:gd name="connsiteY16" fmla="*/ 1065709 h 2754789"/>
              <a:gd name="connsiteX17" fmla="*/ 1246580 w 1308394"/>
              <a:gd name="connsiteY17" fmla="*/ 2589424 h 2754789"/>
              <a:gd name="connsiteX18" fmla="*/ 1138495 w 1308394"/>
              <a:gd name="connsiteY18" fmla="*/ 2697509 h 2754789"/>
              <a:gd name="connsiteX19" fmla="*/ 163301 w 1308394"/>
              <a:gd name="connsiteY19" fmla="*/ 2697509 h 2754789"/>
              <a:gd name="connsiteX20" fmla="*/ 55216 w 1308394"/>
              <a:gd name="connsiteY20" fmla="*/ 2589424 h 2754789"/>
              <a:gd name="connsiteX21" fmla="*/ 55216 w 1308394"/>
              <a:gd name="connsiteY21" fmla="*/ 165447 h 2754789"/>
              <a:gd name="connsiteX22" fmla="*/ 163301 w 1308394"/>
              <a:gd name="connsiteY22" fmla="*/ 57362 h 2754789"/>
              <a:gd name="connsiteX23" fmla="*/ 1138495 w 1308394"/>
              <a:gd name="connsiteY23" fmla="*/ 57362 h 2754789"/>
              <a:gd name="connsiteX24" fmla="*/ 1246580 w 1308394"/>
              <a:gd name="connsiteY24" fmla="*/ 165447 h 2754789"/>
              <a:gd name="connsiteX25" fmla="*/ 1246580 w 1308394"/>
              <a:gd name="connsiteY25" fmla="*/ 2589383 h 275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08394" h="2754789">
                <a:moveTo>
                  <a:pt x="1308395" y="1065750"/>
                </a:moveTo>
                <a:lnTo>
                  <a:pt x="1308395" y="702997"/>
                </a:lnTo>
                <a:lnTo>
                  <a:pt x="1301796" y="702997"/>
                </a:lnTo>
                <a:lnTo>
                  <a:pt x="1301796" y="157594"/>
                </a:lnTo>
                <a:cubicBezTo>
                  <a:pt x="1301796" y="70680"/>
                  <a:pt x="1231075" y="0"/>
                  <a:pt x="1144203" y="0"/>
                </a:cubicBezTo>
                <a:lnTo>
                  <a:pt x="157593" y="0"/>
                </a:lnTo>
                <a:cubicBezTo>
                  <a:pt x="70680" y="0"/>
                  <a:pt x="0" y="70721"/>
                  <a:pt x="0" y="157594"/>
                </a:cubicBezTo>
                <a:lnTo>
                  <a:pt x="0" y="2597196"/>
                </a:lnTo>
                <a:cubicBezTo>
                  <a:pt x="0" y="2684109"/>
                  <a:pt x="70721" y="2754790"/>
                  <a:pt x="157593" y="2754790"/>
                </a:cubicBezTo>
                <a:lnTo>
                  <a:pt x="1144203" y="2754790"/>
                </a:lnTo>
                <a:cubicBezTo>
                  <a:pt x="1231116" y="2754790"/>
                  <a:pt x="1301796" y="2684069"/>
                  <a:pt x="1301796" y="2597196"/>
                </a:cubicBezTo>
                <a:lnTo>
                  <a:pt x="1301796" y="1368631"/>
                </a:lnTo>
                <a:lnTo>
                  <a:pt x="1308395" y="1368631"/>
                </a:lnTo>
                <a:lnTo>
                  <a:pt x="1308395" y="1196019"/>
                </a:lnTo>
                <a:lnTo>
                  <a:pt x="1301796" y="1196019"/>
                </a:lnTo>
                <a:lnTo>
                  <a:pt x="1301796" y="1065709"/>
                </a:lnTo>
                <a:lnTo>
                  <a:pt x="1308395" y="1065709"/>
                </a:lnTo>
                <a:close/>
                <a:moveTo>
                  <a:pt x="1246580" y="2589424"/>
                </a:moveTo>
                <a:cubicBezTo>
                  <a:pt x="1246580" y="2649012"/>
                  <a:pt x="1198083" y="2697509"/>
                  <a:pt x="1138495" y="2697509"/>
                </a:cubicBezTo>
                <a:lnTo>
                  <a:pt x="163301" y="2697509"/>
                </a:lnTo>
                <a:cubicBezTo>
                  <a:pt x="103672" y="2697509"/>
                  <a:pt x="55216" y="2649012"/>
                  <a:pt x="55216" y="2589424"/>
                </a:cubicBezTo>
                <a:lnTo>
                  <a:pt x="55216" y="165447"/>
                </a:lnTo>
                <a:cubicBezTo>
                  <a:pt x="55216" y="105818"/>
                  <a:pt x="103713" y="57362"/>
                  <a:pt x="163301" y="57362"/>
                </a:cubicBezTo>
                <a:lnTo>
                  <a:pt x="1138495" y="57362"/>
                </a:lnTo>
                <a:cubicBezTo>
                  <a:pt x="1198083" y="57362"/>
                  <a:pt x="1246580" y="105859"/>
                  <a:pt x="1246580" y="165447"/>
                </a:cubicBezTo>
                <a:lnTo>
                  <a:pt x="1246580" y="2589383"/>
                </a:lnTo>
                <a:close/>
              </a:path>
            </a:pathLst>
          </a:custGeom>
          <a:gradFill>
            <a:gsLst>
              <a:gs pos="0">
                <a:schemeClr val="tx1"/>
              </a:gs>
              <a:gs pos="78000">
                <a:schemeClr val="tx1">
                  <a:lumMod val="85000"/>
                  <a:lumOff val="15000"/>
                </a:schemeClr>
              </a:gs>
              <a:gs pos="87000">
                <a:schemeClr val="tx1">
                  <a:lumMod val="75000"/>
                  <a:lumOff val="25000"/>
                </a:schemeClr>
              </a:gs>
              <a:gs pos="100000">
                <a:schemeClr val="bg1">
                  <a:lumMod val="50000"/>
                </a:schemeClr>
              </a:gs>
            </a:gsLst>
            <a:lin ang="3600000" scaled="0"/>
          </a:gradFill>
          <a:ln w="4048" cap="flat">
            <a:noFill/>
            <a:prstDash val="solid"/>
            <a:miter/>
          </a:ln>
        </p:spPr>
        <p:txBody>
          <a:bodyPr rtlCol="0" anchor="ctr"/>
          <a:lstStyle/>
          <a:p>
            <a:endParaRPr lang="en-GB" sz="1800"/>
          </a:p>
        </p:txBody>
      </p:sp>
    </p:spTree>
    <p:extLst>
      <p:ext uri="{BB962C8B-B14F-4D97-AF65-F5344CB8AC3E}">
        <p14:creationId xmlns:p14="http://schemas.microsoft.com/office/powerpoint/2010/main" val="1185323716"/>
      </p:ext>
    </p:extLst>
  </p:cSld>
  <p:clrMapOvr>
    <a:masterClrMapping/>
  </p:clrMapOvr>
  <p:extLst>
    <p:ext uri="{DCECCB84-F9BA-43D5-87BE-67443E8EF086}">
      <p15:sldGuideLst xmlns:p15="http://schemas.microsoft.com/office/powerpoint/2012/main"/>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7 Mockup Iphone SE">
    <p:bg>
      <p:bgPr>
        <a:solidFill>
          <a:srgbClr val="EBF2F3"/>
        </a:solidFill>
        <a:effectLst/>
      </p:bgPr>
    </p:bg>
    <p:spTree>
      <p:nvGrpSpPr>
        <p:cNvPr id="1" name=""/>
        <p:cNvGrpSpPr/>
        <p:nvPr/>
      </p:nvGrpSpPr>
      <p:grpSpPr>
        <a:xfrm>
          <a:off x="0" y="0"/>
          <a:ext cx="0" cy="0"/>
          <a:chOff x="0" y="0"/>
          <a:chExt cx="0" cy="0"/>
        </a:xfrm>
      </p:grpSpPr>
      <p:sp>
        <p:nvSpPr>
          <p:cNvPr id="38" name="Picture Placeholder 37">
            <a:extLst>
              <a:ext uri="{FF2B5EF4-FFF2-40B4-BE49-F238E27FC236}">
                <a16:creationId xmlns:a16="http://schemas.microsoft.com/office/drawing/2014/main" id="{7539A5C1-D35D-699A-EDB3-89B231932F8F}"/>
              </a:ext>
            </a:extLst>
          </p:cNvPr>
          <p:cNvSpPr>
            <a:spLocks noGrp="1" noChangeAspect="1"/>
          </p:cNvSpPr>
          <p:nvPr>
            <p:ph type="pic" sz="quarter" idx="12" hasCustomPrompt="1"/>
          </p:nvPr>
        </p:nvSpPr>
        <p:spPr>
          <a:xfrm>
            <a:off x="5797437" y="870076"/>
            <a:ext cx="1919002" cy="3241550"/>
          </a:xfrm>
          <a:custGeom>
            <a:avLst/>
            <a:gdLst>
              <a:gd name="connsiteX0" fmla="*/ 0 w 1919002"/>
              <a:gd name="connsiteY0" fmla="*/ 0 h 3241550"/>
              <a:gd name="connsiteX1" fmla="*/ 1919002 w 1919002"/>
              <a:gd name="connsiteY1" fmla="*/ 0 h 3241550"/>
              <a:gd name="connsiteX2" fmla="*/ 1919002 w 1919002"/>
              <a:gd name="connsiteY2" fmla="*/ 3241550 h 3241550"/>
              <a:gd name="connsiteX3" fmla="*/ 0 w 1919002"/>
              <a:gd name="connsiteY3" fmla="*/ 3241550 h 3241550"/>
            </a:gdLst>
            <a:ahLst/>
            <a:cxnLst>
              <a:cxn ang="0">
                <a:pos x="connsiteX0" y="connsiteY0"/>
              </a:cxn>
              <a:cxn ang="0">
                <a:pos x="connsiteX1" y="connsiteY1"/>
              </a:cxn>
              <a:cxn ang="0">
                <a:pos x="connsiteX2" y="connsiteY2"/>
              </a:cxn>
              <a:cxn ang="0">
                <a:pos x="connsiteX3" y="connsiteY3"/>
              </a:cxn>
            </a:cxnLst>
            <a:rect l="l" t="t" r="r" b="b"/>
            <a:pathLst>
              <a:path w="1919002" h="3241550">
                <a:moveTo>
                  <a:pt x="0" y="0"/>
                </a:moveTo>
                <a:lnTo>
                  <a:pt x="1919002" y="0"/>
                </a:lnTo>
                <a:lnTo>
                  <a:pt x="1919002" y="3241550"/>
                </a:lnTo>
                <a:lnTo>
                  <a:pt x="0" y="3241550"/>
                </a:lnTo>
                <a:close/>
              </a:path>
            </a:pathLst>
          </a:custGeom>
          <a:blipFill dpi="0" rotWithShape="1">
            <a:blip r:embed="rId2"/>
            <a:srcRect/>
            <a:tile tx="0" ty="0" sx="100000" sy="100000" flip="none" algn="tl"/>
          </a:blipFill>
        </p:spPr>
        <p:txBody>
          <a:bodyPr wrap="square">
            <a:noAutofit/>
          </a:bodyPr>
          <a:lstStyle>
            <a:lvl1pPr marL="4763" indent="-4763" algn="ctr">
              <a:buFont typeface="Arial" panose="020B0604020202020204" pitchFamily="34" charset="0"/>
              <a:buNone/>
              <a:tabLst/>
              <a:defRPr sz="800"/>
            </a:lvl1pPr>
          </a:lstStyle>
          <a:p>
            <a:r>
              <a:rPr lang="en-GB" noProof="0"/>
              <a:t>Click on the icon to add screenshot</a:t>
            </a:r>
          </a:p>
        </p:txBody>
      </p:sp>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323851" y="525600"/>
            <a:ext cx="4176713" cy="1498314"/>
          </a:xfrm>
        </p:spPr>
        <p:txBody>
          <a:bodyPr rIns="144000"/>
          <a:lstStyle>
            <a:lvl1pPr>
              <a:defRPr sz="3000" spc="-70"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50" y="276227"/>
            <a:ext cx="4176077" cy="276999"/>
          </a:xfrm>
        </p:spPr>
        <p:txBody>
          <a:bodyPr lIns="111600" rIns="144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a:t>
            </a:r>
            <a:r>
              <a:rPr lang="en-GB" noProof="0" err="1"/>
              <a:t>subheader</a:t>
            </a:r>
            <a:endParaRPr lang="en-GB" noProof="0"/>
          </a:p>
        </p:txBody>
      </p:sp>
      <p:sp>
        <p:nvSpPr>
          <p:cNvPr id="12" name="Text">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323852" y="2103439"/>
            <a:ext cx="4176712" cy="2592387"/>
          </a:xfrm>
        </p:spPr>
        <p:txBody>
          <a:bodyPr rIns="144000"/>
          <a:lstStyle>
            <a:lvl1pPr>
              <a:defRPr sz="1400"/>
            </a:lvl1pPr>
            <a:lvl2pPr>
              <a:defRPr sz="1200"/>
            </a:lvl2pPr>
            <a:lvl3pPr>
              <a:defRPr sz="1200"/>
            </a:lvl3pPr>
            <a:lvl4pPr>
              <a:defRPr sz="1200"/>
            </a:lvl4pPr>
            <a:lvl5pPr>
              <a:defRPr sz="12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5" name="Date">
            <a:extLst>
              <a:ext uri="{FF2B5EF4-FFF2-40B4-BE49-F238E27FC236}">
                <a16:creationId xmlns:a16="http://schemas.microsoft.com/office/drawing/2014/main" id="{FED9A850-451C-994B-9CEF-A2B324B2852F}"/>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C3920F14-9DB1-473B-980D-DBB29CBBEC28}" type="datetime1">
              <a:rPr lang="sv-SE" noProof="0" smtClean="0"/>
              <a:t>2025-09-04</a:t>
            </a:fld>
            <a:endParaRPr lang="en-GB" noProof="0"/>
          </a:p>
        </p:txBody>
      </p:sp>
      <p:sp>
        <p:nvSpPr>
          <p:cNvPr id="36" name="Number">
            <a:extLst>
              <a:ext uri="{FF2B5EF4-FFF2-40B4-BE49-F238E27FC236}">
                <a16:creationId xmlns:a16="http://schemas.microsoft.com/office/drawing/2014/main" id="{3D6301AA-5E2B-7F46-BF55-64A8320A6BF9}"/>
              </a:ext>
            </a:extLst>
          </p:cNvPr>
          <p:cNvSpPr>
            <a:spLocks noGrp="1"/>
          </p:cNvSpPr>
          <p:nvPr>
            <p:ph type="sldNum" sz="quarter" idx="4"/>
          </p:nvPr>
        </p:nvSpPr>
        <p:spPr>
          <a:xfrm>
            <a:off x="8640418" y="5003475"/>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3" name="Footer">
            <a:extLst>
              <a:ext uri="{FF2B5EF4-FFF2-40B4-BE49-F238E27FC236}">
                <a16:creationId xmlns:a16="http://schemas.microsoft.com/office/drawing/2014/main" id="{DC643E75-61AD-CE44-8B9B-514A1A088DD3}"/>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grpSp>
        <p:nvGrpSpPr>
          <p:cNvPr id="32" name="Group 31">
            <a:extLst>
              <a:ext uri="{FF2B5EF4-FFF2-40B4-BE49-F238E27FC236}">
                <a16:creationId xmlns:a16="http://schemas.microsoft.com/office/drawing/2014/main" id="{AFBAA733-7015-80D9-A396-F02B90862771}"/>
              </a:ext>
            </a:extLst>
          </p:cNvPr>
          <p:cNvGrpSpPr>
            <a:grpSpLocks noChangeAspect="1"/>
          </p:cNvGrpSpPr>
          <p:nvPr userDrawn="1"/>
        </p:nvGrpSpPr>
        <p:grpSpPr>
          <a:xfrm>
            <a:off x="5698185" y="358140"/>
            <a:ext cx="2111548" cy="4287600"/>
            <a:chOff x="-3606774" y="-142106"/>
            <a:chExt cx="1363570" cy="2768795"/>
          </a:xfrm>
          <a:noFill/>
        </p:grpSpPr>
        <p:sp>
          <p:nvSpPr>
            <p:cNvPr id="25" name="Freeform 24">
              <a:extLst>
                <a:ext uri="{FF2B5EF4-FFF2-40B4-BE49-F238E27FC236}">
                  <a16:creationId xmlns:a16="http://schemas.microsoft.com/office/drawing/2014/main" id="{8C47638F-13B6-E112-CA84-25237C4CCEDF}"/>
                </a:ext>
              </a:extLst>
            </p:cNvPr>
            <p:cNvSpPr/>
            <p:nvPr/>
          </p:nvSpPr>
          <p:spPr>
            <a:xfrm>
              <a:off x="-3606774" y="-142106"/>
              <a:ext cx="1363570" cy="2768795"/>
            </a:xfrm>
            <a:custGeom>
              <a:avLst/>
              <a:gdLst>
                <a:gd name="connsiteX0" fmla="*/ 1350414 w 1363570"/>
                <a:gd name="connsiteY0" fmla="*/ 601066 h 2768795"/>
                <a:gd name="connsiteX1" fmla="*/ 1346771 w 1363570"/>
                <a:gd name="connsiteY1" fmla="*/ 601066 h 2768795"/>
                <a:gd name="connsiteX2" fmla="*/ 1346771 w 1363570"/>
                <a:gd name="connsiteY2" fmla="*/ 208114 h 2768795"/>
                <a:gd name="connsiteX3" fmla="*/ 1138657 w 1363570"/>
                <a:gd name="connsiteY3" fmla="*/ 0 h 2768795"/>
                <a:gd name="connsiteX4" fmla="*/ 227140 w 1363570"/>
                <a:gd name="connsiteY4" fmla="*/ 0 h 2768795"/>
                <a:gd name="connsiteX5" fmla="*/ 19026 w 1363570"/>
                <a:gd name="connsiteY5" fmla="*/ 208114 h 2768795"/>
                <a:gd name="connsiteX6" fmla="*/ 19026 w 1363570"/>
                <a:gd name="connsiteY6" fmla="*/ 367327 h 2768795"/>
                <a:gd name="connsiteX7" fmla="*/ 13156 w 1363570"/>
                <a:gd name="connsiteY7" fmla="*/ 367327 h 2768795"/>
                <a:gd name="connsiteX8" fmla="*/ 0 w 1363570"/>
                <a:gd name="connsiteY8" fmla="*/ 380483 h 2768795"/>
                <a:gd name="connsiteX9" fmla="*/ 0 w 1363570"/>
                <a:gd name="connsiteY9" fmla="*/ 460191 h 2768795"/>
                <a:gd name="connsiteX10" fmla="*/ 13156 w 1363570"/>
                <a:gd name="connsiteY10" fmla="*/ 473347 h 2768795"/>
                <a:gd name="connsiteX11" fmla="*/ 19026 w 1363570"/>
                <a:gd name="connsiteY11" fmla="*/ 473347 h 2768795"/>
                <a:gd name="connsiteX12" fmla="*/ 19026 w 1363570"/>
                <a:gd name="connsiteY12" fmla="*/ 601066 h 2768795"/>
                <a:gd name="connsiteX13" fmla="*/ 13156 w 1363570"/>
                <a:gd name="connsiteY13" fmla="*/ 601066 h 2768795"/>
                <a:gd name="connsiteX14" fmla="*/ 0 w 1363570"/>
                <a:gd name="connsiteY14" fmla="*/ 614222 h 2768795"/>
                <a:gd name="connsiteX15" fmla="*/ 0 w 1363570"/>
                <a:gd name="connsiteY15" fmla="*/ 787927 h 2768795"/>
                <a:gd name="connsiteX16" fmla="*/ 13156 w 1363570"/>
                <a:gd name="connsiteY16" fmla="*/ 801083 h 2768795"/>
                <a:gd name="connsiteX17" fmla="*/ 19026 w 1363570"/>
                <a:gd name="connsiteY17" fmla="*/ 801083 h 2768795"/>
                <a:gd name="connsiteX18" fmla="*/ 19026 w 1363570"/>
                <a:gd name="connsiteY18" fmla="*/ 847354 h 2768795"/>
                <a:gd name="connsiteX19" fmla="*/ 13156 w 1363570"/>
                <a:gd name="connsiteY19" fmla="*/ 847354 h 2768795"/>
                <a:gd name="connsiteX20" fmla="*/ 0 w 1363570"/>
                <a:gd name="connsiteY20" fmla="*/ 860510 h 2768795"/>
                <a:gd name="connsiteX21" fmla="*/ 0 w 1363570"/>
                <a:gd name="connsiteY21" fmla="*/ 1034215 h 2768795"/>
                <a:gd name="connsiteX22" fmla="*/ 13156 w 1363570"/>
                <a:gd name="connsiteY22" fmla="*/ 1047371 h 2768795"/>
                <a:gd name="connsiteX23" fmla="*/ 19026 w 1363570"/>
                <a:gd name="connsiteY23" fmla="*/ 1047371 h 2768795"/>
                <a:gd name="connsiteX24" fmla="*/ 19026 w 1363570"/>
                <a:gd name="connsiteY24" fmla="*/ 2560682 h 2768795"/>
                <a:gd name="connsiteX25" fmla="*/ 227140 w 1363570"/>
                <a:gd name="connsiteY25" fmla="*/ 2768796 h 2768795"/>
                <a:gd name="connsiteX26" fmla="*/ 1138657 w 1363570"/>
                <a:gd name="connsiteY26" fmla="*/ 2768796 h 2768795"/>
                <a:gd name="connsiteX27" fmla="*/ 1346771 w 1363570"/>
                <a:gd name="connsiteY27" fmla="*/ 2560682 h 2768795"/>
                <a:gd name="connsiteX28" fmla="*/ 1346771 w 1363570"/>
                <a:gd name="connsiteY28" fmla="*/ 801124 h 2768795"/>
                <a:gd name="connsiteX29" fmla="*/ 1350414 w 1363570"/>
                <a:gd name="connsiteY29" fmla="*/ 801124 h 2768795"/>
                <a:gd name="connsiteX30" fmla="*/ 1363570 w 1363570"/>
                <a:gd name="connsiteY30" fmla="*/ 787968 h 2768795"/>
                <a:gd name="connsiteX31" fmla="*/ 1363570 w 1363570"/>
                <a:gd name="connsiteY31" fmla="*/ 614263 h 2768795"/>
                <a:gd name="connsiteX32" fmla="*/ 1350414 w 1363570"/>
                <a:gd name="connsiteY32" fmla="*/ 601106 h 2768795"/>
                <a:gd name="connsiteX33" fmla="*/ 1350414 w 1363570"/>
                <a:gd name="connsiteY33" fmla="*/ 601106 h 2768795"/>
                <a:gd name="connsiteX34" fmla="*/ 1298193 w 1363570"/>
                <a:gd name="connsiteY34" fmla="*/ 2421062 h 2768795"/>
                <a:gd name="connsiteX35" fmla="*/ 67563 w 1363570"/>
                <a:gd name="connsiteY35" fmla="*/ 2421062 h 2768795"/>
                <a:gd name="connsiteX36" fmla="*/ 67563 w 1363570"/>
                <a:gd name="connsiteY36" fmla="*/ 333525 h 2768795"/>
                <a:gd name="connsiteX37" fmla="*/ 1298193 w 1363570"/>
                <a:gd name="connsiteY37" fmla="*/ 333525 h 2768795"/>
                <a:gd name="connsiteX38" fmla="*/ 1298193 w 1363570"/>
                <a:gd name="connsiteY38" fmla="*/ 2421103 h 2768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363570" h="2768795">
                  <a:moveTo>
                    <a:pt x="1350414" y="601066"/>
                  </a:moveTo>
                  <a:lnTo>
                    <a:pt x="1346771" y="601066"/>
                  </a:lnTo>
                  <a:lnTo>
                    <a:pt x="1346771" y="208114"/>
                  </a:lnTo>
                  <a:cubicBezTo>
                    <a:pt x="1346771" y="93350"/>
                    <a:pt x="1253421" y="0"/>
                    <a:pt x="1138657" y="0"/>
                  </a:cubicBezTo>
                  <a:lnTo>
                    <a:pt x="227140" y="0"/>
                  </a:lnTo>
                  <a:cubicBezTo>
                    <a:pt x="112376" y="0"/>
                    <a:pt x="19026" y="93350"/>
                    <a:pt x="19026" y="208114"/>
                  </a:cubicBezTo>
                  <a:lnTo>
                    <a:pt x="19026" y="367327"/>
                  </a:lnTo>
                  <a:lnTo>
                    <a:pt x="13156" y="367327"/>
                  </a:lnTo>
                  <a:cubicBezTo>
                    <a:pt x="5910" y="367327"/>
                    <a:pt x="0" y="373237"/>
                    <a:pt x="0" y="380483"/>
                  </a:cubicBezTo>
                  <a:lnTo>
                    <a:pt x="0" y="460191"/>
                  </a:lnTo>
                  <a:cubicBezTo>
                    <a:pt x="0" y="467437"/>
                    <a:pt x="5910" y="473347"/>
                    <a:pt x="13156" y="473347"/>
                  </a:cubicBezTo>
                  <a:lnTo>
                    <a:pt x="19026" y="473347"/>
                  </a:lnTo>
                  <a:lnTo>
                    <a:pt x="19026" y="601066"/>
                  </a:lnTo>
                  <a:lnTo>
                    <a:pt x="13156" y="601066"/>
                  </a:lnTo>
                  <a:cubicBezTo>
                    <a:pt x="5910" y="601066"/>
                    <a:pt x="0" y="606976"/>
                    <a:pt x="0" y="614222"/>
                  </a:cubicBezTo>
                  <a:lnTo>
                    <a:pt x="0" y="787927"/>
                  </a:lnTo>
                  <a:cubicBezTo>
                    <a:pt x="0" y="795173"/>
                    <a:pt x="5910" y="801083"/>
                    <a:pt x="13156" y="801083"/>
                  </a:cubicBezTo>
                  <a:lnTo>
                    <a:pt x="19026" y="801083"/>
                  </a:lnTo>
                  <a:lnTo>
                    <a:pt x="19026" y="847354"/>
                  </a:lnTo>
                  <a:lnTo>
                    <a:pt x="13156" y="847354"/>
                  </a:lnTo>
                  <a:cubicBezTo>
                    <a:pt x="5910" y="847354"/>
                    <a:pt x="0" y="853264"/>
                    <a:pt x="0" y="860510"/>
                  </a:cubicBezTo>
                  <a:lnTo>
                    <a:pt x="0" y="1034215"/>
                  </a:lnTo>
                  <a:cubicBezTo>
                    <a:pt x="0" y="1041461"/>
                    <a:pt x="5910" y="1047371"/>
                    <a:pt x="13156" y="1047371"/>
                  </a:cubicBezTo>
                  <a:lnTo>
                    <a:pt x="19026" y="1047371"/>
                  </a:lnTo>
                  <a:lnTo>
                    <a:pt x="19026" y="2560682"/>
                  </a:lnTo>
                  <a:cubicBezTo>
                    <a:pt x="19026" y="2675446"/>
                    <a:pt x="112376" y="2768796"/>
                    <a:pt x="227140" y="2768796"/>
                  </a:cubicBezTo>
                  <a:lnTo>
                    <a:pt x="1138657" y="2768796"/>
                  </a:lnTo>
                  <a:cubicBezTo>
                    <a:pt x="1253421" y="2768796"/>
                    <a:pt x="1346771" y="2675446"/>
                    <a:pt x="1346771" y="2560682"/>
                  </a:cubicBezTo>
                  <a:lnTo>
                    <a:pt x="1346771" y="801124"/>
                  </a:lnTo>
                  <a:lnTo>
                    <a:pt x="1350414" y="801124"/>
                  </a:lnTo>
                  <a:cubicBezTo>
                    <a:pt x="1357660" y="801124"/>
                    <a:pt x="1363570" y="795214"/>
                    <a:pt x="1363570" y="787968"/>
                  </a:cubicBezTo>
                  <a:lnTo>
                    <a:pt x="1363570" y="614263"/>
                  </a:lnTo>
                  <a:cubicBezTo>
                    <a:pt x="1363570" y="607016"/>
                    <a:pt x="1357660" y="601106"/>
                    <a:pt x="1350414" y="601106"/>
                  </a:cubicBezTo>
                  <a:lnTo>
                    <a:pt x="1350414" y="601106"/>
                  </a:lnTo>
                  <a:close/>
                  <a:moveTo>
                    <a:pt x="1298193" y="2421062"/>
                  </a:moveTo>
                  <a:lnTo>
                    <a:pt x="67563" y="2421062"/>
                  </a:lnTo>
                  <a:lnTo>
                    <a:pt x="67563" y="333525"/>
                  </a:lnTo>
                  <a:lnTo>
                    <a:pt x="1298193" y="333525"/>
                  </a:lnTo>
                  <a:lnTo>
                    <a:pt x="1298193" y="2421103"/>
                  </a:lnTo>
                  <a:close/>
                </a:path>
              </a:pathLst>
            </a:custGeom>
            <a:gradFill>
              <a:gsLst>
                <a:gs pos="0">
                  <a:schemeClr val="tx1"/>
                </a:gs>
                <a:gs pos="78000">
                  <a:schemeClr val="tx1">
                    <a:lumMod val="85000"/>
                    <a:lumOff val="15000"/>
                  </a:schemeClr>
                </a:gs>
                <a:gs pos="87000">
                  <a:schemeClr val="tx1">
                    <a:lumMod val="75000"/>
                    <a:lumOff val="25000"/>
                  </a:schemeClr>
                </a:gs>
                <a:gs pos="100000">
                  <a:schemeClr val="bg1">
                    <a:lumMod val="50000"/>
                  </a:schemeClr>
                </a:gs>
              </a:gsLst>
              <a:lin ang="3600000" scaled="0"/>
            </a:gradFill>
            <a:ln w="4048" cap="flat">
              <a:noFill/>
              <a:prstDash val="solid"/>
              <a:miter/>
            </a:ln>
          </p:spPr>
          <p:txBody>
            <a:bodyPr rtlCol="0" anchor="ctr"/>
            <a:lstStyle/>
            <a:p>
              <a:endParaRPr lang="en-GB" sz="1800"/>
            </a:p>
          </p:txBody>
        </p:sp>
        <p:sp>
          <p:nvSpPr>
            <p:cNvPr id="26" name="Freeform 25">
              <a:extLst>
                <a:ext uri="{FF2B5EF4-FFF2-40B4-BE49-F238E27FC236}">
                  <a16:creationId xmlns:a16="http://schemas.microsoft.com/office/drawing/2014/main" id="{5F27A178-73BA-65EC-8852-F08EBE8ED68E}"/>
                </a:ext>
              </a:extLst>
            </p:cNvPr>
            <p:cNvSpPr/>
            <p:nvPr/>
          </p:nvSpPr>
          <p:spPr>
            <a:xfrm>
              <a:off x="-3025706" y="2335507"/>
              <a:ext cx="203620" cy="203620"/>
            </a:xfrm>
            <a:custGeom>
              <a:avLst/>
              <a:gdLst>
                <a:gd name="connsiteX0" fmla="*/ 101810 w 203620"/>
                <a:gd name="connsiteY0" fmla="*/ 203621 h 203620"/>
                <a:gd name="connsiteX1" fmla="*/ 0 w 203620"/>
                <a:gd name="connsiteY1" fmla="*/ 101810 h 203620"/>
                <a:gd name="connsiteX2" fmla="*/ 101810 w 203620"/>
                <a:gd name="connsiteY2" fmla="*/ 0 h 203620"/>
                <a:gd name="connsiteX3" fmla="*/ 203620 w 203620"/>
                <a:gd name="connsiteY3" fmla="*/ 101810 h 203620"/>
                <a:gd name="connsiteX4" fmla="*/ 101810 w 203620"/>
                <a:gd name="connsiteY4" fmla="*/ 203621 h 203620"/>
                <a:gd name="connsiteX5" fmla="*/ 101810 w 203620"/>
                <a:gd name="connsiteY5" fmla="*/ 16152 h 203620"/>
                <a:gd name="connsiteX6" fmla="*/ 16193 w 203620"/>
                <a:gd name="connsiteY6" fmla="*/ 101770 h 203620"/>
                <a:gd name="connsiteX7" fmla="*/ 101810 w 203620"/>
                <a:gd name="connsiteY7" fmla="*/ 187388 h 203620"/>
                <a:gd name="connsiteX8" fmla="*/ 187428 w 203620"/>
                <a:gd name="connsiteY8" fmla="*/ 101770 h 203620"/>
                <a:gd name="connsiteX9" fmla="*/ 101810 w 203620"/>
                <a:gd name="connsiteY9" fmla="*/ 16152 h 203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620" h="203620">
                  <a:moveTo>
                    <a:pt x="101810" y="203621"/>
                  </a:moveTo>
                  <a:cubicBezTo>
                    <a:pt x="45662" y="203621"/>
                    <a:pt x="0" y="157958"/>
                    <a:pt x="0" y="101810"/>
                  </a:cubicBezTo>
                  <a:cubicBezTo>
                    <a:pt x="0" y="45663"/>
                    <a:pt x="45662" y="0"/>
                    <a:pt x="101810" y="0"/>
                  </a:cubicBezTo>
                  <a:cubicBezTo>
                    <a:pt x="157957" y="0"/>
                    <a:pt x="203620" y="45663"/>
                    <a:pt x="203620" y="101810"/>
                  </a:cubicBezTo>
                  <a:cubicBezTo>
                    <a:pt x="203620" y="157958"/>
                    <a:pt x="157957" y="203621"/>
                    <a:pt x="101810" y="203621"/>
                  </a:cubicBezTo>
                  <a:close/>
                  <a:moveTo>
                    <a:pt x="101810" y="16152"/>
                  </a:moveTo>
                  <a:cubicBezTo>
                    <a:pt x="54609" y="16152"/>
                    <a:pt x="16193" y="54569"/>
                    <a:pt x="16193" y="101770"/>
                  </a:cubicBezTo>
                  <a:cubicBezTo>
                    <a:pt x="16193" y="148971"/>
                    <a:pt x="54609" y="187388"/>
                    <a:pt x="101810" y="187388"/>
                  </a:cubicBezTo>
                  <a:cubicBezTo>
                    <a:pt x="149011" y="187388"/>
                    <a:pt x="187428" y="148971"/>
                    <a:pt x="187428" y="101770"/>
                  </a:cubicBezTo>
                  <a:cubicBezTo>
                    <a:pt x="187428" y="54569"/>
                    <a:pt x="149011" y="16152"/>
                    <a:pt x="101810" y="16152"/>
                  </a:cubicBezTo>
                  <a:close/>
                </a:path>
              </a:pathLst>
            </a:custGeom>
            <a:solidFill>
              <a:schemeClr val="tx1">
                <a:lumMod val="65000"/>
                <a:lumOff val="35000"/>
              </a:schemeClr>
            </a:solidFill>
            <a:ln w="4048" cap="flat">
              <a:noFill/>
              <a:prstDash val="solid"/>
              <a:miter/>
            </a:ln>
          </p:spPr>
          <p:txBody>
            <a:bodyPr rtlCol="0" anchor="ctr"/>
            <a:lstStyle/>
            <a:p>
              <a:endParaRPr lang="en-GB" sz="1800"/>
            </a:p>
          </p:txBody>
        </p:sp>
        <p:sp>
          <p:nvSpPr>
            <p:cNvPr id="27" name="Freeform 26">
              <a:extLst>
                <a:ext uri="{FF2B5EF4-FFF2-40B4-BE49-F238E27FC236}">
                  <a16:creationId xmlns:a16="http://schemas.microsoft.com/office/drawing/2014/main" id="{496BA5AE-C5BB-ADAC-69EB-D492ED1D6C73}"/>
                </a:ext>
              </a:extLst>
            </p:cNvPr>
            <p:cNvSpPr/>
            <p:nvPr/>
          </p:nvSpPr>
          <p:spPr>
            <a:xfrm>
              <a:off x="-3043720" y="33824"/>
              <a:ext cx="239689" cy="36433"/>
            </a:xfrm>
            <a:custGeom>
              <a:avLst/>
              <a:gdLst>
                <a:gd name="connsiteX0" fmla="*/ 221473 w 239689"/>
                <a:gd name="connsiteY0" fmla="*/ 36433 h 36433"/>
                <a:gd name="connsiteX1" fmla="*/ 18217 w 239689"/>
                <a:gd name="connsiteY1" fmla="*/ 36433 h 36433"/>
                <a:gd name="connsiteX2" fmla="*/ 0 w 239689"/>
                <a:gd name="connsiteY2" fmla="*/ 18217 h 36433"/>
                <a:gd name="connsiteX3" fmla="*/ 18217 w 239689"/>
                <a:gd name="connsiteY3" fmla="*/ 0 h 36433"/>
                <a:gd name="connsiteX4" fmla="*/ 221473 w 239689"/>
                <a:gd name="connsiteY4" fmla="*/ 0 h 36433"/>
                <a:gd name="connsiteX5" fmla="*/ 239690 w 239689"/>
                <a:gd name="connsiteY5" fmla="*/ 18217 h 36433"/>
                <a:gd name="connsiteX6" fmla="*/ 221473 w 239689"/>
                <a:gd name="connsiteY6" fmla="*/ 36433 h 36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689" h="36433">
                  <a:moveTo>
                    <a:pt x="221473" y="36433"/>
                  </a:moveTo>
                  <a:lnTo>
                    <a:pt x="18217" y="36433"/>
                  </a:lnTo>
                  <a:cubicBezTo>
                    <a:pt x="8137" y="36433"/>
                    <a:pt x="0" y="28296"/>
                    <a:pt x="0" y="18217"/>
                  </a:cubicBezTo>
                  <a:cubicBezTo>
                    <a:pt x="0" y="8137"/>
                    <a:pt x="8137" y="0"/>
                    <a:pt x="18217" y="0"/>
                  </a:cubicBezTo>
                  <a:lnTo>
                    <a:pt x="221473" y="0"/>
                  </a:lnTo>
                  <a:cubicBezTo>
                    <a:pt x="231553" y="0"/>
                    <a:pt x="239690" y="8137"/>
                    <a:pt x="239690" y="18217"/>
                  </a:cubicBezTo>
                  <a:cubicBezTo>
                    <a:pt x="239690" y="28296"/>
                    <a:pt x="231553" y="36433"/>
                    <a:pt x="221473" y="36433"/>
                  </a:cubicBezTo>
                  <a:close/>
                </a:path>
              </a:pathLst>
            </a:custGeom>
            <a:solidFill>
              <a:schemeClr val="tx1">
                <a:lumMod val="65000"/>
                <a:lumOff val="35000"/>
              </a:schemeClr>
            </a:solidFill>
            <a:ln w="4048" cap="flat">
              <a:noFill/>
              <a:prstDash val="solid"/>
              <a:miter/>
            </a:ln>
          </p:spPr>
          <p:txBody>
            <a:bodyPr rtlCol="0" anchor="ctr"/>
            <a:lstStyle/>
            <a:p>
              <a:endParaRPr lang="en-GB" sz="1800"/>
            </a:p>
          </p:txBody>
        </p:sp>
        <p:sp>
          <p:nvSpPr>
            <p:cNvPr id="28" name="Freeform 27">
              <a:extLst>
                <a:ext uri="{FF2B5EF4-FFF2-40B4-BE49-F238E27FC236}">
                  <a16:creationId xmlns:a16="http://schemas.microsoft.com/office/drawing/2014/main" id="{EABA1FE9-FA8A-34EC-1D71-653112AD96A6}"/>
                </a:ext>
              </a:extLst>
            </p:cNvPr>
            <p:cNvSpPr/>
            <p:nvPr/>
          </p:nvSpPr>
          <p:spPr>
            <a:xfrm>
              <a:off x="-3156825" y="33824"/>
              <a:ext cx="36433" cy="36433"/>
            </a:xfrm>
            <a:custGeom>
              <a:avLst/>
              <a:gdLst>
                <a:gd name="connsiteX0" fmla="*/ 18217 w 36433"/>
                <a:gd name="connsiteY0" fmla="*/ 36433 h 36433"/>
                <a:gd name="connsiteX1" fmla="*/ 5343 w 36433"/>
                <a:gd name="connsiteY1" fmla="*/ 31090 h 36433"/>
                <a:gd name="connsiteX2" fmla="*/ 3077 w 36433"/>
                <a:gd name="connsiteY2" fmla="*/ 28337 h 36433"/>
                <a:gd name="connsiteX3" fmla="*/ 1417 w 36433"/>
                <a:gd name="connsiteY3" fmla="*/ 25179 h 36433"/>
                <a:gd name="connsiteX4" fmla="*/ 364 w 36433"/>
                <a:gd name="connsiteY4" fmla="*/ 21779 h 36433"/>
                <a:gd name="connsiteX5" fmla="*/ 0 w 36433"/>
                <a:gd name="connsiteY5" fmla="*/ 18217 h 36433"/>
                <a:gd name="connsiteX6" fmla="*/ 364 w 36433"/>
                <a:gd name="connsiteY6" fmla="*/ 14654 h 36433"/>
                <a:gd name="connsiteX7" fmla="*/ 1417 w 36433"/>
                <a:gd name="connsiteY7" fmla="*/ 11254 h 36433"/>
                <a:gd name="connsiteX8" fmla="*/ 3077 w 36433"/>
                <a:gd name="connsiteY8" fmla="*/ 8096 h 36433"/>
                <a:gd name="connsiteX9" fmla="*/ 5343 w 36433"/>
                <a:gd name="connsiteY9" fmla="*/ 5343 h 36433"/>
                <a:gd name="connsiteX10" fmla="*/ 8096 w 36433"/>
                <a:gd name="connsiteY10" fmla="*/ 3077 h 36433"/>
                <a:gd name="connsiteX11" fmla="*/ 11253 w 36433"/>
                <a:gd name="connsiteY11" fmla="*/ 1417 h 36433"/>
                <a:gd name="connsiteX12" fmla="*/ 14654 w 36433"/>
                <a:gd name="connsiteY12" fmla="*/ 364 h 36433"/>
                <a:gd name="connsiteX13" fmla="*/ 21779 w 36433"/>
                <a:gd name="connsiteY13" fmla="*/ 364 h 36433"/>
                <a:gd name="connsiteX14" fmla="*/ 25179 w 36433"/>
                <a:gd name="connsiteY14" fmla="*/ 1417 h 36433"/>
                <a:gd name="connsiteX15" fmla="*/ 28337 w 36433"/>
                <a:gd name="connsiteY15" fmla="*/ 3077 h 36433"/>
                <a:gd name="connsiteX16" fmla="*/ 31089 w 36433"/>
                <a:gd name="connsiteY16" fmla="*/ 5343 h 36433"/>
                <a:gd name="connsiteX17" fmla="*/ 36433 w 36433"/>
                <a:gd name="connsiteY17" fmla="*/ 18217 h 36433"/>
                <a:gd name="connsiteX18" fmla="*/ 31089 w 36433"/>
                <a:gd name="connsiteY18" fmla="*/ 31090 h 36433"/>
                <a:gd name="connsiteX19" fmla="*/ 18217 w 36433"/>
                <a:gd name="connsiteY19" fmla="*/ 36433 h 36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6433" h="36433">
                  <a:moveTo>
                    <a:pt x="18217" y="36433"/>
                  </a:moveTo>
                  <a:cubicBezTo>
                    <a:pt x="13440" y="36433"/>
                    <a:pt x="8744" y="34490"/>
                    <a:pt x="5343" y="31090"/>
                  </a:cubicBezTo>
                  <a:cubicBezTo>
                    <a:pt x="4493" y="30280"/>
                    <a:pt x="3724" y="29349"/>
                    <a:pt x="3077" y="28337"/>
                  </a:cubicBezTo>
                  <a:cubicBezTo>
                    <a:pt x="2429" y="27325"/>
                    <a:pt x="1862" y="26272"/>
                    <a:pt x="1417" y="25179"/>
                  </a:cubicBezTo>
                  <a:cubicBezTo>
                    <a:pt x="931" y="24086"/>
                    <a:pt x="607" y="22953"/>
                    <a:pt x="364" y="21779"/>
                  </a:cubicBezTo>
                  <a:cubicBezTo>
                    <a:pt x="121" y="20605"/>
                    <a:pt x="0" y="19390"/>
                    <a:pt x="0" y="18217"/>
                  </a:cubicBezTo>
                  <a:cubicBezTo>
                    <a:pt x="0" y="17043"/>
                    <a:pt x="121" y="15828"/>
                    <a:pt x="364" y="14654"/>
                  </a:cubicBezTo>
                  <a:cubicBezTo>
                    <a:pt x="607" y="13480"/>
                    <a:pt x="931" y="12347"/>
                    <a:pt x="1417" y="11254"/>
                  </a:cubicBezTo>
                  <a:cubicBezTo>
                    <a:pt x="1862" y="10161"/>
                    <a:pt x="2429" y="9108"/>
                    <a:pt x="3077" y="8096"/>
                  </a:cubicBezTo>
                  <a:cubicBezTo>
                    <a:pt x="3724" y="7125"/>
                    <a:pt x="4493" y="6194"/>
                    <a:pt x="5343" y="5343"/>
                  </a:cubicBezTo>
                  <a:cubicBezTo>
                    <a:pt x="6193" y="4493"/>
                    <a:pt x="7125" y="3724"/>
                    <a:pt x="8096" y="3077"/>
                  </a:cubicBezTo>
                  <a:cubicBezTo>
                    <a:pt x="9108" y="2429"/>
                    <a:pt x="10161" y="1862"/>
                    <a:pt x="11253" y="1417"/>
                  </a:cubicBezTo>
                  <a:cubicBezTo>
                    <a:pt x="12346" y="931"/>
                    <a:pt x="13521" y="607"/>
                    <a:pt x="14654" y="364"/>
                  </a:cubicBezTo>
                  <a:cubicBezTo>
                    <a:pt x="17002" y="-121"/>
                    <a:pt x="19431" y="-121"/>
                    <a:pt x="21779" y="364"/>
                  </a:cubicBezTo>
                  <a:cubicBezTo>
                    <a:pt x="22953" y="607"/>
                    <a:pt x="24086" y="931"/>
                    <a:pt x="25179" y="1417"/>
                  </a:cubicBezTo>
                  <a:cubicBezTo>
                    <a:pt x="26272" y="1862"/>
                    <a:pt x="27365" y="2429"/>
                    <a:pt x="28337" y="3077"/>
                  </a:cubicBezTo>
                  <a:cubicBezTo>
                    <a:pt x="29349" y="3724"/>
                    <a:pt x="30280" y="4493"/>
                    <a:pt x="31089" y="5343"/>
                  </a:cubicBezTo>
                  <a:cubicBezTo>
                    <a:pt x="34490" y="8744"/>
                    <a:pt x="36433" y="13440"/>
                    <a:pt x="36433" y="18217"/>
                  </a:cubicBezTo>
                  <a:cubicBezTo>
                    <a:pt x="36433" y="22993"/>
                    <a:pt x="34490" y="27689"/>
                    <a:pt x="31089" y="31090"/>
                  </a:cubicBezTo>
                  <a:cubicBezTo>
                    <a:pt x="27730" y="34490"/>
                    <a:pt x="23034" y="36433"/>
                    <a:pt x="18217" y="36433"/>
                  </a:cubicBezTo>
                  <a:close/>
                </a:path>
              </a:pathLst>
            </a:custGeom>
            <a:solidFill>
              <a:schemeClr val="tx1">
                <a:lumMod val="65000"/>
                <a:lumOff val="35000"/>
              </a:schemeClr>
            </a:solidFill>
            <a:ln w="4048" cap="flat">
              <a:noFill/>
              <a:prstDash val="solid"/>
              <a:miter/>
            </a:ln>
          </p:spPr>
          <p:txBody>
            <a:bodyPr rtlCol="0" anchor="ctr"/>
            <a:lstStyle/>
            <a:p>
              <a:endParaRPr lang="en-GB" sz="1800"/>
            </a:p>
          </p:txBody>
        </p:sp>
      </p:grpSp>
    </p:spTree>
    <p:extLst>
      <p:ext uri="{BB962C8B-B14F-4D97-AF65-F5344CB8AC3E}">
        <p14:creationId xmlns:p14="http://schemas.microsoft.com/office/powerpoint/2010/main" val="1881054158"/>
      </p:ext>
    </p:extLst>
  </p:cSld>
  <p:clrMapOvr>
    <a:masterClrMapping/>
  </p:clrMapOvr>
  <p:extLst>
    <p:ext uri="{DCECCB84-F9BA-43D5-87BE-67443E8EF086}">
      <p15:sldGuideLst xmlns:p15="http://schemas.microsoft.com/office/powerpoint/2012/main"/>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7 Mockup Samsung Xcover 5">
    <p:bg>
      <p:bgPr>
        <a:solidFill>
          <a:srgbClr val="EBF2F3"/>
        </a:solidFill>
        <a:effectLst/>
      </p:bgPr>
    </p:bg>
    <p:spTree>
      <p:nvGrpSpPr>
        <p:cNvPr id="1" name=""/>
        <p:cNvGrpSpPr/>
        <p:nvPr/>
      </p:nvGrpSpPr>
      <p:grpSpPr>
        <a:xfrm>
          <a:off x="0" y="0"/>
          <a:ext cx="0" cy="0"/>
          <a:chOff x="0" y="0"/>
          <a:chExt cx="0" cy="0"/>
        </a:xfrm>
      </p:grpSpPr>
      <p:sp>
        <p:nvSpPr>
          <p:cNvPr id="38" name="Picture Placeholder 37">
            <a:extLst>
              <a:ext uri="{FF2B5EF4-FFF2-40B4-BE49-F238E27FC236}">
                <a16:creationId xmlns:a16="http://schemas.microsoft.com/office/drawing/2014/main" id="{7539A5C1-D35D-699A-EDB3-89B231932F8F}"/>
              </a:ext>
            </a:extLst>
          </p:cNvPr>
          <p:cNvSpPr>
            <a:spLocks noGrp="1"/>
          </p:cNvSpPr>
          <p:nvPr>
            <p:ph type="pic" sz="quarter" idx="12" hasCustomPrompt="1"/>
          </p:nvPr>
        </p:nvSpPr>
        <p:spPr>
          <a:xfrm>
            <a:off x="5885196" y="723714"/>
            <a:ext cx="1764638" cy="3564000"/>
          </a:xfrm>
          <a:custGeom>
            <a:avLst/>
            <a:gdLst>
              <a:gd name="connsiteX0" fmla="*/ 0 w 1919002"/>
              <a:gd name="connsiteY0" fmla="*/ 0 h 3241550"/>
              <a:gd name="connsiteX1" fmla="*/ 1919002 w 1919002"/>
              <a:gd name="connsiteY1" fmla="*/ 0 h 3241550"/>
              <a:gd name="connsiteX2" fmla="*/ 1919002 w 1919002"/>
              <a:gd name="connsiteY2" fmla="*/ 3241550 h 3241550"/>
              <a:gd name="connsiteX3" fmla="*/ 0 w 1919002"/>
              <a:gd name="connsiteY3" fmla="*/ 3241550 h 3241550"/>
            </a:gdLst>
            <a:ahLst/>
            <a:cxnLst>
              <a:cxn ang="0">
                <a:pos x="connsiteX0" y="connsiteY0"/>
              </a:cxn>
              <a:cxn ang="0">
                <a:pos x="connsiteX1" y="connsiteY1"/>
              </a:cxn>
              <a:cxn ang="0">
                <a:pos x="connsiteX2" y="connsiteY2"/>
              </a:cxn>
              <a:cxn ang="0">
                <a:pos x="connsiteX3" y="connsiteY3"/>
              </a:cxn>
            </a:cxnLst>
            <a:rect l="l" t="t" r="r" b="b"/>
            <a:pathLst>
              <a:path w="1919002" h="3241550">
                <a:moveTo>
                  <a:pt x="0" y="0"/>
                </a:moveTo>
                <a:lnTo>
                  <a:pt x="1919002" y="0"/>
                </a:lnTo>
                <a:lnTo>
                  <a:pt x="1919002" y="3241550"/>
                </a:lnTo>
                <a:lnTo>
                  <a:pt x="0" y="3241550"/>
                </a:lnTo>
                <a:close/>
              </a:path>
            </a:pathLst>
          </a:custGeom>
          <a:blipFill dpi="0" rotWithShape="1">
            <a:blip r:embed="rId2"/>
            <a:srcRect/>
            <a:tile tx="0" ty="0" sx="100000" sy="100000" flip="none" algn="tl"/>
          </a:blipFill>
        </p:spPr>
        <p:txBody>
          <a:bodyPr wrap="square">
            <a:noAutofit/>
          </a:bodyPr>
          <a:lstStyle>
            <a:lvl1pPr marL="4763" indent="-4763" algn="ctr">
              <a:buFont typeface="Arial" panose="020B0604020202020204" pitchFamily="34" charset="0"/>
              <a:buNone/>
              <a:tabLst/>
              <a:defRPr sz="800"/>
            </a:lvl1pPr>
          </a:lstStyle>
          <a:p>
            <a:r>
              <a:rPr lang="en-GB" noProof="0"/>
              <a:t>Click on the icon to add screenshot</a:t>
            </a:r>
          </a:p>
        </p:txBody>
      </p:sp>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323851" y="525600"/>
            <a:ext cx="4176713" cy="1498314"/>
          </a:xfrm>
        </p:spPr>
        <p:txBody>
          <a:bodyPr rIns="144000"/>
          <a:lstStyle>
            <a:lvl1pPr>
              <a:defRPr sz="3000" spc="-70"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50" y="276227"/>
            <a:ext cx="4176077" cy="276999"/>
          </a:xfrm>
        </p:spPr>
        <p:txBody>
          <a:bodyPr lIns="111600" rIns="144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a:t>
            </a:r>
            <a:r>
              <a:rPr lang="en-GB" noProof="0" err="1"/>
              <a:t>subheader</a:t>
            </a:r>
            <a:endParaRPr lang="en-GB" noProof="0"/>
          </a:p>
        </p:txBody>
      </p:sp>
      <p:sp>
        <p:nvSpPr>
          <p:cNvPr id="12" name="Text">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323852" y="2103439"/>
            <a:ext cx="4176712" cy="2592387"/>
          </a:xfrm>
        </p:spPr>
        <p:txBody>
          <a:bodyPr rIns="144000"/>
          <a:lstStyle>
            <a:lvl1pPr>
              <a:defRPr sz="1400"/>
            </a:lvl1pPr>
            <a:lvl2pPr>
              <a:defRPr sz="1200"/>
            </a:lvl2pPr>
            <a:lvl3pPr>
              <a:defRPr sz="1200"/>
            </a:lvl3pPr>
            <a:lvl4pPr>
              <a:defRPr sz="1200"/>
            </a:lvl4pPr>
            <a:lvl5pPr>
              <a:defRPr sz="12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5" name="Date">
            <a:extLst>
              <a:ext uri="{FF2B5EF4-FFF2-40B4-BE49-F238E27FC236}">
                <a16:creationId xmlns:a16="http://schemas.microsoft.com/office/drawing/2014/main" id="{FED9A850-451C-994B-9CEF-A2B324B2852F}"/>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5871D99C-30C2-4FDF-B9D6-C85EB58DBD39}" type="datetime1">
              <a:rPr lang="sv-SE" noProof="0" smtClean="0"/>
              <a:t>2025-09-04</a:t>
            </a:fld>
            <a:endParaRPr lang="en-GB" noProof="0"/>
          </a:p>
        </p:txBody>
      </p:sp>
      <p:sp>
        <p:nvSpPr>
          <p:cNvPr id="36" name="Number">
            <a:extLst>
              <a:ext uri="{FF2B5EF4-FFF2-40B4-BE49-F238E27FC236}">
                <a16:creationId xmlns:a16="http://schemas.microsoft.com/office/drawing/2014/main" id="{3D6301AA-5E2B-7F46-BF55-64A8320A6BF9}"/>
              </a:ext>
            </a:extLst>
          </p:cNvPr>
          <p:cNvSpPr>
            <a:spLocks noGrp="1"/>
          </p:cNvSpPr>
          <p:nvPr>
            <p:ph type="sldNum" sz="quarter" idx="4"/>
          </p:nvPr>
        </p:nvSpPr>
        <p:spPr>
          <a:xfrm>
            <a:off x="8640418" y="5003475"/>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3" name="Footer">
            <a:extLst>
              <a:ext uri="{FF2B5EF4-FFF2-40B4-BE49-F238E27FC236}">
                <a16:creationId xmlns:a16="http://schemas.microsoft.com/office/drawing/2014/main" id="{DC643E75-61AD-CE44-8B9B-514A1A088DD3}"/>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grpSp>
        <p:nvGrpSpPr>
          <p:cNvPr id="17" name="Group 16">
            <a:extLst>
              <a:ext uri="{FF2B5EF4-FFF2-40B4-BE49-F238E27FC236}">
                <a16:creationId xmlns:a16="http://schemas.microsoft.com/office/drawing/2014/main" id="{A79F5513-0E4F-4253-6618-A9E04F5666E7}"/>
              </a:ext>
            </a:extLst>
          </p:cNvPr>
          <p:cNvGrpSpPr/>
          <p:nvPr userDrawn="1"/>
        </p:nvGrpSpPr>
        <p:grpSpPr>
          <a:xfrm>
            <a:off x="5698185" y="334076"/>
            <a:ext cx="2147756" cy="4335435"/>
            <a:chOff x="-3756800" y="792460"/>
            <a:chExt cx="1380694" cy="2787053"/>
          </a:xfrm>
        </p:grpSpPr>
        <p:sp>
          <p:nvSpPr>
            <p:cNvPr id="5" name="Freeform 4">
              <a:extLst>
                <a:ext uri="{FF2B5EF4-FFF2-40B4-BE49-F238E27FC236}">
                  <a16:creationId xmlns:a16="http://schemas.microsoft.com/office/drawing/2014/main" id="{1F168B19-C08A-4D70-F49F-751CCD6AE924}"/>
                </a:ext>
              </a:extLst>
            </p:cNvPr>
            <p:cNvSpPr/>
            <p:nvPr/>
          </p:nvSpPr>
          <p:spPr>
            <a:xfrm>
              <a:off x="-3756800" y="792460"/>
              <a:ext cx="1380694" cy="2787053"/>
            </a:xfrm>
            <a:custGeom>
              <a:avLst/>
              <a:gdLst>
                <a:gd name="connsiteX0" fmla="*/ 1367497 w 1380694"/>
                <a:gd name="connsiteY0" fmla="*/ 604507 h 2787053"/>
                <a:gd name="connsiteX1" fmla="*/ 1380654 w 1380694"/>
                <a:gd name="connsiteY1" fmla="*/ 591350 h 2787053"/>
                <a:gd name="connsiteX2" fmla="*/ 1380654 w 1380694"/>
                <a:gd name="connsiteY2" fmla="*/ 417605 h 2787053"/>
                <a:gd name="connsiteX3" fmla="*/ 1367497 w 1380694"/>
                <a:gd name="connsiteY3" fmla="*/ 404448 h 2787053"/>
                <a:gd name="connsiteX4" fmla="*/ 1357903 w 1380694"/>
                <a:gd name="connsiteY4" fmla="*/ 404448 h 2787053"/>
                <a:gd name="connsiteX5" fmla="*/ 1357903 w 1380694"/>
                <a:gd name="connsiteY5" fmla="*/ 222161 h 2787053"/>
                <a:gd name="connsiteX6" fmla="*/ 1372233 w 1380694"/>
                <a:gd name="connsiteY6" fmla="*/ 179656 h 2787053"/>
                <a:gd name="connsiteX7" fmla="*/ 1372233 w 1380694"/>
                <a:gd name="connsiteY7" fmla="*/ 70640 h 2787053"/>
                <a:gd name="connsiteX8" fmla="*/ 1301594 w 1380694"/>
                <a:gd name="connsiteY8" fmla="*/ 0 h 2787053"/>
                <a:gd name="connsiteX9" fmla="*/ 1067207 w 1380694"/>
                <a:gd name="connsiteY9" fmla="*/ 0 h 2787053"/>
                <a:gd name="connsiteX10" fmla="*/ 1020573 w 1380694"/>
                <a:gd name="connsiteY10" fmla="*/ 17650 h 2787053"/>
                <a:gd name="connsiteX11" fmla="*/ 353199 w 1380694"/>
                <a:gd name="connsiteY11" fmla="*/ 17650 h 2787053"/>
                <a:gd name="connsiteX12" fmla="*/ 306564 w 1380694"/>
                <a:gd name="connsiteY12" fmla="*/ 0 h 2787053"/>
                <a:gd name="connsiteX13" fmla="*/ 72178 w 1380694"/>
                <a:gd name="connsiteY13" fmla="*/ 0 h 2787053"/>
                <a:gd name="connsiteX14" fmla="*/ 1538 w 1380694"/>
                <a:gd name="connsiteY14" fmla="*/ 70640 h 2787053"/>
                <a:gd name="connsiteX15" fmla="*/ 1538 w 1380694"/>
                <a:gd name="connsiteY15" fmla="*/ 179656 h 2787053"/>
                <a:gd name="connsiteX16" fmla="*/ 15869 w 1380694"/>
                <a:gd name="connsiteY16" fmla="*/ 222161 h 2787053"/>
                <a:gd name="connsiteX17" fmla="*/ 15869 w 1380694"/>
                <a:gd name="connsiteY17" fmla="*/ 808977 h 2787053"/>
                <a:gd name="connsiteX18" fmla="*/ 5708 w 1380694"/>
                <a:gd name="connsiteY18" fmla="*/ 808977 h 2787053"/>
                <a:gd name="connsiteX19" fmla="*/ 0 w 1380694"/>
                <a:gd name="connsiteY19" fmla="*/ 814685 h 2787053"/>
                <a:gd name="connsiteX20" fmla="*/ 0 w 1380694"/>
                <a:gd name="connsiteY20" fmla="*/ 1179664 h 2787053"/>
                <a:gd name="connsiteX21" fmla="*/ 5708 w 1380694"/>
                <a:gd name="connsiteY21" fmla="*/ 1185372 h 2787053"/>
                <a:gd name="connsiteX22" fmla="*/ 15869 w 1380694"/>
                <a:gd name="connsiteY22" fmla="*/ 1185372 h 2787053"/>
                <a:gd name="connsiteX23" fmla="*/ 15869 w 1380694"/>
                <a:gd name="connsiteY23" fmla="*/ 2564892 h 2787053"/>
                <a:gd name="connsiteX24" fmla="*/ 1538 w 1380694"/>
                <a:gd name="connsiteY24" fmla="*/ 2607397 h 2787053"/>
                <a:gd name="connsiteX25" fmla="*/ 1538 w 1380694"/>
                <a:gd name="connsiteY25" fmla="*/ 2716413 h 2787053"/>
                <a:gd name="connsiteX26" fmla="*/ 72178 w 1380694"/>
                <a:gd name="connsiteY26" fmla="*/ 2787053 h 2787053"/>
                <a:gd name="connsiteX27" fmla="*/ 306564 w 1380694"/>
                <a:gd name="connsiteY27" fmla="*/ 2787053 h 2787053"/>
                <a:gd name="connsiteX28" fmla="*/ 349474 w 1380694"/>
                <a:gd name="connsiteY28" fmla="*/ 2772440 h 2787053"/>
                <a:gd name="connsiteX29" fmla="*/ 1024337 w 1380694"/>
                <a:gd name="connsiteY29" fmla="*/ 2772440 h 2787053"/>
                <a:gd name="connsiteX30" fmla="*/ 1067248 w 1380694"/>
                <a:gd name="connsiteY30" fmla="*/ 2787053 h 2787053"/>
                <a:gd name="connsiteX31" fmla="*/ 1301634 w 1380694"/>
                <a:gd name="connsiteY31" fmla="*/ 2787053 h 2787053"/>
                <a:gd name="connsiteX32" fmla="*/ 1372274 w 1380694"/>
                <a:gd name="connsiteY32" fmla="*/ 2716413 h 2787053"/>
                <a:gd name="connsiteX33" fmla="*/ 1372274 w 1380694"/>
                <a:gd name="connsiteY33" fmla="*/ 2607397 h 2787053"/>
                <a:gd name="connsiteX34" fmla="*/ 1357944 w 1380694"/>
                <a:gd name="connsiteY34" fmla="*/ 2564892 h 2787053"/>
                <a:gd name="connsiteX35" fmla="*/ 1357944 w 1380694"/>
                <a:gd name="connsiteY35" fmla="*/ 1198852 h 2787053"/>
                <a:gd name="connsiteX36" fmla="*/ 1367538 w 1380694"/>
                <a:gd name="connsiteY36" fmla="*/ 1198852 h 2787053"/>
                <a:gd name="connsiteX37" fmla="*/ 1380694 w 1380694"/>
                <a:gd name="connsiteY37" fmla="*/ 1185696 h 2787053"/>
                <a:gd name="connsiteX38" fmla="*/ 1380694 w 1380694"/>
                <a:gd name="connsiteY38" fmla="*/ 1011991 h 2787053"/>
                <a:gd name="connsiteX39" fmla="*/ 1367538 w 1380694"/>
                <a:gd name="connsiteY39" fmla="*/ 998834 h 2787053"/>
                <a:gd name="connsiteX40" fmla="*/ 1357944 w 1380694"/>
                <a:gd name="connsiteY40" fmla="*/ 998834 h 2787053"/>
                <a:gd name="connsiteX41" fmla="*/ 1357944 w 1380694"/>
                <a:gd name="connsiteY41" fmla="*/ 811811 h 2787053"/>
                <a:gd name="connsiteX42" fmla="*/ 1367538 w 1380694"/>
                <a:gd name="connsiteY42" fmla="*/ 811811 h 2787053"/>
                <a:gd name="connsiteX43" fmla="*/ 1380694 w 1380694"/>
                <a:gd name="connsiteY43" fmla="*/ 798655 h 2787053"/>
                <a:gd name="connsiteX44" fmla="*/ 1380694 w 1380694"/>
                <a:gd name="connsiteY44" fmla="*/ 624950 h 2787053"/>
                <a:gd name="connsiteX45" fmla="*/ 1367538 w 1380694"/>
                <a:gd name="connsiteY45" fmla="*/ 611793 h 2787053"/>
                <a:gd name="connsiteX46" fmla="*/ 1357944 w 1380694"/>
                <a:gd name="connsiteY46" fmla="*/ 611793 h 2787053"/>
                <a:gd name="connsiteX47" fmla="*/ 1357944 w 1380694"/>
                <a:gd name="connsiteY47" fmla="*/ 604587 h 2787053"/>
                <a:gd name="connsiteX48" fmla="*/ 1367538 w 1380694"/>
                <a:gd name="connsiteY48" fmla="*/ 604587 h 2787053"/>
                <a:gd name="connsiteX49" fmla="*/ 1367538 w 1380694"/>
                <a:gd name="connsiteY49" fmla="*/ 604507 h 2787053"/>
                <a:gd name="connsiteX50" fmla="*/ 1274917 w 1380694"/>
                <a:gd name="connsiteY50" fmla="*/ 2569588 h 2787053"/>
                <a:gd name="connsiteX51" fmla="*/ 105615 w 1380694"/>
                <a:gd name="connsiteY51" fmla="*/ 2569588 h 2787053"/>
                <a:gd name="connsiteX52" fmla="*/ 105615 w 1380694"/>
                <a:gd name="connsiteY52" fmla="*/ 217465 h 2787053"/>
                <a:gd name="connsiteX53" fmla="*/ 1274917 w 1380694"/>
                <a:gd name="connsiteY53" fmla="*/ 217465 h 2787053"/>
                <a:gd name="connsiteX54" fmla="*/ 1274917 w 1380694"/>
                <a:gd name="connsiteY54" fmla="*/ 2569588 h 2787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380694" h="2787053">
                  <a:moveTo>
                    <a:pt x="1367497" y="604507"/>
                  </a:moveTo>
                  <a:cubicBezTo>
                    <a:pt x="1374743" y="604507"/>
                    <a:pt x="1380654" y="598596"/>
                    <a:pt x="1380654" y="591350"/>
                  </a:cubicBezTo>
                  <a:lnTo>
                    <a:pt x="1380654" y="417605"/>
                  </a:lnTo>
                  <a:cubicBezTo>
                    <a:pt x="1380654" y="410358"/>
                    <a:pt x="1374743" y="404448"/>
                    <a:pt x="1367497" y="404448"/>
                  </a:cubicBezTo>
                  <a:lnTo>
                    <a:pt x="1357903" y="404448"/>
                  </a:lnTo>
                  <a:lnTo>
                    <a:pt x="1357903" y="222161"/>
                  </a:lnTo>
                  <a:cubicBezTo>
                    <a:pt x="1366849" y="210341"/>
                    <a:pt x="1372233" y="195646"/>
                    <a:pt x="1372233" y="179656"/>
                  </a:cubicBezTo>
                  <a:lnTo>
                    <a:pt x="1372233" y="70640"/>
                  </a:lnTo>
                  <a:cubicBezTo>
                    <a:pt x="1372233" y="31616"/>
                    <a:pt x="1340618" y="0"/>
                    <a:pt x="1301594" y="0"/>
                  </a:cubicBezTo>
                  <a:lnTo>
                    <a:pt x="1067207" y="0"/>
                  </a:lnTo>
                  <a:cubicBezTo>
                    <a:pt x="1049314" y="0"/>
                    <a:pt x="1033041" y="6720"/>
                    <a:pt x="1020573" y="17650"/>
                  </a:cubicBezTo>
                  <a:lnTo>
                    <a:pt x="353199" y="17650"/>
                  </a:lnTo>
                  <a:cubicBezTo>
                    <a:pt x="340731" y="6679"/>
                    <a:pt x="324457" y="0"/>
                    <a:pt x="306564" y="0"/>
                  </a:cubicBezTo>
                  <a:lnTo>
                    <a:pt x="72178" y="0"/>
                  </a:lnTo>
                  <a:cubicBezTo>
                    <a:pt x="33154" y="0"/>
                    <a:pt x="1538" y="31616"/>
                    <a:pt x="1538" y="70640"/>
                  </a:cubicBezTo>
                  <a:lnTo>
                    <a:pt x="1538" y="179656"/>
                  </a:lnTo>
                  <a:cubicBezTo>
                    <a:pt x="1538" y="195646"/>
                    <a:pt x="6922" y="210341"/>
                    <a:pt x="15869" y="222161"/>
                  </a:cubicBezTo>
                  <a:lnTo>
                    <a:pt x="15869" y="808977"/>
                  </a:lnTo>
                  <a:lnTo>
                    <a:pt x="5708" y="808977"/>
                  </a:lnTo>
                  <a:cubicBezTo>
                    <a:pt x="2550" y="808977"/>
                    <a:pt x="0" y="811568"/>
                    <a:pt x="0" y="814685"/>
                  </a:cubicBezTo>
                  <a:lnTo>
                    <a:pt x="0" y="1179664"/>
                  </a:lnTo>
                  <a:cubicBezTo>
                    <a:pt x="0" y="1182822"/>
                    <a:pt x="2550" y="1185372"/>
                    <a:pt x="5708" y="1185372"/>
                  </a:cubicBezTo>
                  <a:lnTo>
                    <a:pt x="15869" y="1185372"/>
                  </a:lnTo>
                  <a:lnTo>
                    <a:pt x="15869" y="2564892"/>
                  </a:lnTo>
                  <a:cubicBezTo>
                    <a:pt x="6922" y="2576713"/>
                    <a:pt x="1538" y="2591407"/>
                    <a:pt x="1538" y="2607397"/>
                  </a:cubicBezTo>
                  <a:lnTo>
                    <a:pt x="1538" y="2716413"/>
                  </a:lnTo>
                  <a:cubicBezTo>
                    <a:pt x="1538" y="2755437"/>
                    <a:pt x="33154" y="2787053"/>
                    <a:pt x="72178" y="2787053"/>
                  </a:cubicBezTo>
                  <a:lnTo>
                    <a:pt x="306564" y="2787053"/>
                  </a:lnTo>
                  <a:cubicBezTo>
                    <a:pt x="322716" y="2787053"/>
                    <a:pt x="337573" y="2781588"/>
                    <a:pt x="349474" y="2772440"/>
                  </a:cubicBezTo>
                  <a:lnTo>
                    <a:pt x="1024337" y="2772440"/>
                  </a:lnTo>
                  <a:cubicBezTo>
                    <a:pt x="1036239" y="2781548"/>
                    <a:pt x="1051096" y="2787053"/>
                    <a:pt x="1067248" y="2787053"/>
                  </a:cubicBezTo>
                  <a:lnTo>
                    <a:pt x="1301634" y="2787053"/>
                  </a:lnTo>
                  <a:cubicBezTo>
                    <a:pt x="1340658" y="2787053"/>
                    <a:pt x="1372274" y="2755437"/>
                    <a:pt x="1372274" y="2716413"/>
                  </a:cubicBezTo>
                  <a:lnTo>
                    <a:pt x="1372274" y="2607397"/>
                  </a:lnTo>
                  <a:cubicBezTo>
                    <a:pt x="1372274" y="2591407"/>
                    <a:pt x="1366890" y="2576713"/>
                    <a:pt x="1357944" y="2564892"/>
                  </a:cubicBezTo>
                  <a:lnTo>
                    <a:pt x="1357944" y="1198852"/>
                  </a:lnTo>
                  <a:lnTo>
                    <a:pt x="1367538" y="1198852"/>
                  </a:lnTo>
                  <a:cubicBezTo>
                    <a:pt x="1374783" y="1198852"/>
                    <a:pt x="1380694" y="1192942"/>
                    <a:pt x="1380694" y="1185696"/>
                  </a:cubicBezTo>
                  <a:lnTo>
                    <a:pt x="1380694" y="1011991"/>
                  </a:lnTo>
                  <a:cubicBezTo>
                    <a:pt x="1380694" y="1004745"/>
                    <a:pt x="1374783" y="998834"/>
                    <a:pt x="1367538" y="998834"/>
                  </a:cubicBezTo>
                  <a:lnTo>
                    <a:pt x="1357944" y="998834"/>
                  </a:lnTo>
                  <a:lnTo>
                    <a:pt x="1357944" y="811811"/>
                  </a:lnTo>
                  <a:lnTo>
                    <a:pt x="1367538" y="811811"/>
                  </a:lnTo>
                  <a:cubicBezTo>
                    <a:pt x="1374783" y="811811"/>
                    <a:pt x="1380694" y="805901"/>
                    <a:pt x="1380694" y="798655"/>
                  </a:cubicBezTo>
                  <a:lnTo>
                    <a:pt x="1380694" y="624950"/>
                  </a:lnTo>
                  <a:cubicBezTo>
                    <a:pt x="1380694" y="617703"/>
                    <a:pt x="1374783" y="611793"/>
                    <a:pt x="1367538" y="611793"/>
                  </a:cubicBezTo>
                  <a:lnTo>
                    <a:pt x="1357944" y="611793"/>
                  </a:lnTo>
                  <a:lnTo>
                    <a:pt x="1357944" y="604587"/>
                  </a:lnTo>
                  <a:lnTo>
                    <a:pt x="1367538" y="604587"/>
                  </a:lnTo>
                  <a:lnTo>
                    <a:pt x="1367538" y="604507"/>
                  </a:lnTo>
                  <a:close/>
                  <a:moveTo>
                    <a:pt x="1274917" y="2569588"/>
                  </a:moveTo>
                  <a:lnTo>
                    <a:pt x="105615" y="2569588"/>
                  </a:lnTo>
                  <a:lnTo>
                    <a:pt x="105615" y="217465"/>
                  </a:lnTo>
                  <a:lnTo>
                    <a:pt x="1274917" y="217465"/>
                  </a:lnTo>
                  <a:lnTo>
                    <a:pt x="1274917" y="2569588"/>
                  </a:lnTo>
                  <a:close/>
                </a:path>
              </a:pathLst>
            </a:custGeom>
            <a:gradFill>
              <a:gsLst>
                <a:gs pos="0">
                  <a:schemeClr val="tx1"/>
                </a:gs>
                <a:gs pos="78000">
                  <a:schemeClr val="tx1">
                    <a:lumMod val="85000"/>
                    <a:lumOff val="15000"/>
                  </a:schemeClr>
                </a:gs>
                <a:gs pos="87000">
                  <a:schemeClr val="tx1">
                    <a:lumMod val="75000"/>
                    <a:lumOff val="25000"/>
                  </a:schemeClr>
                </a:gs>
                <a:gs pos="100000">
                  <a:schemeClr val="bg1">
                    <a:lumMod val="50000"/>
                  </a:schemeClr>
                </a:gs>
              </a:gsLst>
              <a:lin ang="3600000" scaled="0"/>
            </a:gradFill>
            <a:ln w="4048" cap="flat">
              <a:noFill/>
              <a:prstDash val="solid"/>
              <a:miter/>
            </a:ln>
          </p:spPr>
          <p:txBody>
            <a:bodyPr rtlCol="0" anchor="ctr"/>
            <a:lstStyle/>
            <a:p>
              <a:endParaRPr lang="en-GB" sz="1800"/>
            </a:p>
          </p:txBody>
        </p:sp>
        <p:sp>
          <p:nvSpPr>
            <p:cNvPr id="14" name="Freeform 13">
              <a:extLst>
                <a:ext uri="{FF2B5EF4-FFF2-40B4-BE49-F238E27FC236}">
                  <a16:creationId xmlns:a16="http://schemas.microsoft.com/office/drawing/2014/main" id="{70F328C2-B196-7A9A-5181-3F620259FBA0}"/>
                </a:ext>
              </a:extLst>
            </p:cNvPr>
            <p:cNvSpPr/>
            <p:nvPr/>
          </p:nvSpPr>
          <p:spPr>
            <a:xfrm>
              <a:off x="-3692597" y="857838"/>
              <a:ext cx="1245364" cy="2656298"/>
            </a:xfrm>
            <a:custGeom>
              <a:avLst/>
              <a:gdLst>
                <a:gd name="connsiteX0" fmla="*/ 1129184 w 1245364"/>
                <a:gd name="connsiteY0" fmla="*/ 0 h 2656298"/>
                <a:gd name="connsiteX1" fmla="*/ 116181 w 1245364"/>
                <a:gd name="connsiteY1" fmla="*/ 0 h 2656298"/>
                <a:gd name="connsiteX2" fmla="*/ 0 w 1245364"/>
                <a:gd name="connsiteY2" fmla="*/ 116181 h 2656298"/>
                <a:gd name="connsiteX3" fmla="*/ 0 w 1245364"/>
                <a:gd name="connsiteY3" fmla="*/ 2540118 h 2656298"/>
                <a:gd name="connsiteX4" fmla="*/ 116181 w 1245364"/>
                <a:gd name="connsiteY4" fmla="*/ 2656299 h 2656298"/>
                <a:gd name="connsiteX5" fmla="*/ 1129184 w 1245364"/>
                <a:gd name="connsiteY5" fmla="*/ 2656299 h 2656298"/>
                <a:gd name="connsiteX6" fmla="*/ 1245365 w 1245364"/>
                <a:gd name="connsiteY6" fmla="*/ 2540118 h 2656298"/>
                <a:gd name="connsiteX7" fmla="*/ 1245365 w 1245364"/>
                <a:gd name="connsiteY7" fmla="*/ 116181 h 2656298"/>
                <a:gd name="connsiteX8" fmla="*/ 1129184 w 1245364"/>
                <a:gd name="connsiteY8" fmla="*/ 0 h 2656298"/>
                <a:gd name="connsiteX9" fmla="*/ 1185048 w 1245364"/>
                <a:gd name="connsiteY9" fmla="*/ 2453973 h 2656298"/>
                <a:gd name="connsiteX10" fmla="*/ 1167115 w 1245364"/>
                <a:gd name="connsiteY10" fmla="*/ 2471907 h 2656298"/>
                <a:gd name="connsiteX11" fmla="*/ 78291 w 1245364"/>
                <a:gd name="connsiteY11" fmla="*/ 2471907 h 2656298"/>
                <a:gd name="connsiteX12" fmla="*/ 60357 w 1245364"/>
                <a:gd name="connsiteY12" fmla="*/ 2453973 h 2656298"/>
                <a:gd name="connsiteX13" fmla="*/ 60357 w 1245364"/>
                <a:gd name="connsiteY13" fmla="*/ 206130 h 2656298"/>
                <a:gd name="connsiteX14" fmla="*/ 78291 w 1245364"/>
                <a:gd name="connsiteY14" fmla="*/ 188197 h 2656298"/>
                <a:gd name="connsiteX15" fmla="*/ 1167115 w 1245364"/>
                <a:gd name="connsiteY15" fmla="*/ 188197 h 2656298"/>
                <a:gd name="connsiteX16" fmla="*/ 1185048 w 1245364"/>
                <a:gd name="connsiteY16" fmla="*/ 206130 h 2656298"/>
                <a:gd name="connsiteX17" fmla="*/ 1185048 w 1245364"/>
                <a:gd name="connsiteY17" fmla="*/ 2453933 h 2656298"/>
                <a:gd name="connsiteX18" fmla="*/ 1185048 w 1245364"/>
                <a:gd name="connsiteY18" fmla="*/ 2453933 h 2656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45364" h="2656298">
                  <a:moveTo>
                    <a:pt x="1129184" y="0"/>
                  </a:moveTo>
                  <a:lnTo>
                    <a:pt x="116181" y="0"/>
                  </a:lnTo>
                  <a:cubicBezTo>
                    <a:pt x="52018" y="0"/>
                    <a:pt x="0" y="52018"/>
                    <a:pt x="0" y="116181"/>
                  </a:cubicBezTo>
                  <a:lnTo>
                    <a:pt x="0" y="2540118"/>
                  </a:lnTo>
                  <a:cubicBezTo>
                    <a:pt x="0" y="2604280"/>
                    <a:pt x="52018" y="2656299"/>
                    <a:pt x="116181" y="2656299"/>
                  </a:cubicBezTo>
                  <a:lnTo>
                    <a:pt x="1129184" y="2656299"/>
                  </a:lnTo>
                  <a:cubicBezTo>
                    <a:pt x="1193347" y="2656299"/>
                    <a:pt x="1245365" y="2604280"/>
                    <a:pt x="1245365" y="2540118"/>
                  </a:cubicBezTo>
                  <a:lnTo>
                    <a:pt x="1245365" y="116181"/>
                  </a:lnTo>
                  <a:cubicBezTo>
                    <a:pt x="1245365" y="52018"/>
                    <a:pt x="1193347" y="0"/>
                    <a:pt x="1129184" y="0"/>
                  </a:cubicBezTo>
                  <a:close/>
                  <a:moveTo>
                    <a:pt x="1185048" y="2453973"/>
                  </a:moveTo>
                  <a:cubicBezTo>
                    <a:pt x="1185048" y="2463891"/>
                    <a:pt x="1176992" y="2471907"/>
                    <a:pt x="1167115" y="2471907"/>
                  </a:cubicBezTo>
                  <a:lnTo>
                    <a:pt x="78291" y="2471907"/>
                  </a:lnTo>
                  <a:cubicBezTo>
                    <a:pt x="68373" y="2471907"/>
                    <a:pt x="60357" y="2463851"/>
                    <a:pt x="60357" y="2453973"/>
                  </a:cubicBezTo>
                  <a:lnTo>
                    <a:pt x="60357" y="206130"/>
                  </a:lnTo>
                  <a:cubicBezTo>
                    <a:pt x="60357" y="196213"/>
                    <a:pt x="68413" y="188197"/>
                    <a:pt x="78291" y="188197"/>
                  </a:cubicBezTo>
                  <a:lnTo>
                    <a:pt x="1167115" y="188197"/>
                  </a:lnTo>
                  <a:cubicBezTo>
                    <a:pt x="1177033" y="188197"/>
                    <a:pt x="1185048" y="196253"/>
                    <a:pt x="1185048" y="206130"/>
                  </a:cubicBezTo>
                  <a:lnTo>
                    <a:pt x="1185048" y="2453933"/>
                  </a:lnTo>
                  <a:lnTo>
                    <a:pt x="1185048" y="2453933"/>
                  </a:lnTo>
                  <a:close/>
                </a:path>
              </a:pathLst>
            </a:custGeom>
            <a:gradFill>
              <a:gsLst>
                <a:gs pos="0">
                  <a:schemeClr val="tx1">
                    <a:lumMod val="85000"/>
                    <a:lumOff val="15000"/>
                  </a:schemeClr>
                </a:gs>
                <a:gs pos="78000">
                  <a:schemeClr val="tx1">
                    <a:lumMod val="85000"/>
                    <a:lumOff val="15000"/>
                  </a:schemeClr>
                </a:gs>
                <a:gs pos="91000">
                  <a:schemeClr val="tx1">
                    <a:lumMod val="75000"/>
                    <a:lumOff val="25000"/>
                  </a:schemeClr>
                </a:gs>
                <a:gs pos="100000">
                  <a:schemeClr val="tx1">
                    <a:lumMod val="65000"/>
                    <a:lumOff val="35000"/>
                  </a:schemeClr>
                </a:gs>
              </a:gsLst>
              <a:lin ang="1800000" scaled="0"/>
            </a:gradFill>
            <a:ln w="4048" cap="flat">
              <a:noFill/>
              <a:prstDash val="solid"/>
              <a:miter/>
            </a:ln>
          </p:spPr>
          <p:txBody>
            <a:bodyPr rtlCol="0" anchor="ctr"/>
            <a:lstStyle/>
            <a:p>
              <a:endParaRPr lang="en-GB" sz="1800"/>
            </a:p>
          </p:txBody>
        </p:sp>
        <p:sp>
          <p:nvSpPr>
            <p:cNvPr id="15" name="Freeform 14">
              <a:extLst>
                <a:ext uri="{FF2B5EF4-FFF2-40B4-BE49-F238E27FC236}">
                  <a16:creationId xmlns:a16="http://schemas.microsoft.com/office/drawing/2014/main" id="{5BC40465-4EA4-E037-CE43-2DED209BB2C2}"/>
                </a:ext>
              </a:extLst>
            </p:cNvPr>
            <p:cNvSpPr/>
            <p:nvPr/>
          </p:nvSpPr>
          <p:spPr>
            <a:xfrm>
              <a:off x="-3092179" y="936118"/>
              <a:ext cx="44529" cy="44539"/>
            </a:xfrm>
            <a:custGeom>
              <a:avLst/>
              <a:gdLst>
                <a:gd name="connsiteX0" fmla="*/ 22265 w 44529"/>
                <a:gd name="connsiteY0" fmla="*/ 44539 h 44539"/>
                <a:gd name="connsiteX1" fmla="*/ 17893 w 44529"/>
                <a:gd name="connsiteY1" fmla="*/ 44094 h 44539"/>
                <a:gd name="connsiteX2" fmla="*/ 13723 w 44529"/>
                <a:gd name="connsiteY2" fmla="*/ 42839 h 44539"/>
                <a:gd name="connsiteX3" fmla="*/ 9918 w 44529"/>
                <a:gd name="connsiteY3" fmla="*/ 40775 h 44539"/>
                <a:gd name="connsiteX4" fmla="*/ 6517 w 44529"/>
                <a:gd name="connsiteY4" fmla="*/ 38022 h 44539"/>
                <a:gd name="connsiteX5" fmla="*/ 3724 w 44529"/>
                <a:gd name="connsiteY5" fmla="*/ 34622 h 44539"/>
                <a:gd name="connsiteX6" fmla="*/ 1700 w 44529"/>
                <a:gd name="connsiteY6" fmla="*/ 30776 h 44539"/>
                <a:gd name="connsiteX7" fmla="*/ 445 w 44529"/>
                <a:gd name="connsiteY7" fmla="*/ 26606 h 44539"/>
                <a:gd name="connsiteX8" fmla="*/ 0 w 44529"/>
                <a:gd name="connsiteY8" fmla="*/ 22275 h 44539"/>
                <a:gd name="connsiteX9" fmla="*/ 6517 w 44529"/>
                <a:gd name="connsiteY9" fmla="*/ 6528 h 44539"/>
                <a:gd name="connsiteX10" fmla="*/ 9918 w 44529"/>
                <a:gd name="connsiteY10" fmla="*/ 3775 h 44539"/>
                <a:gd name="connsiteX11" fmla="*/ 13723 w 44529"/>
                <a:gd name="connsiteY11" fmla="*/ 1710 h 44539"/>
                <a:gd name="connsiteX12" fmla="*/ 17893 w 44529"/>
                <a:gd name="connsiteY12" fmla="*/ 455 h 44539"/>
                <a:gd name="connsiteX13" fmla="*/ 26596 w 44529"/>
                <a:gd name="connsiteY13" fmla="*/ 455 h 44539"/>
                <a:gd name="connsiteX14" fmla="*/ 30766 w 44529"/>
                <a:gd name="connsiteY14" fmla="*/ 1710 h 44539"/>
                <a:gd name="connsiteX15" fmla="*/ 34611 w 44529"/>
                <a:gd name="connsiteY15" fmla="*/ 3775 h 44539"/>
                <a:gd name="connsiteX16" fmla="*/ 38012 w 44529"/>
                <a:gd name="connsiteY16" fmla="*/ 6528 h 44539"/>
                <a:gd name="connsiteX17" fmla="*/ 44529 w 44529"/>
                <a:gd name="connsiteY17" fmla="*/ 22275 h 44539"/>
                <a:gd name="connsiteX18" fmla="*/ 44084 w 44529"/>
                <a:gd name="connsiteY18" fmla="*/ 26606 h 44539"/>
                <a:gd name="connsiteX19" fmla="*/ 42829 w 44529"/>
                <a:gd name="connsiteY19" fmla="*/ 30776 h 44539"/>
                <a:gd name="connsiteX20" fmla="*/ 40765 w 44529"/>
                <a:gd name="connsiteY20" fmla="*/ 34622 h 44539"/>
                <a:gd name="connsiteX21" fmla="*/ 38012 w 44529"/>
                <a:gd name="connsiteY21" fmla="*/ 38022 h 44539"/>
                <a:gd name="connsiteX22" fmla="*/ 34611 w 44529"/>
                <a:gd name="connsiteY22" fmla="*/ 40775 h 44539"/>
                <a:gd name="connsiteX23" fmla="*/ 30766 w 44529"/>
                <a:gd name="connsiteY23" fmla="*/ 42839 h 44539"/>
                <a:gd name="connsiteX24" fmla="*/ 26596 w 44529"/>
                <a:gd name="connsiteY24" fmla="*/ 44094 h 44539"/>
                <a:gd name="connsiteX25" fmla="*/ 22265 w 44529"/>
                <a:gd name="connsiteY25" fmla="*/ 44539 h 44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4529" h="44539">
                  <a:moveTo>
                    <a:pt x="22265" y="44539"/>
                  </a:moveTo>
                  <a:cubicBezTo>
                    <a:pt x="20807" y="44539"/>
                    <a:pt x="19350" y="44378"/>
                    <a:pt x="17893" y="44094"/>
                  </a:cubicBezTo>
                  <a:cubicBezTo>
                    <a:pt x="16476" y="43811"/>
                    <a:pt x="15099" y="43366"/>
                    <a:pt x="13723" y="42839"/>
                  </a:cubicBezTo>
                  <a:cubicBezTo>
                    <a:pt x="12387" y="42273"/>
                    <a:pt x="11092" y="41584"/>
                    <a:pt x="9918" y="40775"/>
                  </a:cubicBezTo>
                  <a:cubicBezTo>
                    <a:pt x="8663" y="39965"/>
                    <a:pt x="7529" y="39034"/>
                    <a:pt x="6517" y="38022"/>
                  </a:cubicBezTo>
                  <a:cubicBezTo>
                    <a:pt x="5505" y="36970"/>
                    <a:pt x="4574" y="35836"/>
                    <a:pt x="3724" y="34622"/>
                  </a:cubicBezTo>
                  <a:cubicBezTo>
                    <a:pt x="2955" y="33407"/>
                    <a:pt x="2267" y="32112"/>
                    <a:pt x="1700" y="30776"/>
                  </a:cubicBezTo>
                  <a:cubicBezTo>
                    <a:pt x="1133" y="29440"/>
                    <a:pt x="729" y="28023"/>
                    <a:pt x="445" y="26606"/>
                  </a:cubicBezTo>
                  <a:cubicBezTo>
                    <a:pt x="162" y="25189"/>
                    <a:pt x="0" y="23732"/>
                    <a:pt x="0" y="22275"/>
                  </a:cubicBezTo>
                  <a:cubicBezTo>
                    <a:pt x="0" y="16405"/>
                    <a:pt x="2388" y="10657"/>
                    <a:pt x="6517" y="6528"/>
                  </a:cubicBezTo>
                  <a:cubicBezTo>
                    <a:pt x="7529" y="5516"/>
                    <a:pt x="8663" y="4585"/>
                    <a:pt x="9918" y="3775"/>
                  </a:cubicBezTo>
                  <a:cubicBezTo>
                    <a:pt x="11092" y="2965"/>
                    <a:pt x="12387" y="2277"/>
                    <a:pt x="13723" y="1710"/>
                  </a:cubicBezTo>
                  <a:cubicBezTo>
                    <a:pt x="15099" y="1144"/>
                    <a:pt x="16476" y="739"/>
                    <a:pt x="17893" y="455"/>
                  </a:cubicBezTo>
                  <a:cubicBezTo>
                    <a:pt x="20767" y="-152"/>
                    <a:pt x="23722" y="-152"/>
                    <a:pt x="26596" y="455"/>
                  </a:cubicBezTo>
                  <a:cubicBezTo>
                    <a:pt x="28013" y="739"/>
                    <a:pt x="29430" y="1144"/>
                    <a:pt x="30766" y="1710"/>
                  </a:cubicBezTo>
                  <a:cubicBezTo>
                    <a:pt x="32102" y="2277"/>
                    <a:pt x="33397" y="2965"/>
                    <a:pt x="34611" y="3775"/>
                  </a:cubicBezTo>
                  <a:cubicBezTo>
                    <a:pt x="35826" y="4585"/>
                    <a:pt x="36959" y="5516"/>
                    <a:pt x="38012" y="6528"/>
                  </a:cubicBezTo>
                  <a:cubicBezTo>
                    <a:pt x="42141" y="10657"/>
                    <a:pt x="44529" y="16405"/>
                    <a:pt x="44529" y="22275"/>
                  </a:cubicBezTo>
                  <a:cubicBezTo>
                    <a:pt x="44529" y="23732"/>
                    <a:pt x="44367" y="25189"/>
                    <a:pt x="44084" y="26606"/>
                  </a:cubicBezTo>
                  <a:cubicBezTo>
                    <a:pt x="43801" y="28023"/>
                    <a:pt x="43396" y="29440"/>
                    <a:pt x="42829" y="30776"/>
                  </a:cubicBezTo>
                  <a:cubicBezTo>
                    <a:pt x="42262" y="32112"/>
                    <a:pt x="41574" y="33407"/>
                    <a:pt x="40765" y="34622"/>
                  </a:cubicBezTo>
                  <a:cubicBezTo>
                    <a:pt x="39955" y="35836"/>
                    <a:pt x="39024" y="36970"/>
                    <a:pt x="38012" y="38022"/>
                  </a:cubicBezTo>
                  <a:cubicBezTo>
                    <a:pt x="36959" y="39034"/>
                    <a:pt x="35826" y="39965"/>
                    <a:pt x="34611" y="40775"/>
                  </a:cubicBezTo>
                  <a:cubicBezTo>
                    <a:pt x="33397" y="41584"/>
                    <a:pt x="32102" y="42273"/>
                    <a:pt x="30766" y="42839"/>
                  </a:cubicBezTo>
                  <a:cubicBezTo>
                    <a:pt x="29430" y="43366"/>
                    <a:pt x="28013" y="43811"/>
                    <a:pt x="26596" y="44094"/>
                  </a:cubicBezTo>
                  <a:cubicBezTo>
                    <a:pt x="25179" y="44378"/>
                    <a:pt x="23722" y="44539"/>
                    <a:pt x="22265" y="44539"/>
                  </a:cubicBezTo>
                  <a:close/>
                </a:path>
              </a:pathLst>
            </a:custGeom>
            <a:solidFill>
              <a:schemeClr val="tx1">
                <a:lumMod val="65000"/>
                <a:lumOff val="35000"/>
              </a:schemeClr>
            </a:solidFill>
            <a:ln w="4048" cap="flat">
              <a:noFill/>
              <a:prstDash val="solid"/>
              <a:miter/>
            </a:ln>
          </p:spPr>
          <p:txBody>
            <a:bodyPr rtlCol="0" anchor="ctr"/>
            <a:lstStyle/>
            <a:p>
              <a:endParaRPr lang="en-GB" sz="1800"/>
            </a:p>
          </p:txBody>
        </p:sp>
      </p:grpSp>
    </p:spTree>
    <p:extLst>
      <p:ext uri="{BB962C8B-B14F-4D97-AF65-F5344CB8AC3E}">
        <p14:creationId xmlns:p14="http://schemas.microsoft.com/office/powerpoint/2010/main" val="2330099859"/>
      </p:ext>
    </p:extLst>
  </p:cSld>
  <p:clrMapOvr>
    <a:masterClrMapping/>
  </p:clrMapOvr>
  <p:extLst>
    <p:ext uri="{DCECCB84-F9BA-43D5-87BE-67443E8EF086}">
      <p15:sldGuideLst xmlns:p15="http://schemas.microsoft.com/office/powerpoint/2012/main"/>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7 Mockup Tablet">
    <p:bg>
      <p:bgPr>
        <a:solidFill>
          <a:srgbClr val="EBF2F3"/>
        </a:solidFill>
        <a:effectLst/>
      </p:bgPr>
    </p:bg>
    <p:spTree>
      <p:nvGrpSpPr>
        <p:cNvPr id="1" name=""/>
        <p:cNvGrpSpPr/>
        <p:nvPr/>
      </p:nvGrpSpPr>
      <p:grpSpPr>
        <a:xfrm>
          <a:off x="0" y="0"/>
          <a:ext cx="0" cy="0"/>
          <a:chOff x="0" y="0"/>
          <a:chExt cx="0" cy="0"/>
        </a:xfrm>
      </p:grpSpPr>
      <p:pic>
        <p:nvPicPr>
          <p:cNvPr id="10" name="Tablet">
            <a:extLst>
              <a:ext uri="{FF2B5EF4-FFF2-40B4-BE49-F238E27FC236}">
                <a16:creationId xmlns:a16="http://schemas.microsoft.com/office/drawing/2014/main" id="{AF73F0F7-6D96-1749-82B9-04BEF52611B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01531" y="278391"/>
            <a:ext cx="3395857" cy="4433234"/>
          </a:xfrm>
          <a:prstGeom prst="rect">
            <a:avLst/>
          </a:prstGeom>
        </p:spPr>
      </p:pic>
      <p:sp>
        <p:nvSpPr>
          <p:cNvPr id="11" name="Image">
            <a:extLst>
              <a:ext uri="{FF2B5EF4-FFF2-40B4-BE49-F238E27FC236}">
                <a16:creationId xmlns:a16="http://schemas.microsoft.com/office/drawing/2014/main" id="{6F11483D-338A-6C45-BE0B-6154483356E5}"/>
              </a:ext>
            </a:extLst>
          </p:cNvPr>
          <p:cNvSpPr>
            <a:spLocks noGrp="1" noChangeAspect="1"/>
          </p:cNvSpPr>
          <p:nvPr>
            <p:ph type="pic" sz="quarter" idx="12" hasCustomPrompt="1"/>
          </p:nvPr>
        </p:nvSpPr>
        <p:spPr>
          <a:xfrm>
            <a:off x="5284519" y="479696"/>
            <a:ext cx="3043682" cy="4048762"/>
          </a:xfrm>
          <a:prstGeom prst="roundRect">
            <a:avLst>
              <a:gd name="adj" fmla="val 3275"/>
            </a:avLst>
          </a:prstGeom>
          <a:blipFill>
            <a:blip r:embed="rId3"/>
            <a:tile tx="0" ty="0" sx="100000" sy="100000" flip="none" algn="tl"/>
          </a:blipFill>
        </p:spPr>
        <p:txBody>
          <a:bodyPr tIns="72000"/>
          <a:lstStyle>
            <a:lvl1pPr marL="4763" indent="-4763" algn="ctr">
              <a:buFont typeface="Arial" panose="020B0604020202020204" pitchFamily="34" charset="0"/>
              <a:buNone/>
              <a:tabLst/>
              <a:defRPr sz="800"/>
            </a:lvl1pPr>
          </a:lstStyle>
          <a:p>
            <a:r>
              <a:rPr lang="en-GB" noProof="0"/>
              <a:t>Click on the icon to add screenshot or image</a:t>
            </a:r>
          </a:p>
        </p:txBody>
      </p:sp>
      <p:sp>
        <p:nvSpPr>
          <p:cNvPr id="9" name="Title">
            <a:extLst>
              <a:ext uri="{FF2B5EF4-FFF2-40B4-BE49-F238E27FC236}">
                <a16:creationId xmlns:a16="http://schemas.microsoft.com/office/drawing/2014/main" id="{71D01A38-7EA0-9741-A480-491359BD4009}"/>
              </a:ext>
            </a:extLst>
          </p:cNvPr>
          <p:cNvSpPr>
            <a:spLocks noGrp="1"/>
          </p:cNvSpPr>
          <p:nvPr>
            <p:ph type="title" hasCustomPrompt="1"/>
          </p:nvPr>
        </p:nvSpPr>
        <p:spPr>
          <a:xfrm>
            <a:off x="323851" y="525600"/>
            <a:ext cx="4176713" cy="1498314"/>
          </a:xfrm>
        </p:spPr>
        <p:txBody>
          <a:bodyPr rIns="144000"/>
          <a:lstStyle>
            <a:lvl1pPr>
              <a:defRPr sz="3000" spc="-70" baseline="0"/>
            </a:lvl1pPr>
          </a:lstStyle>
          <a:p>
            <a:r>
              <a:rPr lang="en-GB" noProof="0"/>
              <a:t>Click to add a headline of maximum three lines</a:t>
            </a:r>
          </a:p>
        </p:txBody>
      </p:sp>
      <p:sp>
        <p:nvSpPr>
          <p:cNvPr id="13" name="Navigation">
            <a:extLst>
              <a:ext uri="{FF2B5EF4-FFF2-40B4-BE49-F238E27FC236}">
                <a16:creationId xmlns:a16="http://schemas.microsoft.com/office/drawing/2014/main" id="{2493BE16-B666-1E43-A384-DA7DE8218D85}"/>
              </a:ext>
            </a:extLst>
          </p:cNvPr>
          <p:cNvSpPr>
            <a:spLocks noGrp="1"/>
          </p:cNvSpPr>
          <p:nvPr>
            <p:ph type="body" sz="quarter" idx="14" hasCustomPrompt="1"/>
          </p:nvPr>
        </p:nvSpPr>
        <p:spPr>
          <a:xfrm>
            <a:off x="323850" y="276227"/>
            <a:ext cx="4176077" cy="276999"/>
          </a:xfrm>
        </p:spPr>
        <p:txBody>
          <a:bodyPr lIns="111600" rIns="144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a:t>
            </a:r>
            <a:r>
              <a:rPr lang="en-GB" noProof="0" err="1"/>
              <a:t>subheader</a:t>
            </a:r>
            <a:endParaRPr lang="en-GB" noProof="0"/>
          </a:p>
        </p:txBody>
      </p:sp>
      <p:sp>
        <p:nvSpPr>
          <p:cNvPr id="12" name="Text">
            <a:extLst>
              <a:ext uri="{FF2B5EF4-FFF2-40B4-BE49-F238E27FC236}">
                <a16:creationId xmlns:a16="http://schemas.microsoft.com/office/drawing/2014/main" id="{43795203-DBC8-FC4C-AF8A-DF750A2789A5}"/>
              </a:ext>
            </a:extLst>
          </p:cNvPr>
          <p:cNvSpPr>
            <a:spLocks noGrp="1"/>
          </p:cNvSpPr>
          <p:nvPr>
            <p:ph type="body" sz="quarter" idx="13" hasCustomPrompt="1"/>
          </p:nvPr>
        </p:nvSpPr>
        <p:spPr>
          <a:xfrm>
            <a:off x="323852" y="2103439"/>
            <a:ext cx="4176712" cy="2592387"/>
          </a:xfrm>
        </p:spPr>
        <p:txBody>
          <a:bodyPr rIns="144000"/>
          <a:lstStyle>
            <a:lvl1pPr>
              <a:defRPr sz="1400"/>
            </a:lvl1pPr>
            <a:lvl2pPr>
              <a:defRPr sz="1200"/>
            </a:lvl2pPr>
            <a:lvl3pPr>
              <a:defRPr sz="1200"/>
            </a:lvl3pPr>
            <a:lvl4pPr>
              <a:defRPr sz="1200"/>
            </a:lvl4pPr>
            <a:lvl5pPr>
              <a:defRPr sz="12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2" name="Date">
            <a:extLst>
              <a:ext uri="{FF2B5EF4-FFF2-40B4-BE49-F238E27FC236}">
                <a16:creationId xmlns:a16="http://schemas.microsoft.com/office/drawing/2014/main" id="{DF0D76B5-70ED-1348-8C16-2BDFEAE1A309}"/>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4E903CD5-8D78-4C55-894C-56F052FA5AD2}" type="datetime1">
              <a:rPr lang="sv-SE" noProof="0" smtClean="0"/>
              <a:t>2025-09-04</a:t>
            </a:fld>
            <a:endParaRPr lang="en-GB" noProof="0"/>
          </a:p>
        </p:txBody>
      </p:sp>
      <p:sp>
        <p:nvSpPr>
          <p:cNvPr id="33" name="Number">
            <a:extLst>
              <a:ext uri="{FF2B5EF4-FFF2-40B4-BE49-F238E27FC236}">
                <a16:creationId xmlns:a16="http://schemas.microsoft.com/office/drawing/2014/main" id="{988F092B-A42E-1446-B7CB-74A043F2D8EA}"/>
              </a:ext>
            </a:extLst>
          </p:cNvPr>
          <p:cNvSpPr>
            <a:spLocks noGrp="1"/>
          </p:cNvSpPr>
          <p:nvPr>
            <p:ph type="sldNum" sz="quarter" idx="4"/>
          </p:nvPr>
        </p:nvSpPr>
        <p:spPr>
          <a:xfrm>
            <a:off x="8640418" y="5003475"/>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5" name="Footer">
            <a:extLst>
              <a:ext uri="{FF2B5EF4-FFF2-40B4-BE49-F238E27FC236}">
                <a16:creationId xmlns:a16="http://schemas.microsoft.com/office/drawing/2014/main" id="{E7CD3979-AE70-E348-8121-A449C6EA75CA}"/>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3066047266"/>
      </p:ext>
    </p:extLst>
  </p:cSld>
  <p:clrMapOvr>
    <a:masterClrMapping/>
  </p:clrMapOvr>
  <p:extLst>
    <p:ext uri="{DCECCB84-F9BA-43D5-87BE-67443E8EF086}">
      <p15:sldGuideLst xmlns:p15="http://schemas.microsoft.com/office/powerpoint/2012/main"/>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7 Mockup Computer">
    <p:bg>
      <p:bgPr>
        <a:solidFill>
          <a:srgbClr val="EBF2F3"/>
        </a:solidFill>
        <a:effectLst/>
      </p:bgPr>
    </p:bg>
    <p:spTree>
      <p:nvGrpSpPr>
        <p:cNvPr id="1" name=""/>
        <p:cNvGrpSpPr/>
        <p:nvPr/>
      </p:nvGrpSpPr>
      <p:grpSpPr>
        <a:xfrm>
          <a:off x="0" y="0"/>
          <a:ext cx="0" cy="0"/>
          <a:chOff x="0" y="0"/>
          <a:chExt cx="0" cy="0"/>
        </a:xfrm>
      </p:grpSpPr>
      <p:pic>
        <p:nvPicPr>
          <p:cNvPr id="9" name="Screen">
            <a:extLst>
              <a:ext uri="{FF2B5EF4-FFF2-40B4-BE49-F238E27FC236}">
                <a16:creationId xmlns:a16="http://schemas.microsoft.com/office/drawing/2014/main" id="{137F2073-042D-6544-88ED-5E6D429D6B0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853801" y="379903"/>
            <a:ext cx="5398300" cy="4344385"/>
          </a:xfrm>
          <a:prstGeom prst="rect">
            <a:avLst/>
          </a:prstGeom>
        </p:spPr>
      </p:pic>
      <p:sp>
        <p:nvSpPr>
          <p:cNvPr id="12" name="Image">
            <a:extLst>
              <a:ext uri="{FF2B5EF4-FFF2-40B4-BE49-F238E27FC236}">
                <a16:creationId xmlns:a16="http://schemas.microsoft.com/office/drawing/2014/main" id="{050DA14F-0160-BC46-A9E4-34119508B77D}"/>
              </a:ext>
            </a:extLst>
          </p:cNvPr>
          <p:cNvSpPr>
            <a:spLocks noGrp="1"/>
          </p:cNvSpPr>
          <p:nvPr>
            <p:ph type="pic" sz="quarter" idx="13" hasCustomPrompt="1"/>
          </p:nvPr>
        </p:nvSpPr>
        <p:spPr>
          <a:xfrm>
            <a:off x="2069378" y="600404"/>
            <a:ext cx="4975948" cy="2815483"/>
          </a:xfrm>
          <a:prstGeom prst="rect">
            <a:avLst/>
          </a:prstGeom>
          <a:blipFill>
            <a:blip r:embed="rId3"/>
            <a:tile tx="0" ty="0" sx="100000" sy="100000" flip="none" algn="tl"/>
          </a:blipFill>
        </p:spPr>
        <p:txBody>
          <a:bodyPr tIns="72000"/>
          <a:lstStyle>
            <a:lvl1pPr marL="4763" indent="-4763" algn="ctr">
              <a:buFont typeface="Arial" panose="020B0604020202020204" pitchFamily="34" charset="0"/>
              <a:buNone/>
              <a:tabLst/>
              <a:defRPr sz="800"/>
            </a:lvl1pPr>
          </a:lstStyle>
          <a:p>
            <a:r>
              <a:rPr lang="en-GB" noProof="0"/>
              <a:t>Click on the icon to add screenshot or image</a:t>
            </a:r>
          </a:p>
        </p:txBody>
      </p:sp>
      <p:sp>
        <p:nvSpPr>
          <p:cNvPr id="28" name="Date">
            <a:extLst>
              <a:ext uri="{FF2B5EF4-FFF2-40B4-BE49-F238E27FC236}">
                <a16:creationId xmlns:a16="http://schemas.microsoft.com/office/drawing/2014/main" id="{CE0F962E-4019-5544-9B35-C562B9C61B7A}"/>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F5881597-B299-4417-A522-E0907F211E6A}" type="datetime1">
              <a:rPr lang="sv-SE" noProof="0" smtClean="0"/>
              <a:t>2025-09-04</a:t>
            </a:fld>
            <a:endParaRPr lang="en-GB" noProof="0"/>
          </a:p>
        </p:txBody>
      </p:sp>
      <p:sp>
        <p:nvSpPr>
          <p:cNvPr id="29" name="Slide">
            <a:extLst>
              <a:ext uri="{FF2B5EF4-FFF2-40B4-BE49-F238E27FC236}">
                <a16:creationId xmlns:a16="http://schemas.microsoft.com/office/drawing/2014/main" id="{BAB857CC-B70E-E249-8AC6-5136D617525E}"/>
              </a:ext>
            </a:extLst>
          </p:cNvPr>
          <p:cNvSpPr>
            <a:spLocks noGrp="1"/>
          </p:cNvSpPr>
          <p:nvPr>
            <p:ph type="sldNum" sz="quarter" idx="4"/>
          </p:nvPr>
        </p:nvSpPr>
        <p:spPr>
          <a:xfrm>
            <a:off x="8640418" y="5003475"/>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8" name="Footer">
            <a:extLst>
              <a:ext uri="{FF2B5EF4-FFF2-40B4-BE49-F238E27FC236}">
                <a16:creationId xmlns:a16="http://schemas.microsoft.com/office/drawing/2014/main" id="{654484ED-3028-044E-B530-A3D199365A29}"/>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242952707"/>
      </p:ext>
    </p:extLst>
  </p:cSld>
  <p:clrMapOvr>
    <a:masterClrMapping/>
  </p:clrMapOvr>
  <p:extLst>
    <p:ext uri="{DCECCB84-F9BA-43D5-87BE-67443E8EF086}">
      <p15:sldGuideLst xmlns:p15="http://schemas.microsoft.com/office/powerpoint/2012/main"/>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7 Mockup Smartphone Video">
    <p:bg>
      <p:bgPr>
        <a:solidFill>
          <a:srgbClr val="EBF2F3"/>
        </a:solidFill>
        <a:effectLst/>
      </p:bgPr>
    </p:bg>
    <p:spTree>
      <p:nvGrpSpPr>
        <p:cNvPr id="1" name=""/>
        <p:cNvGrpSpPr/>
        <p:nvPr/>
      </p:nvGrpSpPr>
      <p:grpSpPr>
        <a:xfrm>
          <a:off x="0" y="0"/>
          <a:ext cx="0" cy="0"/>
          <a:chOff x="0" y="0"/>
          <a:chExt cx="0" cy="0"/>
        </a:xfrm>
      </p:grpSpPr>
      <p:sp>
        <p:nvSpPr>
          <p:cNvPr id="5" name="Video">
            <a:extLst>
              <a:ext uri="{FF2B5EF4-FFF2-40B4-BE49-F238E27FC236}">
                <a16:creationId xmlns:a16="http://schemas.microsoft.com/office/drawing/2014/main" id="{67CBEA9B-3BE9-E947-8B03-3DF0656F83BF}"/>
              </a:ext>
            </a:extLst>
          </p:cNvPr>
          <p:cNvSpPr>
            <a:spLocks noGrp="1"/>
          </p:cNvSpPr>
          <p:nvPr>
            <p:ph type="media" sz="quarter" idx="16" hasCustomPrompt="1"/>
          </p:nvPr>
        </p:nvSpPr>
        <p:spPr>
          <a:xfrm>
            <a:off x="5806742" y="448681"/>
            <a:ext cx="1872000" cy="4111200"/>
          </a:xfrm>
          <a:prstGeom prst="roundRect">
            <a:avLst>
              <a:gd name="adj" fmla="val 7961"/>
            </a:avLst>
          </a:prstGeom>
          <a:blipFill dpi="0" rotWithShape="1">
            <a:blip r:embed="rId2"/>
            <a:srcRect/>
            <a:tile tx="0" ty="0" sx="100000" sy="100000" flip="none" algn="tl"/>
          </a:blipFill>
        </p:spPr>
        <p:txBody>
          <a:bodyPr vert="horz" lIns="90000" tIns="45720" rIns="90000" bIns="45720" rtlCol="0">
            <a:noAutofit/>
          </a:bodyPr>
          <a:lstStyle>
            <a:lvl1pPr marL="0" indent="0" algn="ctr">
              <a:buNone/>
              <a:defRPr lang="en-GB" sz="800" dirty="0">
                <a:solidFill>
                  <a:schemeClr val="bg1">
                    <a:lumMod val="75000"/>
                  </a:schemeClr>
                </a:solidFill>
              </a:defRPr>
            </a:lvl1pPr>
          </a:lstStyle>
          <a:p>
            <a:pPr marL="171446" lvl="0" indent="-171446" algn="ctr"/>
            <a:r>
              <a:rPr lang="en-GB"/>
              <a:t>Click on the icon to add video</a:t>
            </a:r>
          </a:p>
        </p:txBody>
      </p:sp>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323851" y="525600"/>
            <a:ext cx="4176713" cy="1498314"/>
          </a:xfrm>
        </p:spPr>
        <p:txBody>
          <a:bodyPr rIns="144000"/>
          <a:lstStyle>
            <a:lvl1pPr>
              <a:defRPr sz="3000" spc="-70"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50" y="276227"/>
            <a:ext cx="4176077" cy="276999"/>
          </a:xfrm>
        </p:spPr>
        <p:txBody>
          <a:bodyPr lIns="111600" rIns="144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a:t>
            </a:r>
            <a:r>
              <a:rPr lang="en-GB" noProof="0" err="1"/>
              <a:t>subheader</a:t>
            </a:r>
            <a:endParaRPr lang="en-GB" noProof="0"/>
          </a:p>
        </p:txBody>
      </p:sp>
      <p:sp>
        <p:nvSpPr>
          <p:cNvPr id="12" name="Text">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323852" y="2103439"/>
            <a:ext cx="4176712" cy="2592387"/>
          </a:xfrm>
        </p:spPr>
        <p:txBody>
          <a:bodyPr rIns="144000"/>
          <a:lstStyle>
            <a:lvl1pPr>
              <a:defRPr sz="1400"/>
            </a:lvl1pPr>
            <a:lvl2pPr>
              <a:defRPr sz="1200"/>
            </a:lvl2pPr>
            <a:lvl3pPr>
              <a:defRPr sz="1200"/>
            </a:lvl3pPr>
            <a:lvl4pPr>
              <a:defRPr sz="1200"/>
            </a:lvl4pPr>
            <a:lvl5pPr>
              <a:defRPr sz="12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5" name="Date">
            <a:extLst>
              <a:ext uri="{FF2B5EF4-FFF2-40B4-BE49-F238E27FC236}">
                <a16:creationId xmlns:a16="http://schemas.microsoft.com/office/drawing/2014/main" id="{FED9A850-451C-994B-9CEF-A2B324B2852F}"/>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89A88029-9BD9-4D21-AC7B-8C4677251EF9}" type="datetime1">
              <a:rPr lang="sv-SE" noProof="0" smtClean="0"/>
              <a:t>2025-09-04</a:t>
            </a:fld>
            <a:endParaRPr lang="en-GB" noProof="0"/>
          </a:p>
        </p:txBody>
      </p:sp>
      <p:sp>
        <p:nvSpPr>
          <p:cNvPr id="36" name="Number">
            <a:extLst>
              <a:ext uri="{FF2B5EF4-FFF2-40B4-BE49-F238E27FC236}">
                <a16:creationId xmlns:a16="http://schemas.microsoft.com/office/drawing/2014/main" id="{3D6301AA-5E2B-7F46-BF55-64A8320A6BF9}"/>
              </a:ext>
            </a:extLst>
          </p:cNvPr>
          <p:cNvSpPr>
            <a:spLocks noGrp="1"/>
          </p:cNvSpPr>
          <p:nvPr>
            <p:ph type="sldNum" sz="quarter" idx="4"/>
          </p:nvPr>
        </p:nvSpPr>
        <p:spPr>
          <a:xfrm>
            <a:off x="8640418" y="5003475"/>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3" name="Footer">
            <a:extLst>
              <a:ext uri="{FF2B5EF4-FFF2-40B4-BE49-F238E27FC236}">
                <a16:creationId xmlns:a16="http://schemas.microsoft.com/office/drawing/2014/main" id="{DC643E75-61AD-CE44-8B9B-514A1A088DD3}"/>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
        <p:nvSpPr>
          <p:cNvPr id="2" name="Freeform 1">
            <a:extLst>
              <a:ext uri="{FF2B5EF4-FFF2-40B4-BE49-F238E27FC236}">
                <a16:creationId xmlns:a16="http://schemas.microsoft.com/office/drawing/2014/main" id="{9EFA168E-8779-B2B1-E0E9-6FE719DEEE5C}"/>
              </a:ext>
            </a:extLst>
          </p:cNvPr>
          <p:cNvSpPr/>
          <p:nvPr userDrawn="1"/>
        </p:nvSpPr>
        <p:spPr>
          <a:xfrm>
            <a:off x="5732736" y="364452"/>
            <a:ext cx="2030518" cy="4275202"/>
          </a:xfrm>
          <a:custGeom>
            <a:avLst/>
            <a:gdLst>
              <a:gd name="connsiteX0" fmla="*/ 1308395 w 1308394"/>
              <a:gd name="connsiteY0" fmla="*/ 1065750 h 2754789"/>
              <a:gd name="connsiteX1" fmla="*/ 1308395 w 1308394"/>
              <a:gd name="connsiteY1" fmla="*/ 702997 h 2754789"/>
              <a:gd name="connsiteX2" fmla="*/ 1301796 w 1308394"/>
              <a:gd name="connsiteY2" fmla="*/ 702997 h 2754789"/>
              <a:gd name="connsiteX3" fmla="*/ 1301796 w 1308394"/>
              <a:gd name="connsiteY3" fmla="*/ 157594 h 2754789"/>
              <a:gd name="connsiteX4" fmla="*/ 1144203 w 1308394"/>
              <a:gd name="connsiteY4" fmla="*/ 0 h 2754789"/>
              <a:gd name="connsiteX5" fmla="*/ 157593 w 1308394"/>
              <a:gd name="connsiteY5" fmla="*/ 0 h 2754789"/>
              <a:gd name="connsiteX6" fmla="*/ 0 w 1308394"/>
              <a:gd name="connsiteY6" fmla="*/ 157594 h 2754789"/>
              <a:gd name="connsiteX7" fmla="*/ 0 w 1308394"/>
              <a:gd name="connsiteY7" fmla="*/ 2597196 h 2754789"/>
              <a:gd name="connsiteX8" fmla="*/ 157593 w 1308394"/>
              <a:gd name="connsiteY8" fmla="*/ 2754790 h 2754789"/>
              <a:gd name="connsiteX9" fmla="*/ 1144203 w 1308394"/>
              <a:gd name="connsiteY9" fmla="*/ 2754790 h 2754789"/>
              <a:gd name="connsiteX10" fmla="*/ 1301796 w 1308394"/>
              <a:gd name="connsiteY10" fmla="*/ 2597196 h 2754789"/>
              <a:gd name="connsiteX11" fmla="*/ 1301796 w 1308394"/>
              <a:gd name="connsiteY11" fmla="*/ 1368631 h 2754789"/>
              <a:gd name="connsiteX12" fmla="*/ 1308395 w 1308394"/>
              <a:gd name="connsiteY12" fmla="*/ 1368631 h 2754789"/>
              <a:gd name="connsiteX13" fmla="*/ 1308395 w 1308394"/>
              <a:gd name="connsiteY13" fmla="*/ 1196019 h 2754789"/>
              <a:gd name="connsiteX14" fmla="*/ 1301796 w 1308394"/>
              <a:gd name="connsiteY14" fmla="*/ 1196019 h 2754789"/>
              <a:gd name="connsiteX15" fmla="*/ 1301796 w 1308394"/>
              <a:gd name="connsiteY15" fmla="*/ 1065709 h 2754789"/>
              <a:gd name="connsiteX16" fmla="*/ 1308395 w 1308394"/>
              <a:gd name="connsiteY16" fmla="*/ 1065709 h 2754789"/>
              <a:gd name="connsiteX17" fmla="*/ 1246580 w 1308394"/>
              <a:gd name="connsiteY17" fmla="*/ 2589424 h 2754789"/>
              <a:gd name="connsiteX18" fmla="*/ 1138495 w 1308394"/>
              <a:gd name="connsiteY18" fmla="*/ 2697509 h 2754789"/>
              <a:gd name="connsiteX19" fmla="*/ 163301 w 1308394"/>
              <a:gd name="connsiteY19" fmla="*/ 2697509 h 2754789"/>
              <a:gd name="connsiteX20" fmla="*/ 55216 w 1308394"/>
              <a:gd name="connsiteY20" fmla="*/ 2589424 h 2754789"/>
              <a:gd name="connsiteX21" fmla="*/ 55216 w 1308394"/>
              <a:gd name="connsiteY21" fmla="*/ 165447 h 2754789"/>
              <a:gd name="connsiteX22" fmla="*/ 163301 w 1308394"/>
              <a:gd name="connsiteY22" fmla="*/ 57362 h 2754789"/>
              <a:gd name="connsiteX23" fmla="*/ 1138495 w 1308394"/>
              <a:gd name="connsiteY23" fmla="*/ 57362 h 2754789"/>
              <a:gd name="connsiteX24" fmla="*/ 1246580 w 1308394"/>
              <a:gd name="connsiteY24" fmla="*/ 165447 h 2754789"/>
              <a:gd name="connsiteX25" fmla="*/ 1246580 w 1308394"/>
              <a:gd name="connsiteY25" fmla="*/ 2589383 h 275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08394" h="2754789">
                <a:moveTo>
                  <a:pt x="1308395" y="1065750"/>
                </a:moveTo>
                <a:lnTo>
                  <a:pt x="1308395" y="702997"/>
                </a:lnTo>
                <a:lnTo>
                  <a:pt x="1301796" y="702997"/>
                </a:lnTo>
                <a:lnTo>
                  <a:pt x="1301796" y="157594"/>
                </a:lnTo>
                <a:cubicBezTo>
                  <a:pt x="1301796" y="70680"/>
                  <a:pt x="1231075" y="0"/>
                  <a:pt x="1144203" y="0"/>
                </a:cubicBezTo>
                <a:lnTo>
                  <a:pt x="157593" y="0"/>
                </a:lnTo>
                <a:cubicBezTo>
                  <a:pt x="70680" y="0"/>
                  <a:pt x="0" y="70721"/>
                  <a:pt x="0" y="157594"/>
                </a:cubicBezTo>
                <a:lnTo>
                  <a:pt x="0" y="2597196"/>
                </a:lnTo>
                <a:cubicBezTo>
                  <a:pt x="0" y="2684109"/>
                  <a:pt x="70721" y="2754790"/>
                  <a:pt x="157593" y="2754790"/>
                </a:cubicBezTo>
                <a:lnTo>
                  <a:pt x="1144203" y="2754790"/>
                </a:lnTo>
                <a:cubicBezTo>
                  <a:pt x="1231116" y="2754790"/>
                  <a:pt x="1301796" y="2684069"/>
                  <a:pt x="1301796" y="2597196"/>
                </a:cubicBezTo>
                <a:lnTo>
                  <a:pt x="1301796" y="1368631"/>
                </a:lnTo>
                <a:lnTo>
                  <a:pt x="1308395" y="1368631"/>
                </a:lnTo>
                <a:lnTo>
                  <a:pt x="1308395" y="1196019"/>
                </a:lnTo>
                <a:lnTo>
                  <a:pt x="1301796" y="1196019"/>
                </a:lnTo>
                <a:lnTo>
                  <a:pt x="1301796" y="1065709"/>
                </a:lnTo>
                <a:lnTo>
                  <a:pt x="1308395" y="1065709"/>
                </a:lnTo>
                <a:close/>
                <a:moveTo>
                  <a:pt x="1246580" y="2589424"/>
                </a:moveTo>
                <a:cubicBezTo>
                  <a:pt x="1246580" y="2649012"/>
                  <a:pt x="1198083" y="2697509"/>
                  <a:pt x="1138495" y="2697509"/>
                </a:cubicBezTo>
                <a:lnTo>
                  <a:pt x="163301" y="2697509"/>
                </a:lnTo>
                <a:cubicBezTo>
                  <a:pt x="103672" y="2697509"/>
                  <a:pt x="55216" y="2649012"/>
                  <a:pt x="55216" y="2589424"/>
                </a:cubicBezTo>
                <a:lnTo>
                  <a:pt x="55216" y="165447"/>
                </a:lnTo>
                <a:cubicBezTo>
                  <a:pt x="55216" y="105818"/>
                  <a:pt x="103713" y="57362"/>
                  <a:pt x="163301" y="57362"/>
                </a:cubicBezTo>
                <a:lnTo>
                  <a:pt x="1138495" y="57362"/>
                </a:lnTo>
                <a:cubicBezTo>
                  <a:pt x="1198083" y="57362"/>
                  <a:pt x="1246580" y="105859"/>
                  <a:pt x="1246580" y="165447"/>
                </a:cubicBezTo>
                <a:lnTo>
                  <a:pt x="1246580" y="2589383"/>
                </a:lnTo>
                <a:close/>
              </a:path>
            </a:pathLst>
          </a:custGeom>
          <a:gradFill>
            <a:gsLst>
              <a:gs pos="0">
                <a:schemeClr val="tx1"/>
              </a:gs>
              <a:gs pos="78000">
                <a:schemeClr val="tx1">
                  <a:lumMod val="85000"/>
                  <a:lumOff val="15000"/>
                </a:schemeClr>
              </a:gs>
              <a:gs pos="87000">
                <a:schemeClr val="tx1">
                  <a:lumMod val="75000"/>
                  <a:lumOff val="25000"/>
                </a:schemeClr>
              </a:gs>
              <a:gs pos="100000">
                <a:schemeClr val="bg1">
                  <a:lumMod val="50000"/>
                </a:schemeClr>
              </a:gs>
            </a:gsLst>
            <a:lin ang="3600000" scaled="0"/>
          </a:gradFill>
          <a:ln w="4048" cap="flat">
            <a:noFill/>
            <a:prstDash val="solid"/>
            <a:miter/>
          </a:ln>
        </p:spPr>
        <p:txBody>
          <a:bodyPr rtlCol="0" anchor="ctr"/>
          <a:lstStyle/>
          <a:p>
            <a:endParaRPr lang="en-GB" sz="1800"/>
          </a:p>
        </p:txBody>
      </p:sp>
    </p:spTree>
    <p:extLst>
      <p:ext uri="{BB962C8B-B14F-4D97-AF65-F5344CB8AC3E}">
        <p14:creationId xmlns:p14="http://schemas.microsoft.com/office/powerpoint/2010/main" val="3499240708"/>
      </p:ext>
    </p:extLst>
  </p:cSld>
  <p:clrMapOvr>
    <a:masterClrMapping/>
  </p:clrMapOvr>
  <p:extLst>
    <p:ext uri="{DCECCB84-F9BA-43D5-87BE-67443E8EF086}">
      <p15:sldGuideLst xmlns:p15="http://schemas.microsoft.com/office/powerpoint/2012/main"/>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1 Tex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C7552DEB-2E23-44F1-97DE-9083CB126593}"/>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err="1"/>
          </a:p>
        </p:txBody>
      </p:sp>
      <p:sp>
        <p:nvSpPr>
          <p:cNvPr id="2" name="Title 1"/>
          <p:cNvSpPr>
            <a:spLocks noGrp="1"/>
          </p:cNvSpPr>
          <p:nvPr>
            <p:ph type="title"/>
          </p:nvPr>
        </p:nvSpPr>
        <p:spPr>
          <a:xfrm>
            <a:off x="190500" y="133351"/>
            <a:ext cx="8763000" cy="504827"/>
          </a:xfrm>
        </p:spPr>
        <p:txBody>
          <a:bodyPr/>
          <a:lstStyle/>
          <a:p>
            <a:r>
              <a:t>Click to edit Master title style</a:t>
            </a:r>
          </a:p>
        </p:txBody>
      </p:sp>
      <p:sp>
        <p:nvSpPr>
          <p:cNvPr id="3" name="Content Placeholder 2"/>
          <p:cNvSpPr>
            <a:spLocks noGrp="1"/>
          </p:cNvSpPr>
          <p:nvPr>
            <p:ph idx="1"/>
          </p:nvPr>
        </p:nvSpPr>
        <p:spPr>
          <a:xfrm>
            <a:off x="266700" y="1474971"/>
            <a:ext cx="8613648" cy="3039881"/>
          </a:xfrm>
        </p:spPr>
        <p:txBody>
          <a:bodyPr/>
          <a:lstStyle/>
          <a:p>
            <a:pPr lvl="0"/>
            <a:r>
              <a:t>Edit Master text styles</a:t>
            </a:r>
          </a:p>
          <a:p>
            <a:pPr lvl="1"/>
            <a:r>
              <a:t>Second level</a:t>
            </a:r>
          </a:p>
          <a:p>
            <a:pPr lvl="2"/>
            <a:r>
              <a:t>Third level</a:t>
            </a:r>
          </a:p>
          <a:p>
            <a:pPr lvl="3"/>
            <a:r>
              <a:t>Fourth level</a:t>
            </a:r>
          </a:p>
          <a:p>
            <a:pPr lvl="4"/>
            <a:r>
              <a:t>Fifth level</a:t>
            </a:r>
          </a:p>
        </p:txBody>
      </p:sp>
      <p:sp>
        <p:nvSpPr>
          <p:cNvPr id="8" name="Text Placeholder 7">
            <a:extLst>
              <a:ext uri="{FF2B5EF4-FFF2-40B4-BE49-F238E27FC236}">
                <a16:creationId xmlns:a16="http://schemas.microsoft.com/office/drawing/2014/main" id="{1E391FA0-1215-4ABC-A90D-617F67E04D38}"/>
              </a:ext>
            </a:extLst>
          </p:cNvPr>
          <p:cNvSpPr>
            <a:spLocks noGrp="1"/>
          </p:cNvSpPr>
          <p:nvPr>
            <p:ph type="body" sz="quarter" idx="13" hasCustomPrompt="1"/>
          </p:nvPr>
        </p:nvSpPr>
        <p:spPr>
          <a:xfrm>
            <a:off x="190500" y="656726"/>
            <a:ext cx="8763000" cy="276724"/>
          </a:xfrm>
        </p:spPr>
        <p:txBody>
          <a:bodyPr anchor="t"/>
          <a:lstStyle>
            <a:lvl1pPr marL="0" indent="0">
              <a:lnSpc>
                <a:spcPct val="85000"/>
              </a:lnSpc>
              <a:spcBef>
                <a:spcPts val="0"/>
              </a:spcBef>
              <a:buFont typeface="Arial" panose="020B0604020202020204" pitchFamily="34" charset="0"/>
              <a:buNone/>
              <a:defRPr sz="1400"/>
            </a:lvl1pPr>
            <a:lvl2pPr marL="0" indent="0">
              <a:lnSpc>
                <a:spcPct val="85000"/>
              </a:lnSpc>
              <a:spcBef>
                <a:spcPts val="0"/>
              </a:spcBef>
              <a:buFont typeface="Arial" panose="020B0604020202020204" pitchFamily="34" charset="0"/>
              <a:buNone/>
              <a:defRPr sz="1400"/>
            </a:lvl2pPr>
            <a:lvl3pPr marL="0" indent="0">
              <a:lnSpc>
                <a:spcPct val="85000"/>
              </a:lnSpc>
              <a:spcBef>
                <a:spcPts val="0"/>
              </a:spcBef>
              <a:buFont typeface="Arial" panose="020B0604020202020204" pitchFamily="34" charset="0"/>
              <a:buNone/>
              <a:defRPr sz="1400"/>
            </a:lvl3pPr>
            <a:lvl4pPr marL="0" indent="0">
              <a:lnSpc>
                <a:spcPct val="85000"/>
              </a:lnSpc>
              <a:spcBef>
                <a:spcPts val="0"/>
              </a:spcBef>
              <a:buFont typeface="Arial" panose="020B0604020202020204" pitchFamily="34" charset="0"/>
              <a:buNone/>
              <a:defRPr sz="1400"/>
            </a:lvl4pPr>
            <a:lvl5pPr marL="0" indent="0">
              <a:lnSpc>
                <a:spcPct val="85000"/>
              </a:lnSpc>
              <a:spcBef>
                <a:spcPts val="0"/>
              </a:spcBef>
              <a:buFont typeface="Arial" panose="020B0604020202020204" pitchFamily="34" charset="0"/>
              <a:buNone/>
              <a:defRPr sz="1400"/>
            </a:lvl5pPr>
            <a:lvl6pPr marL="0" indent="0">
              <a:lnSpc>
                <a:spcPct val="85000"/>
              </a:lnSpc>
              <a:spcBef>
                <a:spcPts val="0"/>
              </a:spcBef>
              <a:buNone/>
              <a:defRPr sz="1400"/>
            </a:lvl6pPr>
            <a:lvl7pPr marL="0" indent="0">
              <a:lnSpc>
                <a:spcPct val="85000"/>
              </a:lnSpc>
              <a:spcBef>
                <a:spcPts val="0"/>
              </a:spcBef>
              <a:buNone/>
              <a:defRPr sz="1400"/>
            </a:lvl7pPr>
            <a:lvl8pPr marL="0" indent="0">
              <a:lnSpc>
                <a:spcPct val="85000"/>
              </a:lnSpc>
              <a:spcBef>
                <a:spcPts val="0"/>
              </a:spcBef>
              <a:buNone/>
              <a:defRPr sz="1400"/>
            </a:lvl8pPr>
            <a:lvl9pPr marL="0" indent="0">
              <a:lnSpc>
                <a:spcPct val="85000"/>
              </a:lnSpc>
              <a:spcBef>
                <a:spcPts val="0"/>
              </a:spcBef>
              <a:buNone/>
              <a:defRPr sz="1400"/>
            </a:lvl9pPr>
          </a:lstStyle>
          <a:p>
            <a:pPr lvl="0"/>
            <a:r>
              <a:t>Optional subtitle</a:t>
            </a:r>
          </a:p>
        </p:txBody>
      </p:sp>
      <p:sp>
        <p:nvSpPr>
          <p:cNvPr id="10" name="Text Placeholder 9">
            <a:extLst>
              <a:ext uri="{FF2B5EF4-FFF2-40B4-BE49-F238E27FC236}">
                <a16:creationId xmlns:a16="http://schemas.microsoft.com/office/drawing/2014/main" id="{148456A3-A956-4ECF-BEAA-589D1AD52BCE}"/>
              </a:ext>
            </a:extLst>
          </p:cNvPr>
          <p:cNvSpPr>
            <a:spLocks noGrp="1"/>
          </p:cNvSpPr>
          <p:nvPr>
            <p:ph type="body" sz="quarter" idx="14" hasCustomPrompt="1"/>
          </p:nvPr>
        </p:nvSpPr>
        <p:spPr>
          <a:xfrm>
            <a:off x="266702" y="4818056"/>
            <a:ext cx="3594735" cy="182562"/>
          </a:xfrm>
        </p:spPr>
        <p:txBody>
          <a:bodyPr anchor="ctr"/>
          <a:lstStyle>
            <a:lvl1pPr marL="0" indent="0">
              <a:spcBef>
                <a:spcPts val="0"/>
              </a:spcBef>
              <a:buNone/>
              <a:defRPr sz="700"/>
            </a:lvl1pPr>
            <a:lvl2pPr marL="0" indent="0">
              <a:spcBef>
                <a:spcPts val="0"/>
              </a:spcBef>
              <a:buNone/>
              <a:defRPr sz="700"/>
            </a:lvl2pPr>
            <a:lvl3pPr marL="0" indent="0">
              <a:spcBef>
                <a:spcPts val="0"/>
              </a:spcBef>
              <a:buNone/>
              <a:defRPr sz="700"/>
            </a:lvl3pPr>
            <a:lvl4pPr marL="0" indent="0">
              <a:spcBef>
                <a:spcPts val="0"/>
              </a:spcBef>
              <a:buNone/>
              <a:defRPr sz="700"/>
            </a:lvl4pPr>
            <a:lvl5pPr marL="0" indent="0">
              <a:spcBef>
                <a:spcPts val="0"/>
              </a:spcBef>
              <a:buNone/>
              <a:defRPr sz="700"/>
            </a:lvl5pPr>
            <a:lvl6pPr marL="0" indent="0">
              <a:spcBef>
                <a:spcPts val="0"/>
              </a:spcBef>
              <a:buNone/>
              <a:defRPr sz="700"/>
            </a:lvl6pPr>
            <a:lvl7pPr marL="0" indent="0">
              <a:spcBef>
                <a:spcPts val="0"/>
              </a:spcBef>
              <a:buNone/>
              <a:defRPr sz="700"/>
            </a:lvl7pPr>
            <a:lvl8pPr marL="0" indent="0">
              <a:spcBef>
                <a:spcPts val="0"/>
              </a:spcBef>
              <a:buNone/>
              <a:defRPr sz="700"/>
            </a:lvl8pPr>
            <a:lvl9pPr marL="0" indent="0">
              <a:spcBef>
                <a:spcPts val="0"/>
              </a:spcBef>
              <a:buNone/>
              <a:defRPr sz="700"/>
            </a:lvl9pPr>
          </a:lstStyle>
          <a:p>
            <a:pPr lvl="0"/>
            <a:r>
              <a:t>Source / reference</a:t>
            </a:r>
          </a:p>
        </p:txBody>
      </p:sp>
      <p:sp>
        <p:nvSpPr>
          <p:cNvPr id="18" name="Text Placeholder 17">
            <a:extLst>
              <a:ext uri="{FF2B5EF4-FFF2-40B4-BE49-F238E27FC236}">
                <a16:creationId xmlns:a16="http://schemas.microsoft.com/office/drawing/2014/main" id="{8B502DD0-6941-42A4-A996-217F13A453E9}"/>
              </a:ext>
            </a:extLst>
          </p:cNvPr>
          <p:cNvSpPr>
            <a:spLocks noGrp="1"/>
          </p:cNvSpPr>
          <p:nvPr>
            <p:ph type="body" sz="quarter" idx="18" hasCustomPrompt="1"/>
          </p:nvPr>
        </p:nvSpPr>
        <p:spPr>
          <a:xfrm>
            <a:off x="266700" y="1154929"/>
            <a:ext cx="8613648" cy="320040"/>
          </a:xfrm>
        </p:spPr>
        <p:txBody>
          <a:bodyPr/>
          <a:lstStyle>
            <a:lvl1pPr marL="0" indent="0">
              <a:spcBef>
                <a:spcPts val="0"/>
              </a:spcBef>
              <a:buNone/>
              <a:defRPr b="1">
                <a:solidFill>
                  <a:schemeClr val="tx1"/>
                </a:solidFill>
              </a:defRPr>
            </a:lvl1pPr>
            <a:lvl2pPr marL="0" indent="0">
              <a:spcBef>
                <a:spcPts val="0"/>
              </a:spcBef>
              <a:buNone/>
              <a:defRPr b="1">
                <a:solidFill>
                  <a:schemeClr val="tx1"/>
                </a:solidFill>
              </a:defRPr>
            </a:lvl2pPr>
            <a:lvl3pPr marL="0" indent="0">
              <a:spcBef>
                <a:spcPts val="0"/>
              </a:spcBef>
              <a:buNone/>
              <a:defRPr b="1">
                <a:solidFill>
                  <a:schemeClr val="tx1"/>
                </a:solidFill>
              </a:defRPr>
            </a:lvl3pPr>
            <a:lvl4pPr marL="0" indent="0">
              <a:spcBef>
                <a:spcPts val="0"/>
              </a:spcBef>
              <a:buNone/>
              <a:defRPr b="1">
                <a:solidFill>
                  <a:schemeClr val="tx1"/>
                </a:solidFill>
              </a:defRPr>
            </a:lvl4pPr>
            <a:lvl5pPr marL="0" indent="0">
              <a:spcBef>
                <a:spcPts val="0"/>
              </a:spcBef>
              <a:buNone/>
              <a:defRPr b="1">
                <a:solidFill>
                  <a:schemeClr val="tx1"/>
                </a:solidFill>
              </a:defRPr>
            </a:lvl5pPr>
            <a:lvl6pPr marL="0" indent="0">
              <a:spcBef>
                <a:spcPts val="0"/>
              </a:spcBef>
              <a:buNone/>
              <a:defRPr b="1">
                <a:solidFill>
                  <a:schemeClr val="tx1"/>
                </a:solidFill>
              </a:defRPr>
            </a:lvl6pPr>
            <a:lvl7pPr marL="0" indent="0">
              <a:spcBef>
                <a:spcPts val="0"/>
              </a:spcBef>
              <a:buNone/>
              <a:defRPr b="1">
                <a:solidFill>
                  <a:schemeClr val="tx1"/>
                </a:solidFill>
              </a:defRPr>
            </a:lvl7pPr>
            <a:lvl8pPr marL="0" indent="0">
              <a:spcBef>
                <a:spcPts val="0"/>
              </a:spcBef>
              <a:buNone/>
              <a:defRPr b="1">
                <a:solidFill>
                  <a:schemeClr val="tx1"/>
                </a:solidFill>
              </a:defRPr>
            </a:lvl8pPr>
            <a:lvl9pPr marL="0" indent="0">
              <a:spcBef>
                <a:spcPts val="0"/>
              </a:spcBef>
              <a:buNone/>
              <a:defRPr b="1">
                <a:solidFill>
                  <a:schemeClr val="tx1"/>
                </a:solidFill>
              </a:defRPr>
            </a:lvl9pPr>
          </a:lstStyle>
          <a:p>
            <a:pPr lvl="0"/>
            <a:r>
              <a:t>Heading</a:t>
            </a:r>
          </a:p>
        </p:txBody>
      </p:sp>
      <p:sp>
        <p:nvSpPr>
          <p:cNvPr id="6" name="Date Placeholder 5">
            <a:extLst>
              <a:ext uri="{FF2B5EF4-FFF2-40B4-BE49-F238E27FC236}">
                <a16:creationId xmlns:a16="http://schemas.microsoft.com/office/drawing/2014/main" id="{AE84B8D4-C1CE-4FE4-8439-ED779E574419}"/>
              </a:ext>
            </a:extLst>
          </p:cNvPr>
          <p:cNvSpPr>
            <a:spLocks noGrp="1"/>
          </p:cNvSpPr>
          <p:nvPr>
            <p:ph type="dt" sz="half" idx="19"/>
          </p:nvPr>
        </p:nvSpPr>
        <p:spPr/>
        <p:txBody>
          <a:bodyPr/>
          <a:lstStyle/>
          <a:p>
            <a:fld id="{F20AD648-F258-4017-AAFF-9CE8D3F277E7}" type="datetime1">
              <a:rPr lang="sv-SE" smtClean="0"/>
              <a:t>2025-09-04</a:t>
            </a:fld>
            <a:endParaRPr/>
          </a:p>
        </p:txBody>
      </p:sp>
      <p:sp>
        <p:nvSpPr>
          <p:cNvPr id="9" name="Slide Number Placeholder 8">
            <a:extLst>
              <a:ext uri="{FF2B5EF4-FFF2-40B4-BE49-F238E27FC236}">
                <a16:creationId xmlns:a16="http://schemas.microsoft.com/office/drawing/2014/main" id="{40E4C94D-AD55-40E9-8667-DF35F81D1DAA}"/>
              </a:ext>
            </a:extLst>
          </p:cNvPr>
          <p:cNvSpPr>
            <a:spLocks noGrp="1"/>
          </p:cNvSpPr>
          <p:nvPr>
            <p:ph type="sldNum" sz="quarter" idx="21"/>
          </p:nvPr>
        </p:nvSpPr>
        <p:spPr/>
        <p:txBody>
          <a:bodyPr/>
          <a:lstStyle/>
          <a:p>
            <a:fld id="{29C88BE4-63BC-4A33-B317-7E3947361759}" type="slidenum">
              <a:rPr/>
              <a:pPr/>
              <a:t>‹nr.›</a:t>
            </a:fld>
            <a:endParaRPr/>
          </a:p>
        </p:txBody>
      </p:sp>
      <p:sp>
        <p:nvSpPr>
          <p:cNvPr id="11" name="Text Placeholder 10">
            <a:extLst>
              <a:ext uri="{FF2B5EF4-FFF2-40B4-BE49-F238E27FC236}">
                <a16:creationId xmlns:a16="http://schemas.microsoft.com/office/drawing/2014/main" id="{FA02A82D-1091-4DF3-B048-626CF0104C54}"/>
              </a:ext>
            </a:extLst>
          </p:cNvPr>
          <p:cNvSpPr>
            <a:spLocks noGrp="1"/>
          </p:cNvSpPr>
          <p:nvPr>
            <p:ph type="body" sz="quarter" idx="22" hasCustomPrompt="1"/>
          </p:nvPr>
        </p:nvSpPr>
        <p:spPr>
          <a:xfrm>
            <a:off x="190500" y="45593"/>
            <a:ext cx="4572000" cy="170094"/>
          </a:xfrm>
        </p:spPr>
        <p:txBody>
          <a:bodyPr/>
          <a:lstStyle>
            <a:lvl1pPr marL="0" indent="0">
              <a:spcBef>
                <a:spcPts val="0"/>
              </a:spcBef>
              <a:buNone/>
              <a:defRPr sz="1000">
                <a:solidFill>
                  <a:srgbClr val="898989"/>
                </a:solidFill>
              </a:defRPr>
            </a:lvl1pPr>
            <a:lvl2pPr marL="0" indent="0">
              <a:spcBef>
                <a:spcPts val="0"/>
              </a:spcBef>
              <a:buNone/>
              <a:defRPr sz="1000">
                <a:solidFill>
                  <a:schemeClr val="tx2"/>
                </a:solidFill>
              </a:defRPr>
            </a:lvl2pPr>
            <a:lvl3pPr marL="0" indent="0">
              <a:spcBef>
                <a:spcPts val="0"/>
              </a:spcBef>
              <a:buNone/>
              <a:defRPr sz="1000">
                <a:solidFill>
                  <a:schemeClr val="tx2"/>
                </a:solidFill>
              </a:defRPr>
            </a:lvl3pPr>
            <a:lvl4pPr marL="0" indent="0">
              <a:spcBef>
                <a:spcPts val="0"/>
              </a:spcBef>
              <a:buNone/>
              <a:defRPr sz="1000">
                <a:solidFill>
                  <a:schemeClr val="tx2"/>
                </a:solidFill>
              </a:defRPr>
            </a:lvl4pPr>
            <a:lvl5pPr marL="0" indent="0">
              <a:spcBef>
                <a:spcPts val="0"/>
              </a:spcBef>
              <a:buNone/>
              <a:defRPr sz="1000">
                <a:solidFill>
                  <a:schemeClr val="tx2"/>
                </a:solidFill>
              </a:defRPr>
            </a:lvl5pPr>
            <a:lvl6pPr marL="0" indent="0">
              <a:spcBef>
                <a:spcPts val="0"/>
              </a:spcBef>
              <a:buNone/>
              <a:defRPr sz="1000">
                <a:solidFill>
                  <a:schemeClr val="tx2"/>
                </a:solidFill>
              </a:defRPr>
            </a:lvl6pPr>
            <a:lvl7pPr marL="0" indent="0">
              <a:spcBef>
                <a:spcPts val="0"/>
              </a:spcBef>
              <a:buNone/>
              <a:defRPr sz="1000">
                <a:solidFill>
                  <a:schemeClr val="tx2"/>
                </a:solidFill>
              </a:defRPr>
            </a:lvl7pPr>
            <a:lvl8pPr marL="0" indent="0">
              <a:spcBef>
                <a:spcPts val="0"/>
              </a:spcBef>
              <a:buNone/>
              <a:defRPr sz="1000">
                <a:solidFill>
                  <a:schemeClr val="tx2"/>
                </a:solidFill>
              </a:defRPr>
            </a:lvl8pPr>
            <a:lvl9pPr marL="0" indent="0">
              <a:spcBef>
                <a:spcPts val="0"/>
              </a:spcBef>
              <a:buNone/>
              <a:defRPr sz="1000">
                <a:solidFill>
                  <a:schemeClr val="tx2"/>
                </a:solidFill>
              </a:defRPr>
            </a:lvl9pPr>
          </a:lstStyle>
          <a:p>
            <a:pPr lvl="0"/>
            <a:r>
              <a:t>Section title / tracker text</a:t>
            </a:r>
          </a:p>
        </p:txBody>
      </p:sp>
      <p:cxnSp>
        <p:nvCxnSpPr>
          <p:cNvPr id="13" name="Straight Connector 12">
            <a:extLst>
              <a:ext uri="{FF2B5EF4-FFF2-40B4-BE49-F238E27FC236}">
                <a16:creationId xmlns:a16="http://schemas.microsoft.com/office/drawing/2014/main" id="{27AFD8FC-399F-41F2-8BB4-68A66C936CB1}"/>
              </a:ext>
            </a:extLst>
          </p:cNvPr>
          <p:cNvCxnSpPr/>
          <p:nvPr/>
        </p:nvCxnSpPr>
        <p:spPr>
          <a:xfrm>
            <a:off x="192024" y="1047750"/>
            <a:ext cx="8759952"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0917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 Generic Video Start">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F1CB8391-5425-1AB1-E826-C2E0E97813F9}"/>
              </a:ext>
            </a:extLst>
          </p:cNvPr>
          <p:cNvGrpSpPr/>
          <p:nvPr userDrawn="1"/>
        </p:nvGrpSpPr>
        <p:grpSpPr>
          <a:xfrm>
            <a:off x="6520873" y="2007250"/>
            <a:ext cx="1003877" cy="985332"/>
            <a:chOff x="6520873" y="2007250"/>
            <a:chExt cx="1003877" cy="985332"/>
          </a:xfrm>
        </p:grpSpPr>
        <p:sp>
          <p:nvSpPr>
            <p:cNvPr id="4" name="Rektangel 3">
              <a:extLst>
                <a:ext uri="{FF2B5EF4-FFF2-40B4-BE49-F238E27FC236}">
                  <a16:creationId xmlns:a16="http://schemas.microsoft.com/office/drawing/2014/main" id="{29B8958B-10DA-F24F-A2EC-49711C241895}"/>
                </a:ext>
              </a:extLst>
            </p:cNvPr>
            <p:cNvSpPr/>
            <p:nvPr userDrawn="1"/>
          </p:nvSpPr>
          <p:spPr>
            <a:xfrm>
              <a:off x="6520873" y="2499519"/>
              <a:ext cx="1003877" cy="493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8" name="Rektangel 27">
              <a:extLst>
                <a:ext uri="{FF2B5EF4-FFF2-40B4-BE49-F238E27FC236}">
                  <a16:creationId xmlns:a16="http://schemas.microsoft.com/office/drawing/2014/main" id="{44B06D9C-224E-0C44-86A7-A872605E97D8}"/>
                </a:ext>
              </a:extLst>
            </p:cNvPr>
            <p:cNvSpPr/>
            <p:nvPr userDrawn="1"/>
          </p:nvSpPr>
          <p:spPr>
            <a:xfrm>
              <a:off x="6520873" y="2007250"/>
              <a:ext cx="1003877" cy="4930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
        <p:nvSpPr>
          <p:cNvPr id="52" name="Media Placeholder 51">
            <a:extLst>
              <a:ext uri="{FF2B5EF4-FFF2-40B4-BE49-F238E27FC236}">
                <a16:creationId xmlns:a16="http://schemas.microsoft.com/office/drawing/2014/main" id="{5708EE99-0B61-DABA-AC8E-F36C1A13352F}"/>
              </a:ext>
            </a:extLst>
          </p:cNvPr>
          <p:cNvSpPr>
            <a:spLocks noGrp="1"/>
          </p:cNvSpPr>
          <p:nvPr>
            <p:ph type="media" sz="quarter" idx="11" hasCustomPrompt="1"/>
          </p:nvPr>
        </p:nvSpPr>
        <p:spPr>
          <a:xfrm>
            <a:off x="-32951" y="-18535"/>
            <a:ext cx="9209902" cy="5180570"/>
          </a:xfrm>
          <a:custGeom>
            <a:avLst/>
            <a:gdLst>
              <a:gd name="connsiteX0" fmla="*/ 5256147 w 9209902"/>
              <a:gd name="connsiteY0" fmla="*/ 2410892 h 5180570"/>
              <a:gd name="connsiteX1" fmla="*/ 5256967 w 9209902"/>
              <a:gd name="connsiteY1" fmla="*/ 2410892 h 5180570"/>
              <a:gd name="connsiteX2" fmla="*/ 5326636 w 9209902"/>
              <a:gd name="connsiteY2" fmla="*/ 2581873 h 5180570"/>
              <a:gd name="connsiteX3" fmla="*/ 5186889 w 9209902"/>
              <a:gd name="connsiteY3" fmla="*/ 2581873 h 5180570"/>
              <a:gd name="connsiteX4" fmla="*/ 2439897 w 9209902"/>
              <a:gd name="connsiteY4" fmla="*/ 2410892 h 5180570"/>
              <a:gd name="connsiteX5" fmla="*/ 2440717 w 9209902"/>
              <a:gd name="connsiteY5" fmla="*/ 2410892 h 5180570"/>
              <a:gd name="connsiteX6" fmla="*/ 2510386 w 9209902"/>
              <a:gd name="connsiteY6" fmla="*/ 2581873 h 5180570"/>
              <a:gd name="connsiteX7" fmla="*/ 2370639 w 9209902"/>
              <a:gd name="connsiteY7" fmla="*/ 2581873 h 5180570"/>
              <a:gd name="connsiteX8" fmla="*/ 6000782 w 9209902"/>
              <a:gd name="connsiteY8" fmla="*/ 2272652 h 5180570"/>
              <a:gd name="connsiteX9" fmla="*/ 6000782 w 9209902"/>
              <a:gd name="connsiteY9" fmla="*/ 2773065 h 5180570"/>
              <a:gd name="connsiteX10" fmla="*/ 6367567 w 9209902"/>
              <a:gd name="connsiteY10" fmla="*/ 2773065 h 5180570"/>
              <a:gd name="connsiteX11" fmla="*/ 6367567 w 9209902"/>
              <a:gd name="connsiteY11" fmla="*/ 2662311 h 5180570"/>
              <a:gd name="connsiteX12" fmla="*/ 6133562 w 9209902"/>
              <a:gd name="connsiteY12" fmla="*/ 2662311 h 5180570"/>
              <a:gd name="connsiteX13" fmla="*/ 6133562 w 9209902"/>
              <a:gd name="connsiteY13" fmla="*/ 2272652 h 5180570"/>
              <a:gd name="connsiteX14" fmla="*/ 5576213 w 9209902"/>
              <a:gd name="connsiteY14" fmla="*/ 2272652 h 5180570"/>
              <a:gd name="connsiteX15" fmla="*/ 5576213 w 9209902"/>
              <a:gd name="connsiteY15" fmla="*/ 2773065 h 5180570"/>
              <a:gd name="connsiteX16" fmla="*/ 5943408 w 9209902"/>
              <a:gd name="connsiteY16" fmla="*/ 2773065 h 5180570"/>
              <a:gd name="connsiteX17" fmla="*/ 5943408 w 9209902"/>
              <a:gd name="connsiteY17" fmla="*/ 2662311 h 5180570"/>
              <a:gd name="connsiteX18" fmla="*/ 5709403 w 9209902"/>
              <a:gd name="connsiteY18" fmla="*/ 2662311 h 5180570"/>
              <a:gd name="connsiteX19" fmla="*/ 5709403 w 9209902"/>
              <a:gd name="connsiteY19" fmla="*/ 2272652 h 5180570"/>
              <a:gd name="connsiteX20" fmla="*/ 5191397 w 9209902"/>
              <a:gd name="connsiteY20" fmla="*/ 2272652 h 5180570"/>
              <a:gd name="connsiteX21" fmla="*/ 4979932 w 9209902"/>
              <a:gd name="connsiteY21" fmla="*/ 2773065 h 5180570"/>
              <a:gd name="connsiteX22" fmla="*/ 5108614 w 9209902"/>
              <a:gd name="connsiteY22" fmla="*/ 2773065 h 5180570"/>
              <a:gd name="connsiteX23" fmla="*/ 5145087 w 9209902"/>
              <a:gd name="connsiteY23" fmla="*/ 2683734 h 5180570"/>
              <a:gd name="connsiteX24" fmla="*/ 5368437 w 9209902"/>
              <a:gd name="connsiteY24" fmla="*/ 2683734 h 5180570"/>
              <a:gd name="connsiteX25" fmla="*/ 5404910 w 9209902"/>
              <a:gd name="connsiteY25" fmla="*/ 2773065 h 5180570"/>
              <a:gd name="connsiteX26" fmla="*/ 5533593 w 9209902"/>
              <a:gd name="connsiteY26" fmla="*/ 2773065 h 5180570"/>
              <a:gd name="connsiteX27" fmla="*/ 5322128 w 9209902"/>
              <a:gd name="connsiteY27" fmla="*/ 2272652 h 5180570"/>
              <a:gd name="connsiteX28" fmla="*/ 5320488 w 9209902"/>
              <a:gd name="connsiteY28" fmla="*/ 2272652 h 5180570"/>
              <a:gd name="connsiteX29" fmla="*/ 5320078 w 9209902"/>
              <a:gd name="connsiteY29" fmla="*/ 2272652 h 5180570"/>
              <a:gd name="connsiteX30" fmla="*/ 4636917 w 9209902"/>
              <a:gd name="connsiteY30" fmla="*/ 2272652 h 5180570"/>
              <a:gd name="connsiteX31" fmla="*/ 4636917 w 9209902"/>
              <a:gd name="connsiteY31" fmla="*/ 2773065 h 5180570"/>
              <a:gd name="connsiteX32" fmla="*/ 4769697 w 9209902"/>
              <a:gd name="connsiteY32" fmla="*/ 2773065 h 5180570"/>
              <a:gd name="connsiteX33" fmla="*/ 4769697 w 9209902"/>
              <a:gd name="connsiteY33" fmla="*/ 2570555 h 5180570"/>
              <a:gd name="connsiteX34" fmla="*/ 4984440 w 9209902"/>
              <a:gd name="connsiteY34" fmla="*/ 2570555 h 5180570"/>
              <a:gd name="connsiteX35" fmla="*/ 4984440 w 9209902"/>
              <a:gd name="connsiteY35" fmla="*/ 2463439 h 5180570"/>
              <a:gd name="connsiteX36" fmla="*/ 4769697 w 9209902"/>
              <a:gd name="connsiteY36" fmla="*/ 2463439 h 5180570"/>
              <a:gd name="connsiteX37" fmla="*/ 4769697 w 9209902"/>
              <a:gd name="connsiteY37" fmla="*/ 2379768 h 5180570"/>
              <a:gd name="connsiteX38" fmla="*/ 5024193 w 9209902"/>
              <a:gd name="connsiteY38" fmla="*/ 2379768 h 5180570"/>
              <a:gd name="connsiteX39" fmla="*/ 5024193 w 9209902"/>
              <a:gd name="connsiteY39" fmla="*/ 2272652 h 5180570"/>
              <a:gd name="connsiteX40" fmla="*/ 4055799 w 9209902"/>
              <a:gd name="connsiteY40" fmla="*/ 2272652 h 5180570"/>
              <a:gd name="connsiteX41" fmla="*/ 4055799 w 9209902"/>
              <a:gd name="connsiteY41" fmla="*/ 2773065 h 5180570"/>
              <a:gd name="connsiteX42" fmla="*/ 4182842 w 9209902"/>
              <a:gd name="connsiteY42" fmla="*/ 2773065 h 5180570"/>
              <a:gd name="connsiteX43" fmla="*/ 4182842 w 9209902"/>
              <a:gd name="connsiteY43" fmla="*/ 2477183 h 5180570"/>
              <a:gd name="connsiteX44" fmla="*/ 4409060 w 9209902"/>
              <a:gd name="connsiteY44" fmla="*/ 2773065 h 5180570"/>
              <a:gd name="connsiteX45" fmla="*/ 4535693 w 9209902"/>
              <a:gd name="connsiteY45" fmla="*/ 2773065 h 5180570"/>
              <a:gd name="connsiteX46" fmla="*/ 4535693 w 9209902"/>
              <a:gd name="connsiteY46" fmla="*/ 2272652 h 5180570"/>
              <a:gd name="connsiteX47" fmla="*/ 4409060 w 9209902"/>
              <a:gd name="connsiteY47" fmla="*/ 2272652 h 5180570"/>
              <a:gd name="connsiteX48" fmla="*/ 4409060 w 9209902"/>
              <a:gd name="connsiteY48" fmla="*/ 2572172 h 5180570"/>
              <a:gd name="connsiteX49" fmla="*/ 4182842 w 9209902"/>
              <a:gd name="connsiteY49" fmla="*/ 2272652 h 5180570"/>
              <a:gd name="connsiteX50" fmla="*/ 3588609 w 9209902"/>
              <a:gd name="connsiteY50" fmla="*/ 2272652 h 5180570"/>
              <a:gd name="connsiteX51" fmla="*/ 3588609 w 9209902"/>
              <a:gd name="connsiteY51" fmla="*/ 2773065 h 5180570"/>
              <a:gd name="connsiteX52" fmla="*/ 3721389 w 9209902"/>
              <a:gd name="connsiteY52" fmla="*/ 2773065 h 5180570"/>
              <a:gd name="connsiteX53" fmla="*/ 3964000 w 9209902"/>
              <a:gd name="connsiteY53" fmla="*/ 2773065 h 5180570"/>
              <a:gd name="connsiteX54" fmla="*/ 3964000 w 9209902"/>
              <a:gd name="connsiteY54" fmla="*/ 2665949 h 5180570"/>
              <a:gd name="connsiteX55" fmla="*/ 3721389 w 9209902"/>
              <a:gd name="connsiteY55" fmla="*/ 2665949 h 5180570"/>
              <a:gd name="connsiteX56" fmla="*/ 3721389 w 9209902"/>
              <a:gd name="connsiteY56" fmla="*/ 2567322 h 5180570"/>
              <a:gd name="connsiteX57" fmla="*/ 3927116 w 9209902"/>
              <a:gd name="connsiteY57" fmla="*/ 2567322 h 5180570"/>
              <a:gd name="connsiteX58" fmla="*/ 3927116 w 9209902"/>
              <a:gd name="connsiteY58" fmla="*/ 2460206 h 5180570"/>
              <a:gd name="connsiteX59" fmla="*/ 3721389 w 9209902"/>
              <a:gd name="connsiteY59" fmla="*/ 2460206 h 5180570"/>
              <a:gd name="connsiteX60" fmla="*/ 3721389 w 9209902"/>
              <a:gd name="connsiteY60" fmla="*/ 2379768 h 5180570"/>
              <a:gd name="connsiteX61" fmla="*/ 3964000 w 9209902"/>
              <a:gd name="connsiteY61" fmla="*/ 2379768 h 5180570"/>
              <a:gd name="connsiteX62" fmla="*/ 3964000 w 9209902"/>
              <a:gd name="connsiteY62" fmla="*/ 2272652 h 5180570"/>
              <a:gd name="connsiteX63" fmla="*/ 3111174 w 9209902"/>
              <a:gd name="connsiteY63" fmla="*/ 2272652 h 5180570"/>
              <a:gd name="connsiteX64" fmla="*/ 3111174 w 9209902"/>
              <a:gd name="connsiteY64" fmla="*/ 2379768 h 5180570"/>
              <a:gd name="connsiteX65" fmla="*/ 3244364 w 9209902"/>
              <a:gd name="connsiteY65" fmla="*/ 2379768 h 5180570"/>
              <a:gd name="connsiteX66" fmla="*/ 3244364 w 9209902"/>
              <a:gd name="connsiteY66" fmla="*/ 2773065 h 5180570"/>
              <a:gd name="connsiteX67" fmla="*/ 3377144 w 9209902"/>
              <a:gd name="connsiteY67" fmla="*/ 2773065 h 5180570"/>
              <a:gd name="connsiteX68" fmla="*/ 3377144 w 9209902"/>
              <a:gd name="connsiteY68" fmla="*/ 2379768 h 5180570"/>
              <a:gd name="connsiteX69" fmla="*/ 3524268 w 9209902"/>
              <a:gd name="connsiteY69" fmla="*/ 2379768 h 5180570"/>
              <a:gd name="connsiteX70" fmla="*/ 3524268 w 9209902"/>
              <a:gd name="connsiteY70" fmla="*/ 2272652 h 5180570"/>
              <a:gd name="connsiteX71" fmla="*/ 2652181 w 9209902"/>
              <a:gd name="connsiteY71" fmla="*/ 2272652 h 5180570"/>
              <a:gd name="connsiteX72" fmla="*/ 2652181 w 9209902"/>
              <a:gd name="connsiteY72" fmla="*/ 2379768 h 5180570"/>
              <a:gd name="connsiteX73" fmla="*/ 2799305 w 9209902"/>
              <a:gd name="connsiteY73" fmla="*/ 2379768 h 5180570"/>
              <a:gd name="connsiteX74" fmla="*/ 2799305 w 9209902"/>
              <a:gd name="connsiteY74" fmla="*/ 2773065 h 5180570"/>
              <a:gd name="connsiteX75" fmla="*/ 2932085 w 9209902"/>
              <a:gd name="connsiteY75" fmla="*/ 2773065 h 5180570"/>
              <a:gd name="connsiteX76" fmla="*/ 2932085 w 9209902"/>
              <a:gd name="connsiteY76" fmla="*/ 2379768 h 5180570"/>
              <a:gd name="connsiteX77" fmla="*/ 3064865 w 9209902"/>
              <a:gd name="connsiteY77" fmla="*/ 2379768 h 5180570"/>
              <a:gd name="connsiteX78" fmla="*/ 3064865 w 9209902"/>
              <a:gd name="connsiteY78" fmla="*/ 2272652 h 5180570"/>
              <a:gd name="connsiteX79" fmla="*/ 2375147 w 9209902"/>
              <a:gd name="connsiteY79" fmla="*/ 2272652 h 5180570"/>
              <a:gd name="connsiteX80" fmla="*/ 2163682 w 9209902"/>
              <a:gd name="connsiteY80" fmla="*/ 2773065 h 5180570"/>
              <a:gd name="connsiteX81" fmla="*/ 2292364 w 9209902"/>
              <a:gd name="connsiteY81" fmla="*/ 2773065 h 5180570"/>
              <a:gd name="connsiteX82" fmla="*/ 2328837 w 9209902"/>
              <a:gd name="connsiteY82" fmla="*/ 2683734 h 5180570"/>
              <a:gd name="connsiteX83" fmla="*/ 2552187 w 9209902"/>
              <a:gd name="connsiteY83" fmla="*/ 2683734 h 5180570"/>
              <a:gd name="connsiteX84" fmla="*/ 2588660 w 9209902"/>
              <a:gd name="connsiteY84" fmla="*/ 2773065 h 5180570"/>
              <a:gd name="connsiteX85" fmla="*/ 2717342 w 9209902"/>
              <a:gd name="connsiteY85" fmla="*/ 2773065 h 5180570"/>
              <a:gd name="connsiteX86" fmla="*/ 2505878 w 9209902"/>
              <a:gd name="connsiteY86" fmla="*/ 2272652 h 5180570"/>
              <a:gd name="connsiteX87" fmla="*/ 2504239 w 9209902"/>
              <a:gd name="connsiteY87" fmla="*/ 2272652 h 5180570"/>
              <a:gd name="connsiteX88" fmla="*/ 2503829 w 9209902"/>
              <a:gd name="connsiteY88" fmla="*/ 2272652 h 5180570"/>
              <a:gd name="connsiteX89" fmla="*/ 1702230 w 9209902"/>
              <a:gd name="connsiteY89" fmla="*/ 2272652 h 5180570"/>
              <a:gd name="connsiteX90" fmla="*/ 1910416 w 9209902"/>
              <a:gd name="connsiteY90" fmla="*/ 2773065 h 5180570"/>
              <a:gd name="connsiteX91" fmla="*/ 2041557 w 9209902"/>
              <a:gd name="connsiteY91" fmla="*/ 2773065 h 5180570"/>
              <a:gd name="connsiteX92" fmla="*/ 2249743 w 9209902"/>
              <a:gd name="connsiteY92" fmla="*/ 2272652 h 5180570"/>
              <a:gd name="connsiteX93" fmla="*/ 2121061 w 9209902"/>
              <a:gd name="connsiteY93" fmla="*/ 2272652 h 5180570"/>
              <a:gd name="connsiteX94" fmla="*/ 1976396 w 9209902"/>
              <a:gd name="connsiteY94" fmla="*/ 2624719 h 5180570"/>
              <a:gd name="connsiteX95" fmla="*/ 1975577 w 9209902"/>
              <a:gd name="connsiteY95" fmla="*/ 2624719 h 5180570"/>
              <a:gd name="connsiteX96" fmla="*/ 1830912 w 9209902"/>
              <a:gd name="connsiteY96" fmla="*/ 2272652 h 5180570"/>
              <a:gd name="connsiteX97" fmla="*/ 7085437 w 9209902"/>
              <a:gd name="connsiteY97" fmla="*/ 2071173 h 5180570"/>
              <a:gd name="connsiteX98" fmla="*/ 6995554 w 9209902"/>
              <a:gd name="connsiteY98" fmla="*/ 2076736 h 5180570"/>
              <a:gd name="connsiteX99" fmla="*/ 6626919 w 9209902"/>
              <a:gd name="connsiteY99" fmla="*/ 2580883 h 5180570"/>
              <a:gd name="connsiteX100" fmla="*/ 7136094 w 9209902"/>
              <a:gd name="connsiteY100" fmla="*/ 2942541 h 5180570"/>
              <a:gd name="connsiteX101" fmla="*/ 7504730 w 9209902"/>
              <a:gd name="connsiteY101" fmla="*/ 2438394 h 5180570"/>
              <a:gd name="connsiteX102" fmla="*/ 7085437 w 9209902"/>
              <a:gd name="connsiteY102" fmla="*/ 2071173 h 5180570"/>
              <a:gd name="connsiteX103" fmla="*/ 212339 w 9209902"/>
              <a:gd name="connsiteY103" fmla="*/ 177285 h 5180570"/>
              <a:gd name="connsiteX104" fmla="*/ 8997562 w 9209902"/>
              <a:gd name="connsiteY104" fmla="*/ 177285 h 5180570"/>
              <a:gd name="connsiteX105" fmla="*/ 8997562 w 9209902"/>
              <a:gd name="connsiteY105" fmla="*/ 4858824 h 5180570"/>
              <a:gd name="connsiteX106" fmla="*/ 212339 w 9209902"/>
              <a:gd name="connsiteY106" fmla="*/ 4858824 h 5180570"/>
              <a:gd name="connsiteX107" fmla="*/ 32951 w 9209902"/>
              <a:gd name="connsiteY107" fmla="*/ 18535 h 5180570"/>
              <a:gd name="connsiteX108" fmla="*/ 32951 w 9209902"/>
              <a:gd name="connsiteY108" fmla="*/ 5162034 h 5180570"/>
              <a:gd name="connsiteX109" fmla="*/ 143236 w 9209902"/>
              <a:gd name="connsiteY109" fmla="*/ 5162034 h 5180570"/>
              <a:gd name="connsiteX110" fmla="*/ 143236 w 9209902"/>
              <a:gd name="connsiteY110" fmla="*/ 5162035 h 5180570"/>
              <a:gd name="connsiteX111" fmla="*/ 9151553 w 9209902"/>
              <a:gd name="connsiteY111" fmla="*/ 5162035 h 5180570"/>
              <a:gd name="connsiteX112" fmla="*/ 9176951 w 9209902"/>
              <a:gd name="connsiteY112" fmla="*/ 5162035 h 5180570"/>
              <a:gd name="connsiteX113" fmla="*/ 9176951 w 9209902"/>
              <a:gd name="connsiteY113" fmla="*/ 18535 h 5180570"/>
              <a:gd name="connsiteX114" fmla="*/ 8997562 w 9209902"/>
              <a:gd name="connsiteY114" fmla="*/ 18535 h 5180570"/>
              <a:gd name="connsiteX115" fmla="*/ 143237 w 9209902"/>
              <a:gd name="connsiteY115" fmla="*/ 18535 h 5180570"/>
              <a:gd name="connsiteX116" fmla="*/ 0 w 9209902"/>
              <a:gd name="connsiteY116" fmla="*/ 0 h 5180570"/>
              <a:gd name="connsiteX117" fmla="*/ 9209902 w 9209902"/>
              <a:gd name="connsiteY117" fmla="*/ 0 h 5180570"/>
              <a:gd name="connsiteX118" fmla="*/ 9209902 w 9209902"/>
              <a:gd name="connsiteY118" fmla="*/ 5180570 h 5180570"/>
              <a:gd name="connsiteX119" fmla="*/ 0 w 9209902"/>
              <a:gd name="connsiteY119" fmla="*/ 5180570 h 518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9209902" h="5180570">
                <a:moveTo>
                  <a:pt x="5256147" y="2410892"/>
                </a:moveTo>
                <a:lnTo>
                  <a:pt x="5256967" y="2410892"/>
                </a:lnTo>
                <a:lnTo>
                  <a:pt x="5326636" y="2581873"/>
                </a:lnTo>
                <a:lnTo>
                  <a:pt x="5186889" y="2581873"/>
                </a:lnTo>
                <a:close/>
                <a:moveTo>
                  <a:pt x="2439897" y="2410892"/>
                </a:moveTo>
                <a:lnTo>
                  <a:pt x="2440717" y="2410892"/>
                </a:lnTo>
                <a:lnTo>
                  <a:pt x="2510386" y="2581873"/>
                </a:lnTo>
                <a:lnTo>
                  <a:pt x="2370639" y="2581873"/>
                </a:lnTo>
                <a:close/>
                <a:moveTo>
                  <a:pt x="6000782" y="2272652"/>
                </a:moveTo>
                <a:lnTo>
                  <a:pt x="6000782" y="2773065"/>
                </a:lnTo>
                <a:lnTo>
                  <a:pt x="6367567" y="2773065"/>
                </a:lnTo>
                <a:lnTo>
                  <a:pt x="6367567" y="2662311"/>
                </a:lnTo>
                <a:lnTo>
                  <a:pt x="6133562" y="2662311"/>
                </a:lnTo>
                <a:lnTo>
                  <a:pt x="6133562" y="2272652"/>
                </a:lnTo>
                <a:close/>
                <a:moveTo>
                  <a:pt x="5576213" y="2272652"/>
                </a:moveTo>
                <a:lnTo>
                  <a:pt x="5576213" y="2773065"/>
                </a:lnTo>
                <a:lnTo>
                  <a:pt x="5943408" y="2773065"/>
                </a:lnTo>
                <a:lnTo>
                  <a:pt x="5943408" y="2662311"/>
                </a:lnTo>
                <a:lnTo>
                  <a:pt x="5709403" y="2662311"/>
                </a:lnTo>
                <a:lnTo>
                  <a:pt x="5709403" y="2272652"/>
                </a:lnTo>
                <a:close/>
                <a:moveTo>
                  <a:pt x="5191397" y="2272652"/>
                </a:moveTo>
                <a:lnTo>
                  <a:pt x="4979932" y="2773065"/>
                </a:lnTo>
                <a:lnTo>
                  <a:pt x="5108614" y="2773065"/>
                </a:lnTo>
                <a:lnTo>
                  <a:pt x="5145087" y="2683734"/>
                </a:lnTo>
                <a:lnTo>
                  <a:pt x="5368437" y="2683734"/>
                </a:lnTo>
                <a:lnTo>
                  <a:pt x="5404910" y="2773065"/>
                </a:lnTo>
                <a:lnTo>
                  <a:pt x="5533593" y="2773065"/>
                </a:lnTo>
                <a:lnTo>
                  <a:pt x="5322128" y="2272652"/>
                </a:lnTo>
                <a:lnTo>
                  <a:pt x="5320488" y="2272652"/>
                </a:lnTo>
                <a:lnTo>
                  <a:pt x="5320078" y="2272652"/>
                </a:lnTo>
                <a:close/>
                <a:moveTo>
                  <a:pt x="4636917" y="2272652"/>
                </a:moveTo>
                <a:lnTo>
                  <a:pt x="4636917" y="2773065"/>
                </a:lnTo>
                <a:lnTo>
                  <a:pt x="4769697" y="2773065"/>
                </a:lnTo>
                <a:lnTo>
                  <a:pt x="4769697" y="2570555"/>
                </a:lnTo>
                <a:lnTo>
                  <a:pt x="4984440" y="2570555"/>
                </a:lnTo>
                <a:lnTo>
                  <a:pt x="4984440" y="2463439"/>
                </a:lnTo>
                <a:lnTo>
                  <a:pt x="4769697" y="2463439"/>
                </a:lnTo>
                <a:lnTo>
                  <a:pt x="4769697" y="2379768"/>
                </a:lnTo>
                <a:lnTo>
                  <a:pt x="5024193" y="2379768"/>
                </a:lnTo>
                <a:lnTo>
                  <a:pt x="5024193" y="2272652"/>
                </a:lnTo>
                <a:close/>
                <a:moveTo>
                  <a:pt x="4055799" y="2272652"/>
                </a:moveTo>
                <a:lnTo>
                  <a:pt x="4055799" y="2773065"/>
                </a:lnTo>
                <a:lnTo>
                  <a:pt x="4182842" y="2773065"/>
                </a:lnTo>
                <a:lnTo>
                  <a:pt x="4182842" y="2477183"/>
                </a:lnTo>
                <a:lnTo>
                  <a:pt x="4409060" y="2773065"/>
                </a:lnTo>
                <a:lnTo>
                  <a:pt x="4535693" y="2773065"/>
                </a:lnTo>
                <a:lnTo>
                  <a:pt x="4535693" y="2272652"/>
                </a:lnTo>
                <a:lnTo>
                  <a:pt x="4409060" y="2272652"/>
                </a:lnTo>
                <a:lnTo>
                  <a:pt x="4409060" y="2572172"/>
                </a:lnTo>
                <a:lnTo>
                  <a:pt x="4182842" y="2272652"/>
                </a:lnTo>
                <a:close/>
                <a:moveTo>
                  <a:pt x="3588609" y="2272652"/>
                </a:moveTo>
                <a:lnTo>
                  <a:pt x="3588609" y="2773065"/>
                </a:lnTo>
                <a:lnTo>
                  <a:pt x="3721389" y="2773065"/>
                </a:lnTo>
                <a:lnTo>
                  <a:pt x="3964000" y="2773065"/>
                </a:lnTo>
                <a:lnTo>
                  <a:pt x="3964000" y="2665949"/>
                </a:lnTo>
                <a:lnTo>
                  <a:pt x="3721389" y="2665949"/>
                </a:lnTo>
                <a:lnTo>
                  <a:pt x="3721389" y="2567322"/>
                </a:lnTo>
                <a:lnTo>
                  <a:pt x="3927116" y="2567322"/>
                </a:lnTo>
                <a:lnTo>
                  <a:pt x="3927116" y="2460206"/>
                </a:lnTo>
                <a:lnTo>
                  <a:pt x="3721389" y="2460206"/>
                </a:lnTo>
                <a:lnTo>
                  <a:pt x="3721389" y="2379768"/>
                </a:lnTo>
                <a:lnTo>
                  <a:pt x="3964000" y="2379768"/>
                </a:lnTo>
                <a:lnTo>
                  <a:pt x="3964000" y="2272652"/>
                </a:lnTo>
                <a:close/>
                <a:moveTo>
                  <a:pt x="3111174" y="2272652"/>
                </a:moveTo>
                <a:lnTo>
                  <a:pt x="3111174" y="2379768"/>
                </a:lnTo>
                <a:lnTo>
                  <a:pt x="3244364" y="2379768"/>
                </a:lnTo>
                <a:lnTo>
                  <a:pt x="3244364" y="2773065"/>
                </a:lnTo>
                <a:lnTo>
                  <a:pt x="3377144" y="2773065"/>
                </a:lnTo>
                <a:lnTo>
                  <a:pt x="3377144" y="2379768"/>
                </a:lnTo>
                <a:lnTo>
                  <a:pt x="3524268" y="2379768"/>
                </a:lnTo>
                <a:lnTo>
                  <a:pt x="3524268" y="2272652"/>
                </a:lnTo>
                <a:close/>
                <a:moveTo>
                  <a:pt x="2652181" y="2272652"/>
                </a:moveTo>
                <a:lnTo>
                  <a:pt x="2652181" y="2379768"/>
                </a:lnTo>
                <a:lnTo>
                  <a:pt x="2799305" y="2379768"/>
                </a:lnTo>
                <a:lnTo>
                  <a:pt x="2799305" y="2773065"/>
                </a:lnTo>
                <a:lnTo>
                  <a:pt x="2932085" y="2773065"/>
                </a:lnTo>
                <a:lnTo>
                  <a:pt x="2932085" y="2379768"/>
                </a:lnTo>
                <a:lnTo>
                  <a:pt x="3064865" y="2379768"/>
                </a:lnTo>
                <a:lnTo>
                  <a:pt x="3064865" y="2272652"/>
                </a:lnTo>
                <a:close/>
                <a:moveTo>
                  <a:pt x="2375147" y="2272652"/>
                </a:moveTo>
                <a:lnTo>
                  <a:pt x="2163682" y="2773065"/>
                </a:lnTo>
                <a:lnTo>
                  <a:pt x="2292364" y="2773065"/>
                </a:lnTo>
                <a:lnTo>
                  <a:pt x="2328837" y="2683734"/>
                </a:lnTo>
                <a:lnTo>
                  <a:pt x="2552187" y="2683734"/>
                </a:lnTo>
                <a:lnTo>
                  <a:pt x="2588660" y="2773065"/>
                </a:lnTo>
                <a:lnTo>
                  <a:pt x="2717342" y="2773065"/>
                </a:lnTo>
                <a:lnTo>
                  <a:pt x="2505878" y="2272652"/>
                </a:lnTo>
                <a:lnTo>
                  <a:pt x="2504239" y="2272652"/>
                </a:lnTo>
                <a:lnTo>
                  <a:pt x="2503829" y="2272652"/>
                </a:lnTo>
                <a:close/>
                <a:moveTo>
                  <a:pt x="1702230" y="2272652"/>
                </a:moveTo>
                <a:lnTo>
                  <a:pt x="1910416" y="2773065"/>
                </a:lnTo>
                <a:lnTo>
                  <a:pt x="2041557" y="2773065"/>
                </a:lnTo>
                <a:lnTo>
                  <a:pt x="2249743" y="2272652"/>
                </a:lnTo>
                <a:lnTo>
                  <a:pt x="2121061" y="2272652"/>
                </a:lnTo>
                <a:lnTo>
                  <a:pt x="1976396" y="2624719"/>
                </a:lnTo>
                <a:lnTo>
                  <a:pt x="1975577" y="2624719"/>
                </a:lnTo>
                <a:lnTo>
                  <a:pt x="1830912" y="2272652"/>
                </a:lnTo>
                <a:close/>
                <a:moveTo>
                  <a:pt x="7085437" y="2071173"/>
                </a:moveTo>
                <a:cubicBezTo>
                  <a:pt x="7055929" y="2070044"/>
                  <a:pt x="7025854" y="2071818"/>
                  <a:pt x="6995554" y="2076736"/>
                </a:cubicBezTo>
                <a:cubicBezTo>
                  <a:pt x="6753154" y="2116083"/>
                  <a:pt x="6588110" y="2341798"/>
                  <a:pt x="6626919" y="2580883"/>
                </a:cubicBezTo>
                <a:cubicBezTo>
                  <a:pt x="6665728" y="2819968"/>
                  <a:pt x="6893694" y="2981888"/>
                  <a:pt x="7136094" y="2942541"/>
                </a:cubicBezTo>
                <a:cubicBezTo>
                  <a:pt x="7378495" y="2903194"/>
                  <a:pt x="7543539" y="2677479"/>
                  <a:pt x="7504730" y="2438394"/>
                </a:cubicBezTo>
                <a:cubicBezTo>
                  <a:pt x="7470772" y="2229194"/>
                  <a:pt x="7291991" y="2079075"/>
                  <a:pt x="7085437" y="2071173"/>
                </a:cubicBezTo>
                <a:close/>
                <a:moveTo>
                  <a:pt x="212339" y="177285"/>
                </a:moveTo>
                <a:lnTo>
                  <a:pt x="8997562" y="177285"/>
                </a:lnTo>
                <a:lnTo>
                  <a:pt x="8997562" y="4858824"/>
                </a:lnTo>
                <a:lnTo>
                  <a:pt x="212339" y="4858824"/>
                </a:lnTo>
                <a:close/>
                <a:moveTo>
                  <a:pt x="32951" y="18535"/>
                </a:moveTo>
                <a:lnTo>
                  <a:pt x="32951" y="5162034"/>
                </a:lnTo>
                <a:lnTo>
                  <a:pt x="143236" y="5162034"/>
                </a:lnTo>
                <a:lnTo>
                  <a:pt x="143236" y="5162035"/>
                </a:lnTo>
                <a:lnTo>
                  <a:pt x="9151553" y="5162035"/>
                </a:lnTo>
                <a:lnTo>
                  <a:pt x="9176951" y="5162035"/>
                </a:lnTo>
                <a:lnTo>
                  <a:pt x="9176951" y="18535"/>
                </a:lnTo>
                <a:lnTo>
                  <a:pt x="8997562" y="18535"/>
                </a:lnTo>
                <a:lnTo>
                  <a:pt x="143237" y="18535"/>
                </a:lnTo>
                <a:close/>
                <a:moveTo>
                  <a:pt x="0" y="0"/>
                </a:moveTo>
                <a:lnTo>
                  <a:pt x="9209902" y="0"/>
                </a:lnTo>
                <a:lnTo>
                  <a:pt x="9209902" y="5180570"/>
                </a:lnTo>
                <a:lnTo>
                  <a:pt x="0" y="5180570"/>
                </a:lnTo>
                <a:close/>
              </a:path>
            </a:pathLst>
          </a:custGeom>
          <a:blipFill dpi="0" rotWithShape="1">
            <a:blip r:embed="rId2"/>
            <a:srcRect/>
            <a:tile tx="0" ty="0" sx="100000" sy="100000" flip="none" algn="tl"/>
          </a:blipFill>
        </p:spPr>
        <p:txBody>
          <a:bodyPr vert="horz" wrap="square" lIns="90000" tIns="251999" rIns="90000" bIns="45720" rtlCol="0">
            <a:noAutofit/>
          </a:bodyPr>
          <a:lstStyle>
            <a:lvl1pPr marL="0" indent="0" algn="ctr">
              <a:buNone/>
              <a:defRPr lang="en-GB" sz="800" noProof="0" dirty="0">
                <a:solidFill>
                  <a:schemeClr val="bg1">
                    <a:lumMod val="75000"/>
                  </a:schemeClr>
                </a:solidFill>
              </a:defRPr>
            </a:lvl1pPr>
          </a:lstStyle>
          <a:p>
            <a:pPr marL="171450" lvl="0" indent="-171450" algn="ctr"/>
            <a:r>
              <a:rPr lang="en-GB" noProof="0"/>
              <a:t>Click on the icon to add video</a:t>
            </a:r>
          </a:p>
        </p:txBody>
      </p:sp>
      <p:sp>
        <p:nvSpPr>
          <p:cNvPr id="11" name="Date" hidden="1">
            <a:extLst>
              <a:ext uri="{FF2B5EF4-FFF2-40B4-BE49-F238E27FC236}">
                <a16:creationId xmlns:a16="http://schemas.microsoft.com/office/drawing/2014/main" id="{38CA3AD7-12F8-9F43-820D-33071C26D41A}"/>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A46655C2-5FD1-4B35-92DF-2E0363E61B86}" type="datetime1">
              <a:rPr lang="sv-SE" noProof="0" smtClean="0"/>
              <a:t>2025-09-04</a:t>
            </a:fld>
            <a:endParaRPr lang="en-GB" noProof="0"/>
          </a:p>
        </p:txBody>
      </p:sp>
      <p:sp>
        <p:nvSpPr>
          <p:cNvPr id="12" name="Number" hidden="1">
            <a:extLst>
              <a:ext uri="{FF2B5EF4-FFF2-40B4-BE49-F238E27FC236}">
                <a16:creationId xmlns:a16="http://schemas.microsoft.com/office/drawing/2014/main" id="{DFED6C3B-4A73-344C-A9A5-F8224178884F}"/>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3" name="Footer" hidden="1">
            <a:extLst>
              <a:ext uri="{FF2B5EF4-FFF2-40B4-BE49-F238E27FC236}">
                <a16:creationId xmlns:a16="http://schemas.microsoft.com/office/drawing/2014/main" id="{3B9E93E1-A5C6-AE48-99D5-A7A443E60A82}"/>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p:txBody>
      </p:sp>
      <p:sp>
        <p:nvSpPr>
          <p:cNvPr id="14" name="Rectangle 13">
            <a:extLst>
              <a:ext uri="{FF2B5EF4-FFF2-40B4-BE49-F238E27FC236}">
                <a16:creationId xmlns:a16="http://schemas.microsoft.com/office/drawing/2014/main" id="{F2188644-0031-B196-A7B9-A7BC8A01F95B}"/>
              </a:ext>
            </a:extLst>
          </p:cNvPr>
          <p:cNvSpPr/>
          <p:nvPr userDrawn="1"/>
        </p:nvSpPr>
        <p:spPr>
          <a:xfrm>
            <a:off x="4012707" y="4862943"/>
            <a:ext cx="1118587" cy="2692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itle 2">
            <a:extLst>
              <a:ext uri="{FF2B5EF4-FFF2-40B4-BE49-F238E27FC236}">
                <a16:creationId xmlns:a16="http://schemas.microsoft.com/office/drawing/2014/main" id="{1F91519E-2A47-1597-3C8F-039360207E01}"/>
              </a:ext>
            </a:extLst>
          </p:cNvPr>
          <p:cNvSpPr>
            <a:spLocks noGrp="1"/>
          </p:cNvSpPr>
          <p:nvPr>
            <p:ph type="title" hasCustomPrompt="1"/>
          </p:nvPr>
        </p:nvSpPr>
        <p:spPr>
          <a:xfrm>
            <a:off x="323850" y="-1070389"/>
            <a:ext cx="8496300" cy="527051"/>
          </a:xfrm>
        </p:spPr>
        <p:txBody>
          <a:bodyPr/>
          <a:lstStyle>
            <a:lvl1pPr marL="0" marR="0" indent="0" algn="l" defTabSz="685800" rtl="0" eaLnBrk="1" fontAlgn="auto" latinLnBrk="0" hangingPunct="1">
              <a:lnSpc>
                <a:spcPct val="95000"/>
              </a:lnSpc>
              <a:spcBef>
                <a:spcPct val="0"/>
              </a:spcBef>
              <a:spcAft>
                <a:spcPts val="0"/>
              </a:spcAft>
              <a:buClrTx/>
              <a:buSzTx/>
              <a:buFontTx/>
              <a:buNone/>
              <a:tabLst/>
              <a:defRPr/>
            </a:lvl1pPr>
          </a:lstStyle>
          <a:p>
            <a:r>
              <a:rPr lang="en-GB"/>
              <a:t>Click to add hidden slide title for accessibility</a:t>
            </a:r>
          </a:p>
        </p:txBody>
      </p:sp>
    </p:spTree>
    <p:extLst>
      <p:ext uri="{BB962C8B-B14F-4D97-AF65-F5344CB8AC3E}">
        <p14:creationId xmlns:p14="http://schemas.microsoft.com/office/powerpoint/2010/main" val="3829933945"/>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 Three Icons">
    <p:bg>
      <p:bgPr>
        <a:solidFill>
          <a:schemeClr val="bg2"/>
        </a:solidFill>
        <a:effectLst/>
      </p:bgPr>
    </p:bg>
    <p:spTree>
      <p:nvGrpSpPr>
        <p:cNvPr id="1" name=""/>
        <p:cNvGrpSpPr/>
        <p:nvPr/>
      </p:nvGrpSpPr>
      <p:grpSpPr>
        <a:xfrm>
          <a:off x="0" y="0"/>
          <a:ext cx="0" cy="0"/>
          <a:chOff x="0" y="0"/>
          <a:chExt cx="0" cy="0"/>
        </a:xfrm>
      </p:grpSpPr>
      <p:sp>
        <p:nvSpPr>
          <p:cNvPr id="42" name="Title">
            <a:extLst>
              <a:ext uri="{FF2B5EF4-FFF2-40B4-BE49-F238E27FC236}">
                <a16:creationId xmlns:a16="http://schemas.microsoft.com/office/drawing/2014/main" id="{4EE3E706-517C-DA49-BD6A-D25F70D7C32F}"/>
              </a:ext>
            </a:extLst>
          </p:cNvPr>
          <p:cNvSpPr>
            <a:spLocks noGrp="1"/>
          </p:cNvSpPr>
          <p:nvPr>
            <p:ph type="title" hasCustomPrompt="1"/>
          </p:nvPr>
        </p:nvSpPr>
        <p:spPr>
          <a:xfrm>
            <a:off x="323850" y="525600"/>
            <a:ext cx="7056438" cy="619845"/>
          </a:xfrm>
        </p:spPr>
        <p:txBody>
          <a:bodyPr rIns="144000"/>
          <a:lstStyle>
            <a:lvl1pPr>
              <a:defRPr sz="3000" spc="-50" baseline="0"/>
            </a:lvl1pPr>
          </a:lstStyle>
          <a:p>
            <a:r>
              <a:rPr lang="en-GB" noProof="0"/>
              <a:t>Click to add short headline or delete</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50" y="276226"/>
            <a:ext cx="4176713" cy="276999"/>
          </a:xfrm>
        </p:spPr>
        <p:txBody>
          <a:bodyPr lIns="111600" rIns="144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chapter tracker</a:t>
            </a:r>
          </a:p>
        </p:txBody>
      </p:sp>
      <p:sp>
        <p:nvSpPr>
          <p:cNvPr id="3" name="Icon 1">
            <a:extLst>
              <a:ext uri="{FF2B5EF4-FFF2-40B4-BE49-F238E27FC236}">
                <a16:creationId xmlns:a16="http://schemas.microsoft.com/office/drawing/2014/main" id="{BF6831D5-0949-4149-AC62-D7EE74E03FA0}"/>
              </a:ext>
            </a:extLst>
          </p:cNvPr>
          <p:cNvSpPr>
            <a:spLocks noGrp="1"/>
          </p:cNvSpPr>
          <p:nvPr>
            <p:ph type="pic" sz="quarter" idx="22" hasCustomPrompt="1"/>
          </p:nvPr>
        </p:nvSpPr>
        <p:spPr>
          <a:xfrm>
            <a:off x="1199520" y="2003401"/>
            <a:ext cx="992237" cy="992237"/>
          </a:xfrm>
        </p:spPr>
        <p:txBody>
          <a:bodyPr/>
          <a:lstStyle>
            <a:lvl1pPr algn="ctr">
              <a:buNone/>
              <a:defRPr sz="800"/>
            </a:lvl1pPr>
          </a:lstStyle>
          <a:p>
            <a:r>
              <a:rPr lang="en-GB" sz="800" noProof="0"/>
              <a:t>Click to add icon</a:t>
            </a:r>
            <a:endParaRPr lang="en-GB" noProof="0"/>
          </a:p>
        </p:txBody>
      </p:sp>
      <p:sp>
        <p:nvSpPr>
          <p:cNvPr id="27" name="Subtitle 1">
            <a:extLst>
              <a:ext uri="{FF2B5EF4-FFF2-40B4-BE49-F238E27FC236}">
                <a16:creationId xmlns:a16="http://schemas.microsoft.com/office/drawing/2014/main" id="{66FB5539-4991-4D46-884F-A63F571088C6}"/>
              </a:ext>
            </a:extLst>
          </p:cNvPr>
          <p:cNvSpPr>
            <a:spLocks noGrp="1"/>
          </p:cNvSpPr>
          <p:nvPr>
            <p:ph type="body" sz="quarter" idx="16" hasCustomPrompt="1"/>
          </p:nvPr>
        </p:nvSpPr>
        <p:spPr>
          <a:xfrm>
            <a:off x="323850" y="3390838"/>
            <a:ext cx="2735263" cy="355993"/>
          </a:xfrm>
        </p:spPr>
        <p:txBody>
          <a:bodyPr lIns="144000" rIns="144000" anchor="b"/>
          <a:lstStyle>
            <a:lvl1pPr marL="0" indent="0" algn="ctr">
              <a:lnSpc>
                <a:spcPct val="95000"/>
              </a:lnSpc>
              <a:spcBef>
                <a:spcPts val="0"/>
              </a:spcBef>
              <a:buNone/>
              <a:tabLst/>
              <a:defRPr sz="1800" b="1"/>
            </a:lvl1pPr>
            <a:lvl2pPr marL="0" indent="0">
              <a:buNone/>
              <a:tabLst/>
              <a:defRPr sz="1200"/>
            </a:lvl2pPr>
            <a:lvl3pPr marL="0" indent="0">
              <a:buNone/>
              <a:tabLst/>
              <a:defRPr sz="1200"/>
            </a:lvl3pPr>
            <a:lvl4pPr marL="0" indent="0">
              <a:buNone/>
              <a:tabLst/>
              <a:defRPr sz="1200"/>
            </a:lvl4pPr>
            <a:lvl5pPr marL="0" indent="0">
              <a:buNone/>
              <a:tabLst/>
              <a:defRPr sz="1200"/>
            </a:lvl5pPr>
          </a:lstStyle>
          <a:p>
            <a:pPr lvl="0"/>
            <a:r>
              <a:rPr lang="en-GB" noProof="0"/>
              <a:t>Click to add headline</a:t>
            </a:r>
          </a:p>
        </p:txBody>
      </p:sp>
      <p:sp>
        <p:nvSpPr>
          <p:cNvPr id="28" name="Text 1">
            <a:extLst>
              <a:ext uri="{FF2B5EF4-FFF2-40B4-BE49-F238E27FC236}">
                <a16:creationId xmlns:a16="http://schemas.microsoft.com/office/drawing/2014/main" id="{0BDC7661-3072-564C-891C-82718D2BF14C}"/>
              </a:ext>
            </a:extLst>
          </p:cNvPr>
          <p:cNvSpPr>
            <a:spLocks noGrp="1"/>
          </p:cNvSpPr>
          <p:nvPr>
            <p:ph type="body" sz="quarter" idx="17" hasCustomPrompt="1"/>
          </p:nvPr>
        </p:nvSpPr>
        <p:spPr>
          <a:xfrm>
            <a:off x="323850" y="3777335"/>
            <a:ext cx="2736000" cy="918490"/>
          </a:xfrm>
        </p:spPr>
        <p:txBody>
          <a:bodyPr lIns="180000" rIns="180000"/>
          <a:lstStyle>
            <a:lvl1pPr marL="15875" indent="-15875" algn="ctr">
              <a:buNone/>
              <a:tabLst/>
              <a:defRPr sz="1400"/>
            </a:lvl1pPr>
            <a:lvl2pPr marL="15875" indent="-15875" algn="ctr">
              <a:buNone/>
              <a:tabLst/>
              <a:defRPr sz="1200"/>
            </a:lvl2pPr>
            <a:lvl3pPr marL="15875" indent="-15875" algn="ctr">
              <a:buNone/>
              <a:tabLst/>
              <a:defRPr sz="1200"/>
            </a:lvl3pPr>
            <a:lvl4pPr marL="15875" indent="-15875" algn="ctr">
              <a:buNone/>
              <a:tabLst/>
              <a:defRPr sz="1200"/>
            </a:lvl4pPr>
            <a:lvl5pPr marL="15875" indent="-15875" algn="ctr">
              <a:buNone/>
              <a:tabLst/>
              <a:defRPr sz="1200"/>
            </a:lvl5pPr>
          </a:lstStyle>
          <a:p>
            <a:pPr lvl="0"/>
            <a:r>
              <a:rPr lang="en-GB" noProof="0"/>
              <a:t>Click to add text</a:t>
            </a:r>
          </a:p>
        </p:txBody>
      </p:sp>
      <p:sp>
        <p:nvSpPr>
          <p:cNvPr id="43" name="Icon 2">
            <a:extLst>
              <a:ext uri="{FF2B5EF4-FFF2-40B4-BE49-F238E27FC236}">
                <a16:creationId xmlns:a16="http://schemas.microsoft.com/office/drawing/2014/main" id="{BF57B7AA-6436-9944-BED9-277CEAC62278}"/>
              </a:ext>
            </a:extLst>
          </p:cNvPr>
          <p:cNvSpPr>
            <a:spLocks noGrp="1"/>
          </p:cNvSpPr>
          <p:nvPr>
            <p:ph type="pic" sz="quarter" idx="23" hasCustomPrompt="1"/>
          </p:nvPr>
        </p:nvSpPr>
        <p:spPr>
          <a:xfrm>
            <a:off x="4076070" y="2003401"/>
            <a:ext cx="992237" cy="992237"/>
          </a:xfrm>
        </p:spPr>
        <p:txBody>
          <a:bodyPr/>
          <a:lstStyle>
            <a:lvl1pPr algn="ctr">
              <a:buNone/>
              <a:defRPr sz="800"/>
            </a:lvl1pPr>
          </a:lstStyle>
          <a:p>
            <a:r>
              <a:rPr lang="en-GB" sz="800" noProof="0"/>
              <a:t>Click to add icon</a:t>
            </a:r>
            <a:endParaRPr lang="en-GB" noProof="0"/>
          </a:p>
        </p:txBody>
      </p:sp>
      <p:sp>
        <p:nvSpPr>
          <p:cNvPr id="29" name="Subtitle 2">
            <a:extLst>
              <a:ext uri="{FF2B5EF4-FFF2-40B4-BE49-F238E27FC236}">
                <a16:creationId xmlns:a16="http://schemas.microsoft.com/office/drawing/2014/main" id="{C48D686F-94A2-DD46-82F1-E264BEE11C43}"/>
              </a:ext>
            </a:extLst>
          </p:cNvPr>
          <p:cNvSpPr>
            <a:spLocks noGrp="1"/>
          </p:cNvSpPr>
          <p:nvPr>
            <p:ph type="body" sz="quarter" idx="18" hasCustomPrompt="1"/>
          </p:nvPr>
        </p:nvSpPr>
        <p:spPr>
          <a:xfrm>
            <a:off x="3203575" y="3390838"/>
            <a:ext cx="2735263" cy="355993"/>
          </a:xfrm>
        </p:spPr>
        <p:txBody>
          <a:bodyPr lIns="144000" rIns="144000" anchor="b"/>
          <a:lstStyle>
            <a:lvl1pPr marL="0" indent="0" algn="ctr">
              <a:lnSpc>
                <a:spcPct val="95000"/>
              </a:lnSpc>
              <a:spcBef>
                <a:spcPts val="0"/>
              </a:spcBef>
              <a:buNone/>
              <a:tabLst/>
              <a:defRPr sz="1800" b="1"/>
            </a:lvl1pPr>
            <a:lvl2pPr marL="0" indent="0">
              <a:buNone/>
              <a:tabLst/>
              <a:defRPr sz="1200"/>
            </a:lvl2pPr>
            <a:lvl3pPr marL="0" indent="0">
              <a:buNone/>
              <a:tabLst/>
              <a:defRPr sz="1200"/>
            </a:lvl3pPr>
            <a:lvl4pPr marL="0" indent="0">
              <a:buNone/>
              <a:tabLst/>
              <a:defRPr sz="1200"/>
            </a:lvl4pPr>
            <a:lvl5pPr marL="0" indent="0">
              <a:buNone/>
              <a:tabLst/>
              <a:defRPr sz="1200"/>
            </a:lvl5pPr>
          </a:lstStyle>
          <a:p>
            <a:pPr lvl="0"/>
            <a:r>
              <a:rPr lang="en-GB" noProof="0"/>
              <a:t>Click to add headline</a:t>
            </a:r>
          </a:p>
        </p:txBody>
      </p:sp>
      <p:sp>
        <p:nvSpPr>
          <p:cNvPr id="30" name="Text 2">
            <a:extLst>
              <a:ext uri="{FF2B5EF4-FFF2-40B4-BE49-F238E27FC236}">
                <a16:creationId xmlns:a16="http://schemas.microsoft.com/office/drawing/2014/main" id="{642F0A82-A9F6-AF48-B15A-56A4F0C4908D}"/>
              </a:ext>
            </a:extLst>
          </p:cNvPr>
          <p:cNvSpPr>
            <a:spLocks noGrp="1"/>
          </p:cNvSpPr>
          <p:nvPr>
            <p:ph type="body" sz="quarter" idx="19" hasCustomPrompt="1"/>
          </p:nvPr>
        </p:nvSpPr>
        <p:spPr>
          <a:xfrm>
            <a:off x="3203575" y="3777335"/>
            <a:ext cx="2736000" cy="918490"/>
          </a:xfrm>
        </p:spPr>
        <p:txBody>
          <a:bodyPr lIns="180000" rIns="180000"/>
          <a:lstStyle>
            <a:lvl1pPr marL="15875" indent="-15875" algn="ctr">
              <a:buNone/>
              <a:tabLst/>
              <a:defRPr sz="1400"/>
            </a:lvl1pPr>
            <a:lvl2pPr marL="15875" indent="-15875" algn="ctr">
              <a:buNone/>
              <a:tabLst/>
              <a:defRPr sz="1200"/>
            </a:lvl2pPr>
            <a:lvl3pPr marL="15875" indent="-15875" algn="ctr">
              <a:buNone/>
              <a:tabLst/>
              <a:defRPr sz="1200"/>
            </a:lvl3pPr>
            <a:lvl4pPr marL="15875" indent="-15875" algn="ctr">
              <a:buNone/>
              <a:tabLst/>
              <a:defRPr sz="1200"/>
            </a:lvl4pPr>
            <a:lvl5pPr marL="15875" indent="-15875" algn="ctr">
              <a:buNone/>
              <a:tabLst/>
              <a:defRPr sz="1200"/>
            </a:lvl5pPr>
          </a:lstStyle>
          <a:p>
            <a:pPr lvl="0"/>
            <a:r>
              <a:rPr lang="en-GB" noProof="0"/>
              <a:t>Click to add text</a:t>
            </a:r>
          </a:p>
        </p:txBody>
      </p:sp>
      <p:sp>
        <p:nvSpPr>
          <p:cNvPr id="44" name="Icon 3">
            <a:extLst>
              <a:ext uri="{FF2B5EF4-FFF2-40B4-BE49-F238E27FC236}">
                <a16:creationId xmlns:a16="http://schemas.microsoft.com/office/drawing/2014/main" id="{D533FAC1-ED80-7B4E-8ECA-38C55CFD41A1}"/>
              </a:ext>
            </a:extLst>
          </p:cNvPr>
          <p:cNvSpPr>
            <a:spLocks noGrp="1"/>
          </p:cNvSpPr>
          <p:nvPr>
            <p:ph type="pic" sz="quarter" idx="24" hasCustomPrompt="1"/>
          </p:nvPr>
        </p:nvSpPr>
        <p:spPr>
          <a:xfrm>
            <a:off x="6962145" y="2003401"/>
            <a:ext cx="992237" cy="992237"/>
          </a:xfrm>
        </p:spPr>
        <p:txBody>
          <a:bodyPr/>
          <a:lstStyle>
            <a:lvl1pPr algn="ctr">
              <a:buNone/>
              <a:defRPr sz="800"/>
            </a:lvl1pPr>
          </a:lstStyle>
          <a:p>
            <a:r>
              <a:rPr lang="en-GB" sz="800" noProof="0"/>
              <a:t>Click to add icon</a:t>
            </a:r>
            <a:endParaRPr lang="en-GB" noProof="0"/>
          </a:p>
        </p:txBody>
      </p:sp>
      <p:sp>
        <p:nvSpPr>
          <p:cNvPr id="31" name="Subtitle 3">
            <a:extLst>
              <a:ext uri="{FF2B5EF4-FFF2-40B4-BE49-F238E27FC236}">
                <a16:creationId xmlns:a16="http://schemas.microsoft.com/office/drawing/2014/main" id="{54CE80BA-70B6-674B-8EEE-564BBFD7E630}"/>
              </a:ext>
            </a:extLst>
          </p:cNvPr>
          <p:cNvSpPr>
            <a:spLocks noGrp="1"/>
          </p:cNvSpPr>
          <p:nvPr>
            <p:ph type="body" sz="quarter" idx="20" hasCustomPrompt="1"/>
          </p:nvPr>
        </p:nvSpPr>
        <p:spPr>
          <a:xfrm>
            <a:off x="6084888" y="3390838"/>
            <a:ext cx="2735262" cy="355993"/>
          </a:xfrm>
        </p:spPr>
        <p:txBody>
          <a:bodyPr lIns="144000" rIns="144000" anchor="b"/>
          <a:lstStyle>
            <a:lvl1pPr marL="0" indent="0" algn="ctr">
              <a:lnSpc>
                <a:spcPct val="95000"/>
              </a:lnSpc>
              <a:spcBef>
                <a:spcPts val="0"/>
              </a:spcBef>
              <a:buNone/>
              <a:tabLst/>
              <a:defRPr sz="1800" b="1"/>
            </a:lvl1pPr>
            <a:lvl2pPr marL="0" indent="0">
              <a:buNone/>
              <a:tabLst/>
              <a:defRPr sz="1200"/>
            </a:lvl2pPr>
            <a:lvl3pPr marL="0" indent="0">
              <a:buNone/>
              <a:tabLst/>
              <a:defRPr sz="1200"/>
            </a:lvl3pPr>
            <a:lvl4pPr marL="0" indent="0">
              <a:buNone/>
              <a:tabLst/>
              <a:defRPr sz="1200"/>
            </a:lvl4pPr>
            <a:lvl5pPr marL="0" indent="0">
              <a:buNone/>
              <a:tabLst/>
              <a:defRPr sz="1200"/>
            </a:lvl5pPr>
          </a:lstStyle>
          <a:p>
            <a:pPr lvl="0"/>
            <a:r>
              <a:rPr lang="en-GB" noProof="0"/>
              <a:t>Click to add headline</a:t>
            </a:r>
          </a:p>
        </p:txBody>
      </p:sp>
      <p:sp>
        <p:nvSpPr>
          <p:cNvPr id="32" name="Text 3">
            <a:extLst>
              <a:ext uri="{FF2B5EF4-FFF2-40B4-BE49-F238E27FC236}">
                <a16:creationId xmlns:a16="http://schemas.microsoft.com/office/drawing/2014/main" id="{F5FFA93D-6EB2-9F4D-A77F-D10B1DBE6477}"/>
              </a:ext>
            </a:extLst>
          </p:cNvPr>
          <p:cNvSpPr>
            <a:spLocks noGrp="1"/>
          </p:cNvSpPr>
          <p:nvPr>
            <p:ph type="body" sz="quarter" idx="21" hasCustomPrompt="1"/>
          </p:nvPr>
        </p:nvSpPr>
        <p:spPr>
          <a:xfrm>
            <a:off x="6084888" y="3777335"/>
            <a:ext cx="2736000" cy="918490"/>
          </a:xfrm>
        </p:spPr>
        <p:txBody>
          <a:bodyPr lIns="180000" rIns="180000"/>
          <a:lstStyle>
            <a:lvl1pPr marL="15875" indent="-15875" algn="ctr">
              <a:buNone/>
              <a:tabLst/>
              <a:defRPr sz="1400"/>
            </a:lvl1pPr>
            <a:lvl2pPr marL="15875" indent="-15875" algn="ctr">
              <a:buNone/>
              <a:tabLst/>
              <a:defRPr sz="1200"/>
            </a:lvl2pPr>
            <a:lvl3pPr marL="15875" indent="-15875" algn="ctr">
              <a:buNone/>
              <a:tabLst/>
              <a:defRPr sz="1200"/>
            </a:lvl3pPr>
            <a:lvl4pPr marL="15875" indent="-15875" algn="ctr">
              <a:buNone/>
              <a:tabLst/>
              <a:defRPr sz="1200"/>
            </a:lvl4pPr>
            <a:lvl5pPr marL="15875" indent="-15875" algn="ctr">
              <a:buNone/>
              <a:tabLst/>
              <a:defRPr sz="1200"/>
            </a:lvl5pPr>
          </a:lstStyle>
          <a:p>
            <a:pPr lvl="0"/>
            <a:r>
              <a:rPr lang="en-GB" noProof="0"/>
              <a:t>Click to add text</a:t>
            </a:r>
          </a:p>
        </p:txBody>
      </p:sp>
      <p:sp>
        <p:nvSpPr>
          <p:cNvPr id="35" name="Date">
            <a:extLst>
              <a:ext uri="{FF2B5EF4-FFF2-40B4-BE49-F238E27FC236}">
                <a16:creationId xmlns:a16="http://schemas.microsoft.com/office/drawing/2014/main" id="{EBF909F0-CE1B-3D46-83B7-E4DA279DC19B}"/>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216FCBE7-2ACC-477E-82AF-35572DE3DADE}" type="datetime1">
              <a:rPr lang="sv-SE" noProof="0" smtClean="0"/>
              <a:t>2025-09-04</a:t>
            </a:fld>
            <a:endParaRPr lang="en-GB" noProof="0"/>
          </a:p>
        </p:txBody>
      </p:sp>
      <p:sp>
        <p:nvSpPr>
          <p:cNvPr id="36" name="Number">
            <a:extLst>
              <a:ext uri="{FF2B5EF4-FFF2-40B4-BE49-F238E27FC236}">
                <a16:creationId xmlns:a16="http://schemas.microsoft.com/office/drawing/2014/main" id="{EB2FF840-5D29-6845-91DA-E82490F28637}"/>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8" name="Footer">
            <a:extLst>
              <a:ext uri="{FF2B5EF4-FFF2-40B4-BE49-F238E27FC236}">
                <a16:creationId xmlns:a16="http://schemas.microsoft.com/office/drawing/2014/main" id="{004EB2A8-772A-6F45-A53E-60955D52F3A6}"/>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2164170551"/>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and Subtitle Only">
    <p:spTree>
      <p:nvGrpSpPr>
        <p:cNvPr id="1" name=""/>
        <p:cNvGrpSpPr/>
        <p:nvPr/>
      </p:nvGrpSpPr>
      <p:grpSpPr>
        <a:xfrm>
          <a:off x="0" y="0"/>
          <a:ext cx="0" cy="0"/>
          <a:chOff x="0" y="0"/>
          <a:chExt cx="0" cy="0"/>
        </a:xfrm>
      </p:grpSpPr>
      <p:sp>
        <p:nvSpPr>
          <p:cNvPr id="17" name="Do not remove" hidden="1">
            <a:extLst>
              <a:ext uri="{FF2B5EF4-FFF2-40B4-BE49-F238E27FC236}">
                <a16:creationId xmlns:a16="http://schemas.microsoft.com/office/drawing/2014/main" id="{1851193D-6BA6-4114-8B2A-48E0FF8BAC2E}"/>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err="1"/>
          </a:p>
        </p:txBody>
      </p:sp>
      <p:sp>
        <p:nvSpPr>
          <p:cNvPr id="2" name="Title 1"/>
          <p:cNvSpPr>
            <a:spLocks noGrp="1"/>
          </p:cNvSpPr>
          <p:nvPr>
            <p:ph type="title"/>
          </p:nvPr>
        </p:nvSpPr>
        <p:spPr/>
        <p:txBody>
          <a:bodyPr/>
          <a:lstStyle/>
          <a:p>
            <a:r>
              <a:t>Click to edit Master title style</a:t>
            </a:r>
          </a:p>
        </p:txBody>
      </p:sp>
      <p:sp>
        <p:nvSpPr>
          <p:cNvPr id="6" name="Text Placeholder 7">
            <a:extLst>
              <a:ext uri="{FF2B5EF4-FFF2-40B4-BE49-F238E27FC236}">
                <a16:creationId xmlns:a16="http://schemas.microsoft.com/office/drawing/2014/main" id="{DB30CD67-C5F7-4678-9EAE-4B57EF238995}"/>
              </a:ext>
            </a:extLst>
          </p:cNvPr>
          <p:cNvSpPr>
            <a:spLocks noGrp="1"/>
          </p:cNvSpPr>
          <p:nvPr>
            <p:ph type="body" sz="quarter" idx="13" hasCustomPrompt="1"/>
          </p:nvPr>
        </p:nvSpPr>
        <p:spPr>
          <a:xfrm>
            <a:off x="190500" y="656726"/>
            <a:ext cx="8763000" cy="276724"/>
          </a:xfrm>
        </p:spPr>
        <p:txBody>
          <a:bodyPr anchor="t"/>
          <a:lstStyle>
            <a:lvl1pPr marL="0" indent="0">
              <a:lnSpc>
                <a:spcPct val="85000"/>
              </a:lnSpc>
              <a:spcBef>
                <a:spcPts val="0"/>
              </a:spcBef>
              <a:buFont typeface="Arial" panose="020B0604020202020204" pitchFamily="34" charset="0"/>
              <a:buNone/>
              <a:defRPr sz="1400"/>
            </a:lvl1pPr>
            <a:lvl2pPr marL="0" indent="0">
              <a:lnSpc>
                <a:spcPct val="85000"/>
              </a:lnSpc>
              <a:spcBef>
                <a:spcPts val="0"/>
              </a:spcBef>
              <a:buFont typeface="Arial" panose="020B0604020202020204" pitchFamily="34" charset="0"/>
              <a:buNone/>
              <a:defRPr sz="1400"/>
            </a:lvl2pPr>
            <a:lvl3pPr marL="0" indent="0">
              <a:lnSpc>
                <a:spcPct val="85000"/>
              </a:lnSpc>
              <a:spcBef>
                <a:spcPts val="0"/>
              </a:spcBef>
              <a:buFont typeface="Arial" panose="020B0604020202020204" pitchFamily="34" charset="0"/>
              <a:buNone/>
              <a:defRPr sz="1400"/>
            </a:lvl3pPr>
            <a:lvl4pPr marL="0" indent="0">
              <a:lnSpc>
                <a:spcPct val="85000"/>
              </a:lnSpc>
              <a:spcBef>
                <a:spcPts val="0"/>
              </a:spcBef>
              <a:buFont typeface="Arial" panose="020B0604020202020204" pitchFamily="34" charset="0"/>
              <a:buNone/>
              <a:defRPr sz="1400"/>
            </a:lvl4pPr>
            <a:lvl5pPr marL="0" indent="0">
              <a:lnSpc>
                <a:spcPct val="85000"/>
              </a:lnSpc>
              <a:spcBef>
                <a:spcPts val="0"/>
              </a:spcBef>
              <a:buFont typeface="Arial" panose="020B0604020202020204" pitchFamily="34" charset="0"/>
              <a:buNone/>
              <a:defRPr sz="1400"/>
            </a:lvl5pPr>
            <a:lvl6pPr marL="0" indent="0">
              <a:lnSpc>
                <a:spcPct val="85000"/>
              </a:lnSpc>
              <a:spcBef>
                <a:spcPts val="0"/>
              </a:spcBef>
              <a:buNone/>
              <a:defRPr sz="1400"/>
            </a:lvl6pPr>
            <a:lvl7pPr marL="0" indent="0">
              <a:lnSpc>
                <a:spcPct val="85000"/>
              </a:lnSpc>
              <a:spcBef>
                <a:spcPts val="0"/>
              </a:spcBef>
              <a:buNone/>
              <a:defRPr sz="1400"/>
            </a:lvl7pPr>
            <a:lvl8pPr marL="0" indent="0">
              <a:lnSpc>
                <a:spcPct val="85000"/>
              </a:lnSpc>
              <a:spcBef>
                <a:spcPts val="0"/>
              </a:spcBef>
              <a:buNone/>
              <a:defRPr sz="1400"/>
            </a:lvl8pPr>
            <a:lvl9pPr marL="0" indent="0">
              <a:lnSpc>
                <a:spcPct val="85000"/>
              </a:lnSpc>
              <a:spcBef>
                <a:spcPts val="0"/>
              </a:spcBef>
              <a:buNone/>
              <a:defRPr sz="1400"/>
            </a:lvl9pPr>
          </a:lstStyle>
          <a:p>
            <a:pPr lvl="0"/>
            <a:r>
              <a:t>Optional subtitle</a:t>
            </a:r>
          </a:p>
        </p:txBody>
      </p:sp>
      <p:sp>
        <p:nvSpPr>
          <p:cNvPr id="7" name="Text Placeholder 9">
            <a:extLst>
              <a:ext uri="{FF2B5EF4-FFF2-40B4-BE49-F238E27FC236}">
                <a16:creationId xmlns:a16="http://schemas.microsoft.com/office/drawing/2014/main" id="{5103827E-F203-4B28-84C7-FED54BF5257A}"/>
              </a:ext>
            </a:extLst>
          </p:cNvPr>
          <p:cNvSpPr>
            <a:spLocks noGrp="1"/>
          </p:cNvSpPr>
          <p:nvPr>
            <p:ph type="body" sz="quarter" idx="14" hasCustomPrompt="1"/>
          </p:nvPr>
        </p:nvSpPr>
        <p:spPr>
          <a:xfrm>
            <a:off x="266702" y="4818056"/>
            <a:ext cx="3594735" cy="182562"/>
          </a:xfrm>
        </p:spPr>
        <p:txBody>
          <a:bodyPr anchor="ctr"/>
          <a:lstStyle>
            <a:lvl1pPr marL="0" indent="0">
              <a:spcBef>
                <a:spcPts val="0"/>
              </a:spcBef>
              <a:buNone/>
              <a:defRPr sz="700"/>
            </a:lvl1pPr>
            <a:lvl2pPr marL="0" indent="0">
              <a:spcBef>
                <a:spcPts val="0"/>
              </a:spcBef>
              <a:buNone/>
              <a:defRPr sz="700"/>
            </a:lvl2pPr>
            <a:lvl3pPr marL="0" indent="0">
              <a:spcBef>
                <a:spcPts val="0"/>
              </a:spcBef>
              <a:buNone/>
              <a:defRPr sz="700"/>
            </a:lvl3pPr>
            <a:lvl4pPr marL="0" indent="0">
              <a:spcBef>
                <a:spcPts val="0"/>
              </a:spcBef>
              <a:buNone/>
              <a:defRPr sz="700"/>
            </a:lvl4pPr>
            <a:lvl5pPr marL="0" indent="0">
              <a:spcBef>
                <a:spcPts val="0"/>
              </a:spcBef>
              <a:buNone/>
              <a:defRPr sz="700"/>
            </a:lvl5pPr>
            <a:lvl6pPr marL="0" indent="0">
              <a:spcBef>
                <a:spcPts val="0"/>
              </a:spcBef>
              <a:buNone/>
              <a:defRPr sz="700"/>
            </a:lvl6pPr>
            <a:lvl7pPr marL="0" indent="0">
              <a:spcBef>
                <a:spcPts val="0"/>
              </a:spcBef>
              <a:buNone/>
              <a:defRPr sz="700"/>
            </a:lvl7pPr>
            <a:lvl8pPr marL="0" indent="0">
              <a:spcBef>
                <a:spcPts val="0"/>
              </a:spcBef>
              <a:buNone/>
              <a:defRPr sz="700"/>
            </a:lvl8pPr>
            <a:lvl9pPr marL="0" indent="0">
              <a:spcBef>
                <a:spcPts val="0"/>
              </a:spcBef>
              <a:buNone/>
              <a:defRPr sz="700"/>
            </a:lvl9pPr>
          </a:lstStyle>
          <a:p>
            <a:pPr lvl="0"/>
            <a:r>
              <a:t>Source / reference</a:t>
            </a:r>
          </a:p>
        </p:txBody>
      </p:sp>
      <p:sp>
        <p:nvSpPr>
          <p:cNvPr id="9" name="Date Placeholder 8">
            <a:extLst>
              <a:ext uri="{FF2B5EF4-FFF2-40B4-BE49-F238E27FC236}">
                <a16:creationId xmlns:a16="http://schemas.microsoft.com/office/drawing/2014/main" id="{01D30E11-F6D2-4604-A19B-07B6606C9111}"/>
              </a:ext>
            </a:extLst>
          </p:cNvPr>
          <p:cNvSpPr>
            <a:spLocks noGrp="1"/>
          </p:cNvSpPr>
          <p:nvPr>
            <p:ph type="dt" sz="half" idx="15"/>
          </p:nvPr>
        </p:nvSpPr>
        <p:spPr/>
        <p:txBody>
          <a:bodyPr/>
          <a:lstStyle/>
          <a:p>
            <a:fld id="{CB1E2C2D-A202-41F3-AE43-64678148C0FC}" type="datetime1">
              <a:rPr lang="sv-SE" smtClean="0"/>
              <a:t>2025-09-04</a:t>
            </a:fld>
            <a:endParaRPr/>
          </a:p>
        </p:txBody>
      </p:sp>
      <p:sp>
        <p:nvSpPr>
          <p:cNvPr id="11" name="Slide Number Placeholder 10">
            <a:extLst>
              <a:ext uri="{FF2B5EF4-FFF2-40B4-BE49-F238E27FC236}">
                <a16:creationId xmlns:a16="http://schemas.microsoft.com/office/drawing/2014/main" id="{CAACBBAC-6BDD-4E3F-84CC-9251DB160C25}"/>
              </a:ext>
            </a:extLst>
          </p:cNvPr>
          <p:cNvSpPr>
            <a:spLocks noGrp="1"/>
          </p:cNvSpPr>
          <p:nvPr>
            <p:ph type="sldNum" sz="quarter" idx="17"/>
          </p:nvPr>
        </p:nvSpPr>
        <p:spPr/>
        <p:txBody>
          <a:bodyPr/>
          <a:lstStyle/>
          <a:p>
            <a:fld id="{29C88BE4-63BC-4A33-B317-7E3947361759}" type="slidenum">
              <a:rPr/>
              <a:pPr/>
              <a:t>‹nr.›</a:t>
            </a:fld>
            <a:endParaRPr/>
          </a:p>
        </p:txBody>
      </p:sp>
      <p:sp>
        <p:nvSpPr>
          <p:cNvPr id="12" name="Text Placeholder 10">
            <a:extLst>
              <a:ext uri="{FF2B5EF4-FFF2-40B4-BE49-F238E27FC236}">
                <a16:creationId xmlns:a16="http://schemas.microsoft.com/office/drawing/2014/main" id="{AE83FC14-CDA0-49C1-9F8E-251926B98140}"/>
              </a:ext>
            </a:extLst>
          </p:cNvPr>
          <p:cNvSpPr>
            <a:spLocks noGrp="1"/>
          </p:cNvSpPr>
          <p:nvPr>
            <p:ph type="body" sz="quarter" idx="22" hasCustomPrompt="1"/>
          </p:nvPr>
        </p:nvSpPr>
        <p:spPr>
          <a:xfrm>
            <a:off x="190500" y="45593"/>
            <a:ext cx="4572000" cy="170094"/>
          </a:xfrm>
        </p:spPr>
        <p:txBody>
          <a:bodyPr/>
          <a:lstStyle>
            <a:lvl1pPr marL="0" indent="0">
              <a:spcBef>
                <a:spcPts val="0"/>
              </a:spcBef>
              <a:buNone/>
              <a:defRPr sz="1000">
                <a:solidFill>
                  <a:srgbClr val="898989"/>
                </a:solidFill>
              </a:defRPr>
            </a:lvl1pPr>
            <a:lvl2pPr marL="0" indent="0">
              <a:spcBef>
                <a:spcPts val="0"/>
              </a:spcBef>
              <a:buNone/>
              <a:defRPr sz="1000">
                <a:solidFill>
                  <a:schemeClr val="tx2"/>
                </a:solidFill>
              </a:defRPr>
            </a:lvl2pPr>
            <a:lvl3pPr marL="0" indent="0">
              <a:spcBef>
                <a:spcPts val="0"/>
              </a:spcBef>
              <a:buNone/>
              <a:defRPr sz="1000">
                <a:solidFill>
                  <a:schemeClr val="tx2"/>
                </a:solidFill>
              </a:defRPr>
            </a:lvl3pPr>
            <a:lvl4pPr marL="0" indent="0">
              <a:spcBef>
                <a:spcPts val="0"/>
              </a:spcBef>
              <a:buNone/>
              <a:defRPr sz="1000">
                <a:solidFill>
                  <a:schemeClr val="tx2"/>
                </a:solidFill>
              </a:defRPr>
            </a:lvl4pPr>
            <a:lvl5pPr marL="0" indent="0">
              <a:spcBef>
                <a:spcPts val="0"/>
              </a:spcBef>
              <a:buNone/>
              <a:defRPr sz="1000">
                <a:solidFill>
                  <a:schemeClr val="tx2"/>
                </a:solidFill>
              </a:defRPr>
            </a:lvl5pPr>
            <a:lvl6pPr marL="0" indent="0">
              <a:spcBef>
                <a:spcPts val="0"/>
              </a:spcBef>
              <a:buNone/>
              <a:defRPr sz="1000">
                <a:solidFill>
                  <a:schemeClr val="tx2"/>
                </a:solidFill>
              </a:defRPr>
            </a:lvl6pPr>
            <a:lvl7pPr marL="0" indent="0">
              <a:spcBef>
                <a:spcPts val="0"/>
              </a:spcBef>
              <a:buNone/>
              <a:defRPr sz="1000">
                <a:solidFill>
                  <a:schemeClr val="tx2"/>
                </a:solidFill>
              </a:defRPr>
            </a:lvl7pPr>
            <a:lvl8pPr marL="0" indent="0">
              <a:spcBef>
                <a:spcPts val="0"/>
              </a:spcBef>
              <a:buNone/>
              <a:defRPr sz="1000">
                <a:solidFill>
                  <a:schemeClr val="tx2"/>
                </a:solidFill>
              </a:defRPr>
            </a:lvl8pPr>
            <a:lvl9pPr marL="0" indent="0">
              <a:spcBef>
                <a:spcPts val="0"/>
              </a:spcBef>
              <a:buNone/>
              <a:defRPr sz="1000">
                <a:solidFill>
                  <a:schemeClr val="tx2"/>
                </a:solidFill>
              </a:defRPr>
            </a:lvl9pPr>
          </a:lstStyle>
          <a:p>
            <a:pPr lvl="0"/>
            <a:r>
              <a:t>Section title / tracker text</a:t>
            </a:r>
          </a:p>
        </p:txBody>
      </p:sp>
    </p:spTree>
    <p:extLst>
      <p:ext uri="{BB962C8B-B14F-4D97-AF65-F5344CB8AC3E}">
        <p14:creationId xmlns:p14="http://schemas.microsoft.com/office/powerpoint/2010/main" val="2878763853"/>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2 Content and Icons">
    <p:spTree>
      <p:nvGrpSpPr>
        <p:cNvPr id="1" name=""/>
        <p:cNvGrpSpPr/>
        <p:nvPr/>
      </p:nvGrpSpPr>
      <p:grpSpPr>
        <a:xfrm>
          <a:off x="0" y="0"/>
          <a:ext cx="0" cy="0"/>
          <a:chOff x="0" y="0"/>
          <a:chExt cx="0" cy="0"/>
        </a:xfrm>
      </p:grpSpPr>
      <p:sp>
        <p:nvSpPr>
          <p:cNvPr id="17" name="Rektangel 16">
            <a:extLst>
              <a:ext uri="{FF2B5EF4-FFF2-40B4-BE49-F238E27FC236}">
                <a16:creationId xmlns:a16="http://schemas.microsoft.com/office/drawing/2014/main" id="{B9AB2759-9287-7F4F-9632-FB7BB2A7D5E4}"/>
              </a:ext>
            </a:extLst>
          </p:cNvPr>
          <p:cNvSpPr/>
          <p:nvPr userDrawn="1"/>
        </p:nvSpPr>
        <p:spPr>
          <a:xfrm>
            <a:off x="179390" y="158752"/>
            <a:ext cx="5761037" cy="46815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3" name="Rektangel 12">
            <a:extLst>
              <a:ext uri="{FF2B5EF4-FFF2-40B4-BE49-F238E27FC236}">
                <a16:creationId xmlns:a16="http://schemas.microsoft.com/office/drawing/2014/main" id="{08337292-D5AF-0645-B996-9DFFE335F520}"/>
              </a:ext>
            </a:extLst>
          </p:cNvPr>
          <p:cNvSpPr/>
          <p:nvPr userDrawn="1"/>
        </p:nvSpPr>
        <p:spPr>
          <a:xfrm>
            <a:off x="6084888" y="158751"/>
            <a:ext cx="2879724" cy="22685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4" name="Rektangel 13">
            <a:extLst>
              <a:ext uri="{FF2B5EF4-FFF2-40B4-BE49-F238E27FC236}">
                <a16:creationId xmlns:a16="http://schemas.microsoft.com/office/drawing/2014/main" id="{98758F95-3C10-B44C-BF5E-52F4621F954F}"/>
              </a:ext>
            </a:extLst>
          </p:cNvPr>
          <p:cNvSpPr/>
          <p:nvPr userDrawn="1"/>
        </p:nvSpPr>
        <p:spPr>
          <a:xfrm>
            <a:off x="6084888" y="2571750"/>
            <a:ext cx="2879724" cy="22685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6" name="Title">
            <a:extLst>
              <a:ext uri="{FF2B5EF4-FFF2-40B4-BE49-F238E27FC236}">
                <a16:creationId xmlns:a16="http://schemas.microsoft.com/office/drawing/2014/main" id="{29C1BAB5-302C-E24B-AF46-F5810100CE40}"/>
              </a:ext>
            </a:extLst>
          </p:cNvPr>
          <p:cNvSpPr>
            <a:spLocks noGrp="1"/>
          </p:cNvSpPr>
          <p:nvPr>
            <p:ph type="title" hasCustomPrompt="1"/>
          </p:nvPr>
        </p:nvSpPr>
        <p:spPr>
          <a:xfrm>
            <a:off x="323853" y="545328"/>
            <a:ext cx="5616574" cy="741454"/>
          </a:xfrm>
        </p:spPr>
        <p:txBody>
          <a:bodyPr rIns="216000"/>
          <a:lstStyle>
            <a:lvl1pPr>
              <a:defRPr spc="-50" baseline="0"/>
            </a:lvl1pPr>
          </a:lstStyle>
          <a:p>
            <a:r>
              <a:rPr lang="en-GB" noProof="0"/>
              <a:t>Click to add a headline of maximum two lines</a:t>
            </a:r>
          </a:p>
        </p:txBody>
      </p:sp>
      <p:sp>
        <p:nvSpPr>
          <p:cNvPr id="9" name="Navigation">
            <a:extLst>
              <a:ext uri="{FF2B5EF4-FFF2-40B4-BE49-F238E27FC236}">
                <a16:creationId xmlns:a16="http://schemas.microsoft.com/office/drawing/2014/main" id="{03424855-B277-8744-9C85-9975925B8200}"/>
              </a:ext>
            </a:extLst>
          </p:cNvPr>
          <p:cNvSpPr>
            <a:spLocks noGrp="1"/>
          </p:cNvSpPr>
          <p:nvPr>
            <p:ph type="body" sz="quarter" idx="14" hasCustomPrompt="1"/>
          </p:nvPr>
        </p:nvSpPr>
        <p:spPr>
          <a:xfrm>
            <a:off x="323850" y="276227"/>
            <a:ext cx="5616574" cy="276999"/>
          </a:xfrm>
        </p:spPr>
        <p:txBody>
          <a:bodyPr lIns="111600" rIns="216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a:t>
            </a:r>
            <a:r>
              <a:rPr lang="en-GB" noProof="0" err="1"/>
              <a:t>subheader</a:t>
            </a:r>
            <a:endParaRPr lang="en-GB" noProof="0"/>
          </a:p>
        </p:txBody>
      </p:sp>
      <p:sp>
        <p:nvSpPr>
          <p:cNvPr id="21" name="Subheader 1">
            <a:extLst>
              <a:ext uri="{FF2B5EF4-FFF2-40B4-BE49-F238E27FC236}">
                <a16:creationId xmlns:a16="http://schemas.microsoft.com/office/drawing/2014/main" id="{57967130-C256-E443-BF6D-9CFC31CE5F76}"/>
              </a:ext>
            </a:extLst>
          </p:cNvPr>
          <p:cNvSpPr>
            <a:spLocks noGrp="1"/>
          </p:cNvSpPr>
          <p:nvPr>
            <p:ph type="body" sz="quarter" idx="18" hasCustomPrompt="1"/>
          </p:nvPr>
        </p:nvSpPr>
        <p:spPr>
          <a:xfrm>
            <a:off x="323850" y="1360489"/>
            <a:ext cx="5616574" cy="307568"/>
          </a:xfrm>
        </p:spPr>
        <p:txBody>
          <a:bodyPr lIns="97200" rIns="216000"/>
          <a:lstStyle>
            <a:lvl1pPr marL="0" indent="0" algn="l">
              <a:lnSpc>
                <a:spcPct val="95000"/>
              </a:lnSpc>
              <a:spcBef>
                <a:spcPts val="0"/>
              </a:spcBef>
              <a:buNone/>
              <a:tabLst/>
              <a:defRPr sz="1200" b="1" spc="0" baseline="0"/>
            </a:lvl1pPr>
            <a:lvl2pPr marL="14288" indent="0" algn="ctr">
              <a:tabLst/>
              <a:defRPr/>
            </a:lvl2pPr>
            <a:lvl3pPr marL="14288" indent="0" algn="ctr">
              <a:tabLst/>
              <a:defRPr/>
            </a:lvl3pPr>
            <a:lvl4pPr marL="14288" indent="0" algn="ctr">
              <a:tabLst/>
              <a:defRPr/>
            </a:lvl4pPr>
            <a:lvl5pPr marL="14288" indent="0" algn="ctr">
              <a:tabLst/>
              <a:defRPr/>
            </a:lvl5pPr>
          </a:lstStyle>
          <a:p>
            <a:pPr lvl="0"/>
            <a:r>
              <a:rPr lang="en-GB" noProof="0"/>
              <a:t>Click to add </a:t>
            </a:r>
            <a:r>
              <a:rPr lang="en-GB" noProof="0" err="1"/>
              <a:t>subheader</a:t>
            </a:r>
            <a:endParaRPr lang="en-GB" noProof="0"/>
          </a:p>
        </p:txBody>
      </p:sp>
      <p:sp>
        <p:nvSpPr>
          <p:cNvPr id="6" name="Content placeholder 1">
            <a:extLst>
              <a:ext uri="{FF2B5EF4-FFF2-40B4-BE49-F238E27FC236}">
                <a16:creationId xmlns:a16="http://schemas.microsoft.com/office/drawing/2014/main" id="{96AD6290-61E6-7C43-94B1-C5CC251D9CEF}"/>
              </a:ext>
            </a:extLst>
          </p:cNvPr>
          <p:cNvSpPr>
            <a:spLocks noGrp="1"/>
          </p:cNvSpPr>
          <p:nvPr>
            <p:ph sz="quarter" idx="24" hasCustomPrompt="1"/>
          </p:nvPr>
        </p:nvSpPr>
        <p:spPr>
          <a:xfrm>
            <a:off x="323851" y="1758126"/>
            <a:ext cx="5414400" cy="2838450"/>
          </a:xfrm>
        </p:spPr>
        <p:txBody>
          <a:bodyPr/>
          <a:lstStyle/>
          <a:p>
            <a:pPr lvl="0"/>
            <a:r>
              <a:rPr lang="en-GB" noProof="0"/>
              <a:t>Click on the icons to add the desired content</a:t>
            </a:r>
          </a:p>
        </p:txBody>
      </p:sp>
      <p:sp>
        <p:nvSpPr>
          <p:cNvPr id="15" name="Icon 1">
            <a:extLst>
              <a:ext uri="{FF2B5EF4-FFF2-40B4-BE49-F238E27FC236}">
                <a16:creationId xmlns:a16="http://schemas.microsoft.com/office/drawing/2014/main" id="{B473F1D6-8119-C945-A4CE-75EC5B5E69AD}"/>
              </a:ext>
            </a:extLst>
          </p:cNvPr>
          <p:cNvSpPr>
            <a:spLocks noGrp="1" noChangeAspect="1"/>
          </p:cNvSpPr>
          <p:nvPr>
            <p:ph type="pic" sz="quarter" idx="25" hasCustomPrompt="1"/>
          </p:nvPr>
        </p:nvSpPr>
        <p:spPr>
          <a:xfrm>
            <a:off x="7128750" y="457782"/>
            <a:ext cx="792000" cy="792000"/>
          </a:xfrm>
        </p:spPr>
        <p:txBody>
          <a:bodyPr/>
          <a:lstStyle>
            <a:lvl1pPr algn="ctr">
              <a:buNone/>
              <a:defRPr sz="600"/>
            </a:lvl1pPr>
          </a:lstStyle>
          <a:p>
            <a:r>
              <a:rPr lang="en-GB" sz="800" noProof="0"/>
              <a:t>Click to add icon</a:t>
            </a:r>
            <a:endParaRPr lang="en-GB" noProof="0"/>
          </a:p>
        </p:txBody>
      </p:sp>
      <p:sp>
        <p:nvSpPr>
          <p:cNvPr id="24" name="Subheader 2">
            <a:extLst>
              <a:ext uri="{FF2B5EF4-FFF2-40B4-BE49-F238E27FC236}">
                <a16:creationId xmlns:a16="http://schemas.microsoft.com/office/drawing/2014/main" id="{C8438C09-FD66-224E-AF0B-31D8EABA1ADD}"/>
              </a:ext>
            </a:extLst>
          </p:cNvPr>
          <p:cNvSpPr>
            <a:spLocks noGrp="1"/>
          </p:cNvSpPr>
          <p:nvPr>
            <p:ph type="body" sz="quarter" idx="20" hasCustomPrompt="1"/>
          </p:nvPr>
        </p:nvSpPr>
        <p:spPr>
          <a:xfrm>
            <a:off x="6208747" y="1360488"/>
            <a:ext cx="2632010" cy="288000"/>
          </a:xfrm>
        </p:spPr>
        <p:txBody>
          <a:bodyPr lIns="144000" rIns="144000"/>
          <a:lstStyle>
            <a:lvl1pPr marL="0" indent="0" algn="ctr">
              <a:lnSpc>
                <a:spcPct val="95000"/>
              </a:lnSpc>
              <a:spcBef>
                <a:spcPts val="0"/>
              </a:spcBef>
              <a:buNone/>
              <a:tabLst/>
              <a:defRPr sz="1200" b="1" spc="0" baseline="0"/>
            </a:lvl1pPr>
            <a:lvl2pPr marL="14288" indent="0" algn="ctr">
              <a:tabLst/>
              <a:defRPr/>
            </a:lvl2pPr>
            <a:lvl3pPr marL="14288" indent="0" algn="ctr">
              <a:tabLst/>
              <a:defRPr/>
            </a:lvl3pPr>
            <a:lvl4pPr marL="14288" indent="0" algn="ctr">
              <a:tabLst/>
              <a:defRPr/>
            </a:lvl4pPr>
            <a:lvl5pPr marL="14288" indent="0" algn="ctr">
              <a:tabLst/>
              <a:defRPr/>
            </a:lvl5pPr>
          </a:lstStyle>
          <a:p>
            <a:pPr lvl="0"/>
            <a:r>
              <a:rPr lang="en-GB" noProof="0"/>
              <a:t>Click to add headline</a:t>
            </a:r>
          </a:p>
        </p:txBody>
      </p:sp>
      <p:sp>
        <p:nvSpPr>
          <p:cNvPr id="22" name="Text 1">
            <a:extLst>
              <a:ext uri="{FF2B5EF4-FFF2-40B4-BE49-F238E27FC236}">
                <a16:creationId xmlns:a16="http://schemas.microsoft.com/office/drawing/2014/main" id="{2ED96B5D-39C3-F14C-9A9F-F2BAF38C7805}"/>
              </a:ext>
            </a:extLst>
          </p:cNvPr>
          <p:cNvSpPr>
            <a:spLocks noGrp="1"/>
          </p:cNvSpPr>
          <p:nvPr>
            <p:ph type="body" sz="quarter" idx="22" hasCustomPrompt="1"/>
          </p:nvPr>
        </p:nvSpPr>
        <p:spPr>
          <a:xfrm>
            <a:off x="6208746" y="1658112"/>
            <a:ext cx="2632009" cy="594547"/>
          </a:xfrm>
        </p:spPr>
        <p:txBody>
          <a:bodyPr lIns="144000" rIns="144000"/>
          <a:lstStyle>
            <a:lvl1pPr marL="12700" indent="-12700" algn="ctr">
              <a:buNone/>
              <a:tabLst/>
              <a:defRPr/>
            </a:lvl1pPr>
            <a:lvl2pPr marL="12700" indent="-12700" algn="ctr">
              <a:buNone/>
              <a:tabLst/>
              <a:defRPr/>
            </a:lvl2pPr>
            <a:lvl3pPr marL="12700" indent="-12700" algn="ctr">
              <a:buNone/>
              <a:tabLst/>
              <a:defRPr/>
            </a:lvl3pPr>
            <a:lvl4pPr marL="12700" indent="-12700" algn="ctr">
              <a:buNone/>
              <a:tabLst/>
              <a:defRPr/>
            </a:lvl4pPr>
            <a:lvl5pPr marL="12700" indent="-12700" algn="ctr">
              <a:buNone/>
              <a:tabLst/>
              <a:defRPr/>
            </a:lvl5pPr>
          </a:lstStyle>
          <a:p>
            <a:pPr lvl="0"/>
            <a:r>
              <a:rPr lang="en-GB" noProof="0"/>
              <a:t>Click to add short description text</a:t>
            </a:r>
          </a:p>
        </p:txBody>
      </p:sp>
      <p:sp>
        <p:nvSpPr>
          <p:cNvPr id="28" name="Icon 2">
            <a:extLst>
              <a:ext uri="{FF2B5EF4-FFF2-40B4-BE49-F238E27FC236}">
                <a16:creationId xmlns:a16="http://schemas.microsoft.com/office/drawing/2014/main" id="{7EEFDE69-B589-2A48-BD46-9F307DEDE342}"/>
              </a:ext>
            </a:extLst>
          </p:cNvPr>
          <p:cNvSpPr>
            <a:spLocks noGrp="1" noChangeAspect="1"/>
          </p:cNvSpPr>
          <p:nvPr>
            <p:ph type="pic" sz="quarter" idx="27" hasCustomPrompt="1"/>
          </p:nvPr>
        </p:nvSpPr>
        <p:spPr>
          <a:xfrm>
            <a:off x="7128750" y="2858087"/>
            <a:ext cx="792000" cy="792000"/>
          </a:xfrm>
        </p:spPr>
        <p:txBody>
          <a:bodyPr/>
          <a:lstStyle>
            <a:lvl1pPr algn="ctr">
              <a:buNone/>
              <a:defRPr sz="600"/>
            </a:lvl1pPr>
          </a:lstStyle>
          <a:p>
            <a:r>
              <a:rPr lang="en-GB" sz="800" noProof="0"/>
              <a:t>Click to add icon</a:t>
            </a:r>
            <a:endParaRPr lang="en-GB" noProof="0"/>
          </a:p>
        </p:txBody>
      </p:sp>
      <p:sp>
        <p:nvSpPr>
          <p:cNvPr id="27" name="Subheader 3">
            <a:extLst>
              <a:ext uri="{FF2B5EF4-FFF2-40B4-BE49-F238E27FC236}">
                <a16:creationId xmlns:a16="http://schemas.microsoft.com/office/drawing/2014/main" id="{546ABA3A-CF5D-CA4C-B009-E33DBE688793}"/>
              </a:ext>
            </a:extLst>
          </p:cNvPr>
          <p:cNvSpPr>
            <a:spLocks noGrp="1"/>
          </p:cNvSpPr>
          <p:nvPr>
            <p:ph type="body" sz="quarter" idx="26" hasCustomPrompt="1"/>
          </p:nvPr>
        </p:nvSpPr>
        <p:spPr>
          <a:xfrm>
            <a:off x="6208747" y="3760793"/>
            <a:ext cx="2632010" cy="288000"/>
          </a:xfrm>
        </p:spPr>
        <p:txBody>
          <a:bodyPr lIns="144000" rIns="144000"/>
          <a:lstStyle>
            <a:lvl1pPr marL="0" indent="0" algn="ctr">
              <a:lnSpc>
                <a:spcPct val="95000"/>
              </a:lnSpc>
              <a:spcBef>
                <a:spcPts val="0"/>
              </a:spcBef>
              <a:buNone/>
              <a:tabLst/>
              <a:defRPr sz="1200" b="1" spc="0" baseline="0"/>
            </a:lvl1pPr>
            <a:lvl2pPr marL="14288" indent="0" algn="ctr">
              <a:tabLst/>
              <a:defRPr/>
            </a:lvl2pPr>
            <a:lvl3pPr marL="14288" indent="0" algn="ctr">
              <a:tabLst/>
              <a:defRPr/>
            </a:lvl3pPr>
            <a:lvl4pPr marL="14288" indent="0" algn="ctr">
              <a:tabLst/>
              <a:defRPr/>
            </a:lvl4pPr>
            <a:lvl5pPr marL="14288" indent="0" algn="ctr">
              <a:tabLst/>
              <a:defRPr/>
            </a:lvl5pPr>
          </a:lstStyle>
          <a:p>
            <a:pPr lvl="0"/>
            <a:r>
              <a:rPr lang="en-GB" noProof="0"/>
              <a:t>Click to add headline</a:t>
            </a:r>
          </a:p>
        </p:txBody>
      </p:sp>
      <p:sp>
        <p:nvSpPr>
          <p:cNvPr id="29" name="Text 2">
            <a:extLst>
              <a:ext uri="{FF2B5EF4-FFF2-40B4-BE49-F238E27FC236}">
                <a16:creationId xmlns:a16="http://schemas.microsoft.com/office/drawing/2014/main" id="{8AD11E1B-1A93-F447-B8FB-7690D5880F07}"/>
              </a:ext>
            </a:extLst>
          </p:cNvPr>
          <p:cNvSpPr>
            <a:spLocks noGrp="1"/>
          </p:cNvSpPr>
          <p:nvPr>
            <p:ph type="body" sz="quarter" idx="28" hasCustomPrompt="1"/>
          </p:nvPr>
        </p:nvSpPr>
        <p:spPr>
          <a:xfrm>
            <a:off x="6208746" y="4058417"/>
            <a:ext cx="2632009" cy="594547"/>
          </a:xfrm>
        </p:spPr>
        <p:txBody>
          <a:bodyPr lIns="144000" rIns="144000"/>
          <a:lstStyle>
            <a:lvl1pPr marL="12700" indent="-12700" algn="ctr">
              <a:buNone/>
              <a:tabLst/>
              <a:defRPr/>
            </a:lvl1pPr>
            <a:lvl2pPr marL="12700" indent="-12700" algn="ctr">
              <a:buNone/>
              <a:tabLst/>
              <a:defRPr/>
            </a:lvl2pPr>
            <a:lvl3pPr marL="12700" indent="-12700" algn="ctr">
              <a:buNone/>
              <a:tabLst/>
              <a:defRPr/>
            </a:lvl3pPr>
            <a:lvl4pPr marL="12700" indent="-12700" algn="ctr">
              <a:buNone/>
              <a:tabLst/>
              <a:defRPr/>
            </a:lvl4pPr>
            <a:lvl5pPr marL="12700" indent="-12700" algn="ctr">
              <a:buNone/>
              <a:tabLst/>
              <a:defRPr/>
            </a:lvl5pPr>
          </a:lstStyle>
          <a:p>
            <a:pPr lvl="0"/>
            <a:r>
              <a:rPr lang="en-GB" noProof="0"/>
              <a:t>Click to add short description text</a:t>
            </a:r>
          </a:p>
        </p:txBody>
      </p:sp>
      <p:sp>
        <p:nvSpPr>
          <p:cNvPr id="2" name="Notes">
            <a:extLst>
              <a:ext uri="{FF2B5EF4-FFF2-40B4-BE49-F238E27FC236}">
                <a16:creationId xmlns:a16="http://schemas.microsoft.com/office/drawing/2014/main" id="{770409C2-3A7C-6E90-7CE2-134403DB0756}"/>
              </a:ext>
            </a:extLst>
          </p:cNvPr>
          <p:cNvSpPr>
            <a:spLocks noGrp="1"/>
          </p:cNvSpPr>
          <p:nvPr>
            <p:ph type="body" sz="quarter" idx="19" hasCustomPrompt="1"/>
          </p:nvPr>
        </p:nvSpPr>
        <p:spPr>
          <a:xfrm>
            <a:off x="323852" y="4695827"/>
            <a:ext cx="4176715" cy="144463"/>
          </a:xfrm>
        </p:spPr>
        <p:txBody>
          <a:bodyPr lIns="111600" tIns="0" rIns="216000" bIns="18000" anchor="b"/>
          <a:lstStyle>
            <a:lvl1pPr marL="0" indent="0">
              <a:spcBef>
                <a:spcPts val="0"/>
              </a:spcBef>
              <a:buNone/>
              <a:tabLst/>
              <a:defRPr sz="600"/>
            </a:lvl1pPr>
            <a:lvl2pPr>
              <a:buNone/>
              <a:defRPr sz="800"/>
            </a:lvl2pPr>
            <a:lvl3pPr>
              <a:buNone/>
              <a:defRPr sz="800"/>
            </a:lvl3pPr>
            <a:lvl4pPr>
              <a:buNone/>
              <a:defRPr sz="800"/>
            </a:lvl4pPr>
            <a:lvl5pPr>
              <a:buNone/>
              <a:defRPr sz="800"/>
            </a:lvl5pPr>
          </a:lstStyle>
          <a:p>
            <a:pPr lvl="0"/>
            <a:r>
              <a:rPr lang="en-GB" noProof="0"/>
              <a:t>*Click to add footnotes</a:t>
            </a:r>
          </a:p>
        </p:txBody>
      </p:sp>
      <p:sp>
        <p:nvSpPr>
          <p:cNvPr id="3" name="Date">
            <a:extLst>
              <a:ext uri="{FF2B5EF4-FFF2-40B4-BE49-F238E27FC236}">
                <a16:creationId xmlns:a16="http://schemas.microsoft.com/office/drawing/2014/main" id="{C57FF860-80C4-F544-9349-277B28F447FB}"/>
              </a:ext>
            </a:extLst>
          </p:cNvPr>
          <p:cNvSpPr>
            <a:spLocks noGrp="1"/>
          </p:cNvSpPr>
          <p:nvPr>
            <p:ph type="dt" sz="half" idx="10"/>
          </p:nvPr>
        </p:nvSpPr>
        <p:spPr/>
        <p:txBody>
          <a:bodyPr/>
          <a:lstStyle/>
          <a:p>
            <a:fld id="{F38C940E-EFE4-458E-81D9-0CB43FE5BB94}" type="datetime1">
              <a:rPr lang="sv-SE" noProof="0" smtClean="0"/>
              <a:t>2025-09-04</a:t>
            </a:fld>
            <a:endParaRPr lang="en-GB" noProof="0"/>
          </a:p>
        </p:txBody>
      </p:sp>
      <p:sp>
        <p:nvSpPr>
          <p:cNvPr id="4" name="Number">
            <a:extLst>
              <a:ext uri="{FF2B5EF4-FFF2-40B4-BE49-F238E27FC236}">
                <a16:creationId xmlns:a16="http://schemas.microsoft.com/office/drawing/2014/main" id="{61938E86-6CF5-9C42-AB2F-96E9B547A11F}"/>
              </a:ext>
            </a:extLst>
          </p:cNvPr>
          <p:cNvSpPr>
            <a:spLocks noGrp="1"/>
          </p:cNvSpPr>
          <p:nvPr>
            <p:ph type="sldNum" sz="quarter" idx="11"/>
          </p:nvPr>
        </p:nvSpPr>
        <p:spPr/>
        <p:txBody>
          <a:bodyPr/>
          <a:lstStyle/>
          <a:p>
            <a:fld id="{17CD396C-6A52-4D5A-BAE3-92A1CC3BBDE0}" type="slidenum">
              <a:rPr lang="en-GB" noProof="0" smtClean="0"/>
              <a:pPr/>
              <a:t>‹nr.›</a:t>
            </a:fld>
            <a:endParaRPr lang="en-GB" noProof="0"/>
          </a:p>
        </p:txBody>
      </p:sp>
      <p:sp>
        <p:nvSpPr>
          <p:cNvPr id="23" name="Footer">
            <a:extLst>
              <a:ext uri="{FF2B5EF4-FFF2-40B4-BE49-F238E27FC236}">
                <a16:creationId xmlns:a16="http://schemas.microsoft.com/office/drawing/2014/main" id="{10325E5A-E337-E24F-A3CE-5BEFB07CBA1F}"/>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2467733976"/>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2 Headline only">
    <p:bg>
      <p:bgPr>
        <a:solidFill>
          <a:schemeClr val="bg2"/>
        </a:solidFill>
        <a:effectLst/>
      </p:bgPr>
    </p:bg>
    <p:spTree>
      <p:nvGrpSpPr>
        <p:cNvPr id="1" name=""/>
        <p:cNvGrpSpPr/>
        <p:nvPr/>
      </p:nvGrpSpPr>
      <p:grpSpPr>
        <a:xfrm>
          <a:off x="0" y="0"/>
          <a:ext cx="0" cy="0"/>
          <a:chOff x="0" y="0"/>
          <a:chExt cx="0" cy="0"/>
        </a:xfrm>
      </p:grpSpPr>
      <p:sp>
        <p:nvSpPr>
          <p:cNvPr id="3" name="Platshållare för datum 2">
            <a:extLst>
              <a:ext uri="{FF2B5EF4-FFF2-40B4-BE49-F238E27FC236}">
                <a16:creationId xmlns:a16="http://schemas.microsoft.com/office/drawing/2014/main" id="{C57FF860-80C4-F544-9349-277B28F447FB}"/>
              </a:ext>
            </a:extLst>
          </p:cNvPr>
          <p:cNvSpPr>
            <a:spLocks noGrp="1"/>
          </p:cNvSpPr>
          <p:nvPr>
            <p:ph type="dt" sz="half" idx="10"/>
          </p:nvPr>
        </p:nvSpPr>
        <p:spPr/>
        <p:txBody>
          <a:bodyPr/>
          <a:lstStyle/>
          <a:p>
            <a:fld id="{733660C2-9873-47F5-B6C4-4E51EC128A0B}" type="datetime1">
              <a:rPr lang="sv-SE" noProof="0" smtClean="0"/>
              <a:t>2025-09-04</a:t>
            </a:fld>
            <a:endParaRPr lang="en-GB" noProof="0"/>
          </a:p>
        </p:txBody>
      </p:sp>
      <p:sp>
        <p:nvSpPr>
          <p:cNvPr id="4" name="Platshållare för bildnummer 3">
            <a:extLst>
              <a:ext uri="{FF2B5EF4-FFF2-40B4-BE49-F238E27FC236}">
                <a16:creationId xmlns:a16="http://schemas.microsoft.com/office/drawing/2014/main" id="{61938E86-6CF5-9C42-AB2F-96E9B547A11F}"/>
              </a:ext>
            </a:extLst>
          </p:cNvPr>
          <p:cNvSpPr>
            <a:spLocks noGrp="1"/>
          </p:cNvSpPr>
          <p:nvPr>
            <p:ph type="sldNum" sz="quarter" idx="11"/>
          </p:nvPr>
        </p:nvSpPr>
        <p:spPr/>
        <p:txBody>
          <a:bodyPr/>
          <a:lstStyle/>
          <a:p>
            <a:fld id="{17CD396C-6A52-4D5A-BAE3-92A1CC3BBDE0}" type="slidenum">
              <a:rPr lang="en-GB" noProof="0" smtClean="0"/>
              <a:pPr/>
              <a:t>‹nr.›</a:t>
            </a:fld>
            <a:endParaRPr lang="en-GB" noProof="0"/>
          </a:p>
        </p:txBody>
      </p:sp>
      <p:sp>
        <p:nvSpPr>
          <p:cNvPr id="9" name="Platshållare för text 15">
            <a:extLst>
              <a:ext uri="{FF2B5EF4-FFF2-40B4-BE49-F238E27FC236}">
                <a16:creationId xmlns:a16="http://schemas.microsoft.com/office/drawing/2014/main" id="{03424855-B277-8744-9C85-9975925B8200}"/>
              </a:ext>
            </a:extLst>
          </p:cNvPr>
          <p:cNvSpPr>
            <a:spLocks noGrp="1"/>
          </p:cNvSpPr>
          <p:nvPr>
            <p:ph type="body" sz="quarter" idx="14" hasCustomPrompt="1"/>
          </p:nvPr>
        </p:nvSpPr>
        <p:spPr>
          <a:xfrm>
            <a:off x="323850" y="276227"/>
            <a:ext cx="5418000" cy="276999"/>
          </a:xfrm>
        </p:spPr>
        <p:txBody>
          <a:bodyPr lIns="1116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subheader</a:t>
            </a:r>
          </a:p>
        </p:txBody>
      </p:sp>
      <p:sp>
        <p:nvSpPr>
          <p:cNvPr id="19" name="Platshållare för text 18">
            <a:extLst>
              <a:ext uri="{FF2B5EF4-FFF2-40B4-BE49-F238E27FC236}">
                <a16:creationId xmlns:a16="http://schemas.microsoft.com/office/drawing/2014/main" id="{4615DFA7-0616-B744-975C-88C9447A199A}"/>
              </a:ext>
            </a:extLst>
          </p:cNvPr>
          <p:cNvSpPr>
            <a:spLocks noGrp="1"/>
          </p:cNvSpPr>
          <p:nvPr>
            <p:ph type="body" sz="quarter" idx="19" hasCustomPrompt="1"/>
          </p:nvPr>
        </p:nvSpPr>
        <p:spPr>
          <a:xfrm>
            <a:off x="323851" y="4611601"/>
            <a:ext cx="5616575" cy="142886"/>
          </a:xfrm>
        </p:spPr>
        <p:txBody>
          <a:bodyPr lIns="111600" tIns="0" rIns="216000" bIns="0" anchor="ctr"/>
          <a:lstStyle>
            <a:lvl1pPr>
              <a:buNone/>
              <a:defRPr sz="600"/>
            </a:lvl1pPr>
            <a:lvl2pPr>
              <a:buNone/>
              <a:defRPr sz="800"/>
            </a:lvl2pPr>
            <a:lvl3pPr>
              <a:buNone/>
              <a:defRPr sz="800"/>
            </a:lvl3pPr>
            <a:lvl4pPr>
              <a:buNone/>
              <a:defRPr sz="800"/>
            </a:lvl4pPr>
            <a:lvl5pPr>
              <a:buNone/>
              <a:defRPr sz="800"/>
            </a:lvl5pPr>
          </a:lstStyle>
          <a:p>
            <a:pPr lvl="0"/>
            <a:r>
              <a:rPr lang="en-GB" noProof="0"/>
              <a:t>*Click to add footnotes</a:t>
            </a:r>
          </a:p>
        </p:txBody>
      </p:sp>
      <p:sp>
        <p:nvSpPr>
          <p:cNvPr id="16" name="Rubrik 1">
            <a:extLst>
              <a:ext uri="{FF2B5EF4-FFF2-40B4-BE49-F238E27FC236}">
                <a16:creationId xmlns:a16="http://schemas.microsoft.com/office/drawing/2014/main" id="{29C1BAB5-302C-E24B-AF46-F5810100CE40}"/>
              </a:ext>
            </a:extLst>
          </p:cNvPr>
          <p:cNvSpPr>
            <a:spLocks noGrp="1"/>
          </p:cNvSpPr>
          <p:nvPr>
            <p:ph type="title" hasCustomPrompt="1"/>
          </p:nvPr>
        </p:nvSpPr>
        <p:spPr>
          <a:xfrm>
            <a:off x="323853" y="545328"/>
            <a:ext cx="8496299" cy="1182670"/>
          </a:xfrm>
        </p:spPr>
        <p:txBody>
          <a:bodyPr/>
          <a:lstStyle>
            <a:lvl1pPr>
              <a:defRPr spc="-50" baseline="0"/>
            </a:lvl1pPr>
          </a:lstStyle>
          <a:p>
            <a:r>
              <a:rPr lang="en-GB" noProof="0"/>
              <a:t>Click to add a headline of maximum three lines</a:t>
            </a:r>
          </a:p>
        </p:txBody>
      </p:sp>
      <p:sp>
        <p:nvSpPr>
          <p:cNvPr id="11" name="Platshållare för sidfot 6">
            <a:extLst>
              <a:ext uri="{FF2B5EF4-FFF2-40B4-BE49-F238E27FC236}">
                <a16:creationId xmlns:a16="http://schemas.microsoft.com/office/drawing/2014/main" id="{A552DAA9-741B-4541-B739-5E18BB32D240}"/>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3968840846"/>
      </p:ext>
    </p:extLst>
  </p:cSld>
  <p:clrMapOvr>
    <a:masterClrMapping/>
  </p:clrMapOvr>
  <p:extLst>
    <p:ext uri="{DCECCB84-F9BA-43D5-87BE-67443E8EF086}">
      <p15:sldGuideLst xmlns:p15="http://schemas.microsoft.com/office/powerpoint/2012/main"/>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type="obj" preserve="1">
  <p:cSld name="Title and Content [DIV]">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D4A0450-3204-76F8-7CE8-E1149C0972EA}"/>
              </a:ext>
            </a:extLst>
          </p:cNvPr>
          <p:cNvGraphicFramePr>
            <a:graphicFrameLocks noChangeAspect="1"/>
          </p:cNvGraphicFramePr>
          <p:nvPr userDrawn="1">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5" name="think-cell data - do not delete" hidden="1">
                        <a:extLst>
                          <a:ext uri="{FF2B5EF4-FFF2-40B4-BE49-F238E27FC236}">
                            <a16:creationId xmlns:a16="http://schemas.microsoft.com/office/drawing/2014/main" id="{DD4A0450-3204-76F8-7CE8-E1149C0972E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en-GB"/>
              <a:t>Click to edit Master title style</a:t>
            </a:r>
          </a:p>
        </p:txBody>
      </p:sp>
      <p:sp>
        <p:nvSpPr>
          <p:cNvPr id="3" name="Content Placeholder 2"/>
          <p:cNvSpPr>
            <a:spLocks noGrp="1"/>
          </p:cNvSpPr>
          <p:nvPr>
            <p:ph idx="1" hasCustomPrompt="1"/>
          </p:nvPr>
        </p:nvSpPr>
        <p:spPr>
          <a:xfrm>
            <a:off x="266701" y="1054449"/>
            <a:ext cx="8610602" cy="3450876"/>
          </a:xfrm>
        </p:spPr>
        <p:txBody>
          <a:bodyPr/>
          <a:lstStyle>
            <a:lvl1pPr rtl="0">
              <a:defRPr/>
            </a:lvl1pPr>
            <a:lvl2pPr rtl="0">
              <a:defRPr/>
            </a:lvl2pPr>
            <a:lvl3pPr rtl="0">
              <a:defRPr/>
            </a:lvl3pPr>
            <a:lvl4pPr rtl="0">
              <a:defRPr/>
            </a:lvl4pPr>
            <a:lvl5pPr rtl="0">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6E444580-7ABB-4DAD-B458-231469E1BDE5}"/>
              </a:ext>
            </a:extLst>
          </p:cNvPr>
          <p:cNvSpPr>
            <a:spLocks noGrp="1"/>
          </p:cNvSpPr>
          <p:nvPr>
            <p:ph type="dt" sz="half" idx="10"/>
          </p:nvPr>
        </p:nvSpPr>
        <p:spPr/>
        <p:txBody>
          <a:bodyPr/>
          <a:lstStyle>
            <a:lvl1pPr rtl="0">
              <a:defRPr/>
            </a:lvl1pPr>
          </a:lstStyle>
          <a:p>
            <a:fld id="{3C769326-B257-4625-AF06-C9B348333F67}" type="datetime1">
              <a:rPr lang="sv-SE" smtClean="0"/>
              <a:t>2025-09-04</a:t>
            </a:fld>
            <a:endParaRPr lang="en-GB"/>
          </a:p>
        </p:txBody>
      </p:sp>
      <p:sp>
        <p:nvSpPr>
          <p:cNvPr id="8" name="Footer Placeholder 7">
            <a:extLst>
              <a:ext uri="{FF2B5EF4-FFF2-40B4-BE49-F238E27FC236}">
                <a16:creationId xmlns:a16="http://schemas.microsoft.com/office/drawing/2014/main" id="{8E70DAE9-D571-47EF-B166-6765BAD5A72E}"/>
              </a:ext>
            </a:extLst>
          </p:cNvPr>
          <p:cNvSpPr>
            <a:spLocks noGrp="1"/>
          </p:cNvSpPr>
          <p:nvPr>
            <p:ph type="ftr" sz="quarter" idx="11"/>
          </p:nvPr>
        </p:nvSpPr>
        <p:spPr>
          <a:xfrm>
            <a:off x="5253829" y="4817738"/>
            <a:ext cx="3487458" cy="182880"/>
          </a:xfrm>
          <a:prstGeom prst="rect">
            <a:avLst/>
          </a:prstGeom>
        </p:spPr>
        <p:txBody>
          <a:bodyPr/>
          <a:lstStyle>
            <a:lvl1pPr rtl="0">
              <a:defRPr/>
            </a:lvl1pPr>
          </a:lstStyle>
          <a:p>
            <a:r>
              <a:rPr lang="en-US"/>
              <a:t>Go to header/footer to change text  </a:t>
            </a:r>
            <a:endParaRPr lang="en-GB"/>
          </a:p>
        </p:txBody>
      </p:sp>
      <p:sp>
        <p:nvSpPr>
          <p:cNvPr id="9" name="Slide Number Placeholder 8">
            <a:extLst>
              <a:ext uri="{FF2B5EF4-FFF2-40B4-BE49-F238E27FC236}">
                <a16:creationId xmlns:a16="http://schemas.microsoft.com/office/drawing/2014/main" id="{2387C767-2CE9-4AF2-A6EB-05785BF084C7}"/>
              </a:ext>
            </a:extLst>
          </p:cNvPr>
          <p:cNvSpPr>
            <a:spLocks noGrp="1"/>
          </p:cNvSpPr>
          <p:nvPr>
            <p:ph type="sldNum" sz="quarter" idx="12"/>
          </p:nvPr>
        </p:nvSpPr>
        <p:spPr/>
        <p:txBody>
          <a:bodyPr/>
          <a:lstStyle>
            <a:lvl1pPr rtl="0">
              <a:defRPr/>
            </a:lvl1pPr>
          </a:lstStyle>
          <a:p>
            <a:fld id="{29C88BE4-63BC-4A33-B317-7E3947361759}" type="slidenum">
              <a:rPr lang="en-GB" smtClean="0"/>
              <a:pPr/>
              <a:t>‹nr.›</a:t>
            </a:fld>
            <a:endParaRPr lang="en-GB"/>
          </a:p>
        </p:txBody>
      </p:sp>
    </p:spTree>
    <p:extLst>
      <p:ext uri="{BB962C8B-B14F-4D97-AF65-F5344CB8AC3E}">
        <p14:creationId xmlns:p14="http://schemas.microsoft.com/office/powerpoint/2010/main" val="4267390796"/>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 Three Images text">
    <p:bg>
      <p:bgPr>
        <a:solidFill>
          <a:schemeClr val="bg2"/>
        </a:solidFill>
        <a:effectLst/>
      </p:bgPr>
    </p:bg>
    <p:spTree>
      <p:nvGrpSpPr>
        <p:cNvPr id="1" name=""/>
        <p:cNvGrpSpPr/>
        <p:nvPr/>
      </p:nvGrpSpPr>
      <p:grpSpPr>
        <a:xfrm>
          <a:off x="0" y="0"/>
          <a:ext cx="0" cy="0"/>
          <a:chOff x="0" y="0"/>
          <a:chExt cx="0" cy="0"/>
        </a:xfrm>
      </p:grpSpPr>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50" y="276226"/>
            <a:ext cx="4176713" cy="276999"/>
          </a:xfrm>
        </p:spPr>
        <p:txBody>
          <a:bodyPr lIns="111600" rIns="144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chapter tracker</a:t>
            </a:r>
          </a:p>
        </p:txBody>
      </p:sp>
      <p:sp>
        <p:nvSpPr>
          <p:cNvPr id="4" name="Image 1">
            <a:extLst>
              <a:ext uri="{FF2B5EF4-FFF2-40B4-BE49-F238E27FC236}">
                <a16:creationId xmlns:a16="http://schemas.microsoft.com/office/drawing/2014/main" id="{A5A31898-D5B1-EE4E-A7EE-E18C844975AA}"/>
              </a:ext>
            </a:extLst>
          </p:cNvPr>
          <p:cNvSpPr>
            <a:spLocks noGrp="1"/>
          </p:cNvSpPr>
          <p:nvPr>
            <p:ph type="pic" sz="quarter" idx="22" hasCustomPrompt="1"/>
          </p:nvPr>
        </p:nvSpPr>
        <p:spPr>
          <a:xfrm>
            <a:off x="323850" y="650874"/>
            <a:ext cx="2735263" cy="2451871"/>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17" name="Subtitle 1">
            <a:extLst>
              <a:ext uri="{FF2B5EF4-FFF2-40B4-BE49-F238E27FC236}">
                <a16:creationId xmlns:a16="http://schemas.microsoft.com/office/drawing/2014/main" id="{9539D912-EDEC-D04A-AE66-E4AF2B4B8924}"/>
              </a:ext>
            </a:extLst>
          </p:cNvPr>
          <p:cNvSpPr>
            <a:spLocks noGrp="1"/>
          </p:cNvSpPr>
          <p:nvPr>
            <p:ph type="body" sz="quarter" idx="16" hasCustomPrompt="1"/>
          </p:nvPr>
        </p:nvSpPr>
        <p:spPr>
          <a:xfrm>
            <a:off x="323850" y="3390838"/>
            <a:ext cx="2735263" cy="355993"/>
          </a:xfrm>
        </p:spPr>
        <p:txBody>
          <a:bodyPr lIns="144000" rIns="144000" anchor="b"/>
          <a:lstStyle>
            <a:lvl1pPr marL="0" indent="0" algn="ctr">
              <a:lnSpc>
                <a:spcPct val="95000"/>
              </a:lnSpc>
              <a:spcBef>
                <a:spcPts val="0"/>
              </a:spcBef>
              <a:buNone/>
              <a:tabLst/>
              <a:defRPr sz="1800" b="1"/>
            </a:lvl1pPr>
            <a:lvl2pPr marL="0" indent="0">
              <a:buNone/>
              <a:tabLst/>
              <a:defRPr sz="1200"/>
            </a:lvl2pPr>
            <a:lvl3pPr marL="0" indent="0">
              <a:buNone/>
              <a:tabLst/>
              <a:defRPr sz="1200"/>
            </a:lvl3pPr>
            <a:lvl4pPr marL="0" indent="0">
              <a:buNone/>
              <a:tabLst/>
              <a:defRPr sz="1200"/>
            </a:lvl4pPr>
            <a:lvl5pPr marL="0" indent="0">
              <a:buNone/>
              <a:tabLst/>
              <a:defRPr sz="1200"/>
            </a:lvl5pPr>
          </a:lstStyle>
          <a:p>
            <a:pPr lvl="0"/>
            <a:r>
              <a:rPr lang="en-GB" noProof="0"/>
              <a:t>Click to add headline</a:t>
            </a:r>
          </a:p>
        </p:txBody>
      </p:sp>
      <p:sp>
        <p:nvSpPr>
          <p:cNvPr id="18" name="Text 1">
            <a:extLst>
              <a:ext uri="{FF2B5EF4-FFF2-40B4-BE49-F238E27FC236}">
                <a16:creationId xmlns:a16="http://schemas.microsoft.com/office/drawing/2014/main" id="{42913F9C-29B8-3D4E-A5EA-0F08C0C9FAC6}"/>
              </a:ext>
            </a:extLst>
          </p:cNvPr>
          <p:cNvSpPr>
            <a:spLocks noGrp="1"/>
          </p:cNvSpPr>
          <p:nvPr>
            <p:ph type="body" sz="quarter" idx="17" hasCustomPrompt="1"/>
          </p:nvPr>
        </p:nvSpPr>
        <p:spPr>
          <a:xfrm>
            <a:off x="323850" y="3777335"/>
            <a:ext cx="2736000" cy="918490"/>
          </a:xfrm>
        </p:spPr>
        <p:txBody>
          <a:bodyPr lIns="180000" rIns="180000"/>
          <a:lstStyle>
            <a:lvl1pPr marL="15875" indent="-15875" algn="ctr">
              <a:buNone/>
              <a:tabLst/>
              <a:defRPr sz="1400"/>
            </a:lvl1pPr>
            <a:lvl2pPr marL="15875" indent="-15875" algn="ctr">
              <a:buNone/>
              <a:tabLst/>
              <a:defRPr sz="1200"/>
            </a:lvl2pPr>
            <a:lvl3pPr marL="15875" indent="-15875" algn="ctr">
              <a:buNone/>
              <a:tabLst/>
              <a:defRPr sz="1200"/>
            </a:lvl3pPr>
            <a:lvl4pPr marL="15875" indent="-15875" algn="ctr">
              <a:buNone/>
              <a:tabLst/>
              <a:defRPr sz="1200"/>
            </a:lvl4pPr>
            <a:lvl5pPr marL="15875" indent="-15875" algn="ctr">
              <a:buNone/>
              <a:tabLst/>
              <a:defRPr sz="1200"/>
            </a:lvl5pPr>
          </a:lstStyle>
          <a:p>
            <a:pPr lvl="0"/>
            <a:r>
              <a:rPr lang="en-GB" noProof="0"/>
              <a:t>Click to add text</a:t>
            </a:r>
          </a:p>
        </p:txBody>
      </p:sp>
      <p:sp>
        <p:nvSpPr>
          <p:cNvPr id="19" name="Image 2">
            <a:extLst>
              <a:ext uri="{FF2B5EF4-FFF2-40B4-BE49-F238E27FC236}">
                <a16:creationId xmlns:a16="http://schemas.microsoft.com/office/drawing/2014/main" id="{CFB476F6-A1A2-9341-A7CE-364121691484}"/>
              </a:ext>
            </a:extLst>
          </p:cNvPr>
          <p:cNvSpPr>
            <a:spLocks noGrp="1"/>
          </p:cNvSpPr>
          <p:nvPr>
            <p:ph type="pic" sz="quarter" idx="23" hasCustomPrompt="1"/>
          </p:nvPr>
        </p:nvSpPr>
        <p:spPr>
          <a:xfrm>
            <a:off x="3204369" y="650874"/>
            <a:ext cx="2735263" cy="2451871"/>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22" name="Subtitle 2">
            <a:extLst>
              <a:ext uri="{FF2B5EF4-FFF2-40B4-BE49-F238E27FC236}">
                <a16:creationId xmlns:a16="http://schemas.microsoft.com/office/drawing/2014/main" id="{C3C5B55E-94CB-7B47-B062-5D9F39ACF993}"/>
              </a:ext>
            </a:extLst>
          </p:cNvPr>
          <p:cNvSpPr>
            <a:spLocks noGrp="1"/>
          </p:cNvSpPr>
          <p:nvPr>
            <p:ph type="body" sz="quarter" idx="18" hasCustomPrompt="1"/>
          </p:nvPr>
        </p:nvSpPr>
        <p:spPr>
          <a:xfrm>
            <a:off x="3203575" y="3390838"/>
            <a:ext cx="2735263" cy="355993"/>
          </a:xfrm>
        </p:spPr>
        <p:txBody>
          <a:bodyPr lIns="144000" rIns="144000" anchor="b"/>
          <a:lstStyle>
            <a:lvl1pPr marL="0" indent="0" algn="ctr">
              <a:lnSpc>
                <a:spcPct val="95000"/>
              </a:lnSpc>
              <a:spcBef>
                <a:spcPts val="0"/>
              </a:spcBef>
              <a:buNone/>
              <a:tabLst/>
              <a:defRPr sz="1800" b="1"/>
            </a:lvl1pPr>
            <a:lvl2pPr marL="0" indent="0">
              <a:buNone/>
              <a:tabLst/>
              <a:defRPr sz="1200"/>
            </a:lvl2pPr>
            <a:lvl3pPr marL="0" indent="0">
              <a:buNone/>
              <a:tabLst/>
              <a:defRPr sz="1200"/>
            </a:lvl3pPr>
            <a:lvl4pPr marL="0" indent="0">
              <a:buNone/>
              <a:tabLst/>
              <a:defRPr sz="1200"/>
            </a:lvl4pPr>
            <a:lvl5pPr marL="0" indent="0">
              <a:buNone/>
              <a:tabLst/>
              <a:defRPr sz="1200"/>
            </a:lvl5pPr>
          </a:lstStyle>
          <a:p>
            <a:pPr lvl="0"/>
            <a:r>
              <a:rPr lang="en-GB" noProof="0"/>
              <a:t>Click to add headline</a:t>
            </a:r>
          </a:p>
        </p:txBody>
      </p:sp>
      <p:sp>
        <p:nvSpPr>
          <p:cNvPr id="23" name="Text 2">
            <a:extLst>
              <a:ext uri="{FF2B5EF4-FFF2-40B4-BE49-F238E27FC236}">
                <a16:creationId xmlns:a16="http://schemas.microsoft.com/office/drawing/2014/main" id="{A1A87AB1-E04D-7D40-AA0E-7E9AAA85FDD7}"/>
              </a:ext>
            </a:extLst>
          </p:cNvPr>
          <p:cNvSpPr>
            <a:spLocks noGrp="1"/>
          </p:cNvSpPr>
          <p:nvPr>
            <p:ph type="body" sz="quarter" idx="19" hasCustomPrompt="1"/>
          </p:nvPr>
        </p:nvSpPr>
        <p:spPr>
          <a:xfrm>
            <a:off x="3203575" y="3777335"/>
            <a:ext cx="2736000" cy="918490"/>
          </a:xfrm>
        </p:spPr>
        <p:txBody>
          <a:bodyPr lIns="180000" rIns="180000"/>
          <a:lstStyle>
            <a:lvl1pPr marL="15875" indent="-15875" algn="ctr">
              <a:buNone/>
              <a:tabLst/>
              <a:defRPr sz="1400"/>
            </a:lvl1pPr>
            <a:lvl2pPr marL="15875" indent="-15875" algn="ctr">
              <a:buNone/>
              <a:tabLst/>
              <a:defRPr sz="1200"/>
            </a:lvl2pPr>
            <a:lvl3pPr marL="15875" indent="-15875" algn="ctr">
              <a:buNone/>
              <a:tabLst/>
              <a:defRPr sz="1200"/>
            </a:lvl3pPr>
            <a:lvl4pPr marL="15875" indent="-15875" algn="ctr">
              <a:buNone/>
              <a:tabLst/>
              <a:defRPr sz="1200"/>
            </a:lvl4pPr>
            <a:lvl5pPr marL="15875" indent="-15875" algn="ctr">
              <a:buNone/>
              <a:tabLst/>
              <a:defRPr sz="1200"/>
            </a:lvl5pPr>
          </a:lstStyle>
          <a:p>
            <a:pPr lvl="0"/>
            <a:r>
              <a:rPr lang="en-GB" noProof="0"/>
              <a:t>Click to add text</a:t>
            </a:r>
          </a:p>
        </p:txBody>
      </p:sp>
      <p:sp>
        <p:nvSpPr>
          <p:cNvPr id="20" name="Image 3">
            <a:extLst>
              <a:ext uri="{FF2B5EF4-FFF2-40B4-BE49-F238E27FC236}">
                <a16:creationId xmlns:a16="http://schemas.microsoft.com/office/drawing/2014/main" id="{AA2CC83E-62F3-474B-9DE5-B6EDF26CA353}"/>
              </a:ext>
            </a:extLst>
          </p:cNvPr>
          <p:cNvSpPr>
            <a:spLocks noGrp="1"/>
          </p:cNvSpPr>
          <p:nvPr>
            <p:ph type="pic" sz="quarter" idx="24" hasCustomPrompt="1"/>
          </p:nvPr>
        </p:nvSpPr>
        <p:spPr>
          <a:xfrm>
            <a:off x="6084887" y="650874"/>
            <a:ext cx="2735263" cy="2451871"/>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24" name="Subtitle 3">
            <a:extLst>
              <a:ext uri="{FF2B5EF4-FFF2-40B4-BE49-F238E27FC236}">
                <a16:creationId xmlns:a16="http://schemas.microsoft.com/office/drawing/2014/main" id="{F30BCF56-210D-1340-ACE8-BFCB24314D0A}"/>
              </a:ext>
            </a:extLst>
          </p:cNvPr>
          <p:cNvSpPr>
            <a:spLocks noGrp="1"/>
          </p:cNvSpPr>
          <p:nvPr>
            <p:ph type="body" sz="quarter" idx="20" hasCustomPrompt="1"/>
          </p:nvPr>
        </p:nvSpPr>
        <p:spPr>
          <a:xfrm>
            <a:off x="6084888" y="3390838"/>
            <a:ext cx="2735262" cy="355993"/>
          </a:xfrm>
        </p:spPr>
        <p:txBody>
          <a:bodyPr lIns="144000" rIns="144000" anchor="b"/>
          <a:lstStyle>
            <a:lvl1pPr marL="0" indent="0" algn="ctr">
              <a:lnSpc>
                <a:spcPct val="95000"/>
              </a:lnSpc>
              <a:spcBef>
                <a:spcPts val="0"/>
              </a:spcBef>
              <a:buNone/>
              <a:tabLst/>
              <a:defRPr sz="1800" b="1"/>
            </a:lvl1pPr>
            <a:lvl2pPr marL="0" indent="0">
              <a:buNone/>
              <a:tabLst/>
              <a:defRPr sz="1200"/>
            </a:lvl2pPr>
            <a:lvl3pPr marL="0" indent="0">
              <a:buNone/>
              <a:tabLst/>
              <a:defRPr sz="1200"/>
            </a:lvl3pPr>
            <a:lvl4pPr marL="0" indent="0">
              <a:buNone/>
              <a:tabLst/>
              <a:defRPr sz="1200"/>
            </a:lvl4pPr>
            <a:lvl5pPr marL="0" indent="0">
              <a:buNone/>
              <a:tabLst/>
              <a:defRPr sz="1200"/>
            </a:lvl5pPr>
          </a:lstStyle>
          <a:p>
            <a:pPr lvl="0"/>
            <a:r>
              <a:rPr lang="en-GB" noProof="0"/>
              <a:t>Click to add headline</a:t>
            </a:r>
          </a:p>
        </p:txBody>
      </p:sp>
      <p:sp>
        <p:nvSpPr>
          <p:cNvPr id="25" name="Text 3">
            <a:extLst>
              <a:ext uri="{FF2B5EF4-FFF2-40B4-BE49-F238E27FC236}">
                <a16:creationId xmlns:a16="http://schemas.microsoft.com/office/drawing/2014/main" id="{B6BB44C6-034C-2A4F-9D6D-0F870DF593AF}"/>
              </a:ext>
            </a:extLst>
          </p:cNvPr>
          <p:cNvSpPr>
            <a:spLocks noGrp="1"/>
          </p:cNvSpPr>
          <p:nvPr>
            <p:ph type="body" sz="quarter" idx="21" hasCustomPrompt="1"/>
          </p:nvPr>
        </p:nvSpPr>
        <p:spPr>
          <a:xfrm>
            <a:off x="6084888" y="3777335"/>
            <a:ext cx="2736000" cy="918490"/>
          </a:xfrm>
        </p:spPr>
        <p:txBody>
          <a:bodyPr lIns="180000" rIns="180000"/>
          <a:lstStyle>
            <a:lvl1pPr marL="15875" indent="-15875" algn="ctr">
              <a:buNone/>
              <a:tabLst/>
              <a:defRPr sz="1400"/>
            </a:lvl1pPr>
            <a:lvl2pPr marL="15875" indent="-15875" algn="ctr">
              <a:buNone/>
              <a:tabLst/>
              <a:defRPr sz="1200"/>
            </a:lvl2pPr>
            <a:lvl3pPr marL="15875" indent="-15875" algn="ctr">
              <a:buNone/>
              <a:tabLst/>
              <a:defRPr sz="1200"/>
            </a:lvl3pPr>
            <a:lvl4pPr marL="15875" indent="-15875" algn="ctr">
              <a:buNone/>
              <a:tabLst/>
              <a:defRPr sz="1200"/>
            </a:lvl4pPr>
            <a:lvl5pPr marL="15875" indent="-15875" algn="ctr">
              <a:buNone/>
              <a:tabLst/>
              <a:defRPr sz="1200"/>
            </a:lvl5pPr>
          </a:lstStyle>
          <a:p>
            <a:pPr lvl="0"/>
            <a:r>
              <a:rPr lang="en-GB" noProof="0"/>
              <a:t>Click to add text</a:t>
            </a:r>
          </a:p>
        </p:txBody>
      </p:sp>
      <p:sp>
        <p:nvSpPr>
          <p:cNvPr id="35" name="Date">
            <a:extLst>
              <a:ext uri="{FF2B5EF4-FFF2-40B4-BE49-F238E27FC236}">
                <a16:creationId xmlns:a16="http://schemas.microsoft.com/office/drawing/2014/main" id="{EBF909F0-CE1B-3D46-83B7-E4DA279DC19B}"/>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5C5209A8-E2E4-431A-B551-0C39F27496F0}" type="datetime1">
              <a:rPr lang="sv-SE" noProof="0" smtClean="0"/>
              <a:t>2025-09-04</a:t>
            </a:fld>
            <a:endParaRPr lang="en-GB" noProof="0"/>
          </a:p>
        </p:txBody>
      </p:sp>
      <p:sp>
        <p:nvSpPr>
          <p:cNvPr id="36" name="Number">
            <a:extLst>
              <a:ext uri="{FF2B5EF4-FFF2-40B4-BE49-F238E27FC236}">
                <a16:creationId xmlns:a16="http://schemas.microsoft.com/office/drawing/2014/main" id="{EB2FF840-5D29-6845-91DA-E82490F28637}"/>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21" name="Footer">
            <a:extLst>
              <a:ext uri="{FF2B5EF4-FFF2-40B4-BE49-F238E27FC236}">
                <a16:creationId xmlns:a16="http://schemas.microsoft.com/office/drawing/2014/main" id="{5D5AD7F1-DD0A-5249-BE82-8E2CAFDE6736}"/>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
        <p:nvSpPr>
          <p:cNvPr id="3" name="Title 2">
            <a:extLst>
              <a:ext uri="{FF2B5EF4-FFF2-40B4-BE49-F238E27FC236}">
                <a16:creationId xmlns:a16="http://schemas.microsoft.com/office/drawing/2014/main" id="{071F4384-77E3-8A4F-255F-ACB92CCB3AEF}"/>
              </a:ext>
            </a:extLst>
          </p:cNvPr>
          <p:cNvSpPr>
            <a:spLocks noGrp="1"/>
          </p:cNvSpPr>
          <p:nvPr>
            <p:ph type="title" hasCustomPrompt="1"/>
          </p:nvPr>
        </p:nvSpPr>
        <p:spPr>
          <a:xfrm>
            <a:off x="323850" y="-1070389"/>
            <a:ext cx="8496300" cy="527051"/>
          </a:xfrm>
        </p:spPr>
        <p:txBody>
          <a:bodyPr/>
          <a:lstStyle>
            <a:lvl1pPr marL="0" marR="0" indent="0" algn="l" defTabSz="685800" rtl="0" eaLnBrk="1" fontAlgn="auto" latinLnBrk="0" hangingPunct="1">
              <a:lnSpc>
                <a:spcPct val="95000"/>
              </a:lnSpc>
              <a:spcBef>
                <a:spcPct val="0"/>
              </a:spcBef>
              <a:spcAft>
                <a:spcPts val="0"/>
              </a:spcAft>
              <a:buClrTx/>
              <a:buSzTx/>
              <a:buFontTx/>
              <a:buNone/>
              <a:tabLst/>
              <a:defRPr/>
            </a:lvl1pPr>
          </a:lstStyle>
          <a:p>
            <a:r>
              <a:rPr lang="en-GB"/>
              <a:t>Click to add hidden slide title for accessibility</a:t>
            </a:r>
          </a:p>
        </p:txBody>
      </p:sp>
    </p:spTree>
    <p:extLst>
      <p:ext uri="{BB962C8B-B14F-4D97-AF65-F5344CB8AC3E}">
        <p14:creationId xmlns:p14="http://schemas.microsoft.com/office/powerpoint/2010/main" val="2328935447"/>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 Chart and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BA4E6B1-9731-D7D3-5F53-FB721A7F11C1}"/>
              </a:ext>
            </a:extLst>
          </p:cNvPr>
          <p:cNvSpPr/>
          <p:nvPr userDrawn="1"/>
        </p:nvSpPr>
        <p:spPr>
          <a:xfrm>
            <a:off x="4499769" y="158750"/>
            <a:ext cx="144462" cy="4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Image">
            <a:extLst>
              <a:ext uri="{FF2B5EF4-FFF2-40B4-BE49-F238E27FC236}">
                <a16:creationId xmlns:a16="http://schemas.microsoft.com/office/drawing/2014/main" id="{0C18E683-E62F-A04E-9D50-572DEA18E067}"/>
              </a:ext>
            </a:extLst>
          </p:cNvPr>
          <p:cNvSpPr>
            <a:spLocks noGrp="1"/>
          </p:cNvSpPr>
          <p:nvPr>
            <p:ph type="pic" sz="quarter" idx="15" hasCustomPrompt="1"/>
          </p:nvPr>
        </p:nvSpPr>
        <p:spPr>
          <a:xfrm>
            <a:off x="4646613" y="158750"/>
            <a:ext cx="4318000" cy="4681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323850" y="525600"/>
            <a:ext cx="4173538" cy="1498314"/>
          </a:xfrm>
        </p:spPr>
        <p:txBody>
          <a:bodyPr rIns="216000"/>
          <a:lstStyle>
            <a:lvl1pPr>
              <a:defRPr sz="3000" spc="-50"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50" y="276226"/>
            <a:ext cx="4173538" cy="276999"/>
          </a:xfrm>
        </p:spPr>
        <p:txBody>
          <a:bodyPr lIns="111600" rIns="216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chapter tracker</a:t>
            </a:r>
          </a:p>
        </p:txBody>
      </p:sp>
      <p:sp>
        <p:nvSpPr>
          <p:cNvPr id="3" name="Chart">
            <a:extLst>
              <a:ext uri="{FF2B5EF4-FFF2-40B4-BE49-F238E27FC236}">
                <a16:creationId xmlns:a16="http://schemas.microsoft.com/office/drawing/2014/main" id="{D12947F2-2E24-E74E-ABD3-2D0BB0AEAA87}"/>
              </a:ext>
            </a:extLst>
          </p:cNvPr>
          <p:cNvSpPr>
            <a:spLocks noGrp="1"/>
          </p:cNvSpPr>
          <p:nvPr>
            <p:ph type="chart" sz="quarter" idx="16" hasCustomPrompt="1"/>
          </p:nvPr>
        </p:nvSpPr>
        <p:spPr>
          <a:xfrm>
            <a:off x="323850" y="2103438"/>
            <a:ext cx="4025900" cy="2592387"/>
          </a:xfrm>
        </p:spPr>
        <p:txBody>
          <a:bodyPr/>
          <a:lstStyle>
            <a:lvl1pPr algn="ctr">
              <a:buNone/>
              <a:defRPr sz="800"/>
            </a:lvl1pPr>
          </a:lstStyle>
          <a:p>
            <a:r>
              <a:rPr lang="en-GB" noProof="0"/>
              <a:t>Click on the icon to add chart</a:t>
            </a:r>
          </a:p>
        </p:txBody>
      </p:sp>
      <p:sp>
        <p:nvSpPr>
          <p:cNvPr id="2" name="Notes">
            <a:extLst>
              <a:ext uri="{FF2B5EF4-FFF2-40B4-BE49-F238E27FC236}">
                <a16:creationId xmlns:a16="http://schemas.microsoft.com/office/drawing/2014/main" id="{11595CA4-EF2B-D233-21D6-7671E39200FA}"/>
              </a:ext>
            </a:extLst>
          </p:cNvPr>
          <p:cNvSpPr>
            <a:spLocks noGrp="1"/>
          </p:cNvSpPr>
          <p:nvPr>
            <p:ph type="body" sz="quarter" idx="19" hasCustomPrompt="1"/>
          </p:nvPr>
        </p:nvSpPr>
        <p:spPr>
          <a:xfrm>
            <a:off x="323850" y="4695825"/>
            <a:ext cx="4176715" cy="144463"/>
          </a:xfrm>
        </p:spPr>
        <p:txBody>
          <a:bodyPr lIns="111600" tIns="0" rIns="216000" bIns="18000" anchor="b"/>
          <a:lstStyle>
            <a:lvl1pPr marL="0" indent="0">
              <a:spcBef>
                <a:spcPts val="0"/>
              </a:spcBef>
              <a:buNone/>
              <a:tabLst/>
              <a:defRPr sz="600"/>
            </a:lvl1pPr>
            <a:lvl2pPr>
              <a:buNone/>
              <a:defRPr sz="800"/>
            </a:lvl2pPr>
            <a:lvl3pPr>
              <a:buNone/>
              <a:defRPr sz="800"/>
            </a:lvl3pPr>
            <a:lvl4pPr>
              <a:buNone/>
              <a:defRPr sz="800"/>
            </a:lvl4pPr>
            <a:lvl5pPr>
              <a:buNone/>
              <a:defRPr sz="800"/>
            </a:lvl5pPr>
          </a:lstStyle>
          <a:p>
            <a:pPr lvl="0"/>
            <a:r>
              <a:rPr lang="en-GB" noProof="0"/>
              <a:t>*Click to add footnotes</a:t>
            </a:r>
          </a:p>
        </p:txBody>
      </p:sp>
      <p:sp>
        <p:nvSpPr>
          <p:cNvPr id="38" name="Date">
            <a:extLst>
              <a:ext uri="{FF2B5EF4-FFF2-40B4-BE49-F238E27FC236}">
                <a16:creationId xmlns:a16="http://schemas.microsoft.com/office/drawing/2014/main" id="{B7D04508-015B-A24C-A068-9517A03041E5}"/>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685853DD-E6C8-42BE-B1AA-5AECD3327543}" type="datetime1">
              <a:rPr lang="sv-SE" noProof="0" smtClean="0"/>
              <a:t>2025-09-04</a:t>
            </a:fld>
            <a:endParaRPr lang="en-GB" noProof="0"/>
          </a:p>
        </p:txBody>
      </p:sp>
      <p:sp>
        <p:nvSpPr>
          <p:cNvPr id="39" name="Number">
            <a:extLst>
              <a:ext uri="{FF2B5EF4-FFF2-40B4-BE49-F238E27FC236}">
                <a16:creationId xmlns:a16="http://schemas.microsoft.com/office/drawing/2014/main" id="{24E3E452-24F0-1B44-9014-429AC576B5B6}"/>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0" name="Footer">
            <a:extLst>
              <a:ext uri="{FF2B5EF4-FFF2-40B4-BE49-F238E27FC236}">
                <a16:creationId xmlns:a16="http://schemas.microsoft.com/office/drawing/2014/main" id="{29FB046A-7260-684A-8AE8-A5E2FA938289}"/>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2682267278"/>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 Text and Char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A4F5968-AA5C-92DB-88F3-7DB9CADE540F}"/>
              </a:ext>
            </a:extLst>
          </p:cNvPr>
          <p:cNvSpPr/>
          <p:nvPr userDrawn="1"/>
        </p:nvSpPr>
        <p:spPr>
          <a:xfrm>
            <a:off x="5940425" y="158750"/>
            <a:ext cx="144462" cy="4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ktangel 9">
            <a:extLst>
              <a:ext uri="{FF2B5EF4-FFF2-40B4-BE49-F238E27FC236}">
                <a16:creationId xmlns:a16="http://schemas.microsoft.com/office/drawing/2014/main" id="{A1839504-BA43-3148-B19E-480FB1E15F74}"/>
              </a:ext>
            </a:extLst>
          </p:cNvPr>
          <p:cNvSpPr/>
          <p:nvPr userDrawn="1"/>
        </p:nvSpPr>
        <p:spPr>
          <a:xfrm>
            <a:off x="6084888" y="158750"/>
            <a:ext cx="2879725" cy="46815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323849" y="525600"/>
            <a:ext cx="5616575" cy="1498314"/>
          </a:xfrm>
        </p:spPr>
        <p:txBody>
          <a:bodyPr rIns="144000"/>
          <a:lstStyle>
            <a:lvl1pPr>
              <a:defRPr sz="3000" spc="-50"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50" y="276226"/>
            <a:ext cx="4176713" cy="276999"/>
          </a:xfrm>
        </p:spPr>
        <p:txBody>
          <a:bodyPr lIns="111600" rIns="144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chapter tracker</a:t>
            </a:r>
          </a:p>
        </p:txBody>
      </p:sp>
      <p:sp>
        <p:nvSpPr>
          <p:cNvPr id="12" name="Text 1">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323849" y="2103438"/>
            <a:ext cx="2734161" cy="2592387"/>
          </a:xfrm>
        </p:spPr>
        <p:txBody>
          <a:bodyPr rIns="216000"/>
          <a:lstStyle>
            <a:lvl1pPr>
              <a:defRPr sz="1400"/>
            </a:lvl1pPr>
            <a:lvl2pPr>
              <a:defRPr sz="1200"/>
            </a:lvl2pPr>
            <a:lvl3pPr>
              <a:defRPr sz="1200"/>
            </a:lvl3pPr>
            <a:lvl4pPr>
              <a:defRPr sz="1200"/>
            </a:lvl4pPr>
            <a:lvl5pPr>
              <a:defRPr sz="12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Text 2">
            <a:extLst>
              <a:ext uri="{FF2B5EF4-FFF2-40B4-BE49-F238E27FC236}">
                <a16:creationId xmlns:a16="http://schemas.microsoft.com/office/drawing/2014/main" id="{089CFEC7-99C6-0746-8ADC-4898C0347892}"/>
              </a:ext>
            </a:extLst>
          </p:cNvPr>
          <p:cNvSpPr>
            <a:spLocks noGrp="1"/>
          </p:cNvSpPr>
          <p:nvPr>
            <p:ph type="body" sz="quarter" idx="22" hasCustomPrompt="1"/>
          </p:nvPr>
        </p:nvSpPr>
        <p:spPr>
          <a:xfrm>
            <a:off x="3206262" y="2103438"/>
            <a:ext cx="2734161" cy="2592387"/>
          </a:xfrm>
        </p:spPr>
        <p:txBody>
          <a:bodyPr rIns="216000"/>
          <a:lstStyle>
            <a:lvl1pPr>
              <a:defRPr sz="1400"/>
            </a:lvl1pPr>
            <a:lvl2pPr>
              <a:defRPr sz="1200"/>
            </a:lvl2pPr>
            <a:lvl3pPr>
              <a:defRPr sz="1200"/>
            </a:lvl3pPr>
            <a:lvl4pPr>
              <a:defRPr sz="1200"/>
            </a:lvl4pPr>
            <a:lvl5pPr>
              <a:defRPr sz="12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9" name="Chart">
            <a:extLst>
              <a:ext uri="{FF2B5EF4-FFF2-40B4-BE49-F238E27FC236}">
                <a16:creationId xmlns:a16="http://schemas.microsoft.com/office/drawing/2014/main" id="{A91A41A0-04EF-2048-AE61-5DDC5148F93A}"/>
              </a:ext>
            </a:extLst>
          </p:cNvPr>
          <p:cNvSpPr>
            <a:spLocks noGrp="1"/>
          </p:cNvSpPr>
          <p:nvPr>
            <p:ph type="chart" sz="quarter" idx="15" hasCustomPrompt="1"/>
          </p:nvPr>
        </p:nvSpPr>
        <p:spPr>
          <a:xfrm>
            <a:off x="6221942" y="627063"/>
            <a:ext cx="2605617" cy="2500617"/>
          </a:xfrm>
        </p:spPr>
        <p:txBody>
          <a:bodyPr/>
          <a:lstStyle>
            <a:lvl1pPr algn="ctr">
              <a:buNone/>
              <a:defRPr sz="800"/>
            </a:lvl1pPr>
          </a:lstStyle>
          <a:p>
            <a:r>
              <a:rPr lang="en-GB" noProof="0"/>
              <a:t>Click on the icon to add chart</a:t>
            </a:r>
          </a:p>
        </p:txBody>
      </p:sp>
      <p:sp>
        <p:nvSpPr>
          <p:cNvPr id="14" name="Subtitle 1">
            <a:extLst>
              <a:ext uri="{FF2B5EF4-FFF2-40B4-BE49-F238E27FC236}">
                <a16:creationId xmlns:a16="http://schemas.microsoft.com/office/drawing/2014/main" id="{67982006-AFBB-0E47-AD42-44CEB05BBE12}"/>
              </a:ext>
            </a:extLst>
          </p:cNvPr>
          <p:cNvSpPr>
            <a:spLocks noGrp="1"/>
          </p:cNvSpPr>
          <p:nvPr>
            <p:ph type="body" sz="quarter" idx="20" hasCustomPrompt="1"/>
          </p:nvPr>
        </p:nvSpPr>
        <p:spPr>
          <a:xfrm>
            <a:off x="6228254" y="3390838"/>
            <a:ext cx="2595600" cy="355993"/>
          </a:xfrm>
        </p:spPr>
        <p:txBody>
          <a:bodyPr lIns="144000" rIns="144000" anchor="b"/>
          <a:lstStyle>
            <a:lvl1pPr marL="0" indent="0" algn="ctr">
              <a:lnSpc>
                <a:spcPct val="95000"/>
              </a:lnSpc>
              <a:spcBef>
                <a:spcPts val="0"/>
              </a:spcBef>
              <a:buNone/>
              <a:tabLst/>
              <a:defRPr sz="1800" b="1"/>
            </a:lvl1pPr>
            <a:lvl2pPr marL="0" indent="0">
              <a:buNone/>
              <a:tabLst/>
              <a:defRPr sz="1200"/>
            </a:lvl2pPr>
            <a:lvl3pPr marL="0" indent="0">
              <a:buNone/>
              <a:tabLst/>
              <a:defRPr sz="1200"/>
            </a:lvl3pPr>
            <a:lvl4pPr marL="0" indent="0">
              <a:buNone/>
              <a:tabLst/>
              <a:defRPr sz="1200"/>
            </a:lvl4pPr>
            <a:lvl5pPr marL="0" indent="0">
              <a:buNone/>
              <a:tabLst/>
              <a:defRPr sz="1200"/>
            </a:lvl5pPr>
          </a:lstStyle>
          <a:p>
            <a:pPr lvl="0"/>
            <a:r>
              <a:rPr lang="en-GB" noProof="0"/>
              <a:t>Click to add headline</a:t>
            </a:r>
          </a:p>
        </p:txBody>
      </p:sp>
      <p:sp>
        <p:nvSpPr>
          <p:cNvPr id="18" name="Text 3">
            <a:extLst>
              <a:ext uri="{FF2B5EF4-FFF2-40B4-BE49-F238E27FC236}">
                <a16:creationId xmlns:a16="http://schemas.microsoft.com/office/drawing/2014/main" id="{754D20A8-6A7E-3C4B-82E9-6F1713B7D670}"/>
              </a:ext>
            </a:extLst>
          </p:cNvPr>
          <p:cNvSpPr>
            <a:spLocks noGrp="1"/>
          </p:cNvSpPr>
          <p:nvPr>
            <p:ph type="body" sz="quarter" idx="21" hasCustomPrompt="1"/>
          </p:nvPr>
        </p:nvSpPr>
        <p:spPr>
          <a:xfrm>
            <a:off x="6225646" y="3777335"/>
            <a:ext cx="2598208" cy="918490"/>
          </a:xfrm>
        </p:spPr>
        <p:txBody>
          <a:bodyPr lIns="216000" rIns="216000"/>
          <a:lstStyle>
            <a:lvl1pPr marL="15875" indent="-15875" algn="ctr">
              <a:buNone/>
              <a:tabLst/>
              <a:defRPr sz="1400"/>
            </a:lvl1pPr>
            <a:lvl2pPr marL="15875" indent="-15875" algn="ctr">
              <a:buNone/>
              <a:tabLst/>
              <a:defRPr sz="1200"/>
            </a:lvl2pPr>
            <a:lvl3pPr marL="15875" indent="-15875" algn="ctr">
              <a:buNone/>
              <a:tabLst/>
              <a:defRPr sz="1200"/>
            </a:lvl3pPr>
            <a:lvl4pPr marL="15875" indent="-15875" algn="ctr">
              <a:buNone/>
              <a:tabLst/>
              <a:defRPr sz="1200"/>
            </a:lvl4pPr>
            <a:lvl5pPr marL="15875" indent="-15875" algn="ctr">
              <a:buNone/>
              <a:tabLst/>
              <a:defRPr sz="1200"/>
            </a:lvl5pPr>
          </a:lstStyle>
          <a:p>
            <a:pPr lvl="0"/>
            <a:r>
              <a:rPr lang="en-GB" noProof="0"/>
              <a:t>Click to add text</a:t>
            </a:r>
          </a:p>
        </p:txBody>
      </p:sp>
      <p:sp>
        <p:nvSpPr>
          <p:cNvPr id="2" name="Notes">
            <a:extLst>
              <a:ext uri="{FF2B5EF4-FFF2-40B4-BE49-F238E27FC236}">
                <a16:creationId xmlns:a16="http://schemas.microsoft.com/office/drawing/2014/main" id="{3F5A0366-B78C-8BBB-FBFD-59D31AD2FAEF}"/>
              </a:ext>
            </a:extLst>
          </p:cNvPr>
          <p:cNvSpPr>
            <a:spLocks noGrp="1"/>
          </p:cNvSpPr>
          <p:nvPr>
            <p:ph type="body" sz="quarter" idx="19" hasCustomPrompt="1"/>
          </p:nvPr>
        </p:nvSpPr>
        <p:spPr>
          <a:xfrm>
            <a:off x="6088675" y="4695825"/>
            <a:ext cx="2731476" cy="144463"/>
          </a:xfrm>
        </p:spPr>
        <p:txBody>
          <a:bodyPr lIns="111600" tIns="0" rIns="216000" bIns="18000" anchor="b"/>
          <a:lstStyle>
            <a:lvl1pPr marL="0" indent="0">
              <a:spcBef>
                <a:spcPts val="0"/>
              </a:spcBef>
              <a:buNone/>
              <a:tabLst/>
              <a:defRPr sz="600"/>
            </a:lvl1pPr>
            <a:lvl2pPr>
              <a:buNone/>
              <a:defRPr sz="800"/>
            </a:lvl2pPr>
            <a:lvl3pPr>
              <a:buNone/>
              <a:defRPr sz="800"/>
            </a:lvl3pPr>
            <a:lvl4pPr>
              <a:buNone/>
              <a:defRPr sz="800"/>
            </a:lvl4pPr>
            <a:lvl5pPr>
              <a:buNone/>
              <a:defRPr sz="800"/>
            </a:lvl5pPr>
          </a:lstStyle>
          <a:p>
            <a:pPr lvl="0"/>
            <a:r>
              <a:rPr lang="en-GB" noProof="0"/>
              <a:t>*Click to add footnotes</a:t>
            </a:r>
          </a:p>
        </p:txBody>
      </p:sp>
      <p:sp>
        <p:nvSpPr>
          <p:cNvPr id="38" name="Date">
            <a:extLst>
              <a:ext uri="{FF2B5EF4-FFF2-40B4-BE49-F238E27FC236}">
                <a16:creationId xmlns:a16="http://schemas.microsoft.com/office/drawing/2014/main" id="{9AD8DCC8-E09D-6045-BD4F-CD56F045E71F}"/>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4E6BAEF6-A818-4113-909F-ABF561BD00F8}" type="datetime1">
              <a:rPr lang="sv-SE" noProof="0" smtClean="0"/>
              <a:t>2025-09-04</a:t>
            </a:fld>
            <a:endParaRPr lang="en-GB" noProof="0"/>
          </a:p>
        </p:txBody>
      </p:sp>
      <p:sp>
        <p:nvSpPr>
          <p:cNvPr id="39" name="Number">
            <a:extLst>
              <a:ext uri="{FF2B5EF4-FFF2-40B4-BE49-F238E27FC236}">
                <a16:creationId xmlns:a16="http://schemas.microsoft.com/office/drawing/2014/main" id="{8146F900-BA4E-2B4B-B712-8BFC2919DDD1}"/>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5" name="Footer">
            <a:extLst>
              <a:ext uri="{FF2B5EF4-FFF2-40B4-BE49-F238E27FC236}">
                <a16:creationId xmlns:a16="http://schemas.microsoft.com/office/drawing/2014/main" id="{75B76674-8D8E-5447-A5ED-487EED102E9F}"/>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2946342870"/>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 Headline only">
    <p:bg>
      <p:bgPr>
        <a:solidFill>
          <a:schemeClr val="bg2"/>
        </a:solidFill>
        <a:effectLst/>
      </p:bgPr>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323848" y="525600"/>
            <a:ext cx="7056440" cy="1498314"/>
          </a:xfrm>
        </p:spPr>
        <p:txBody>
          <a:bodyPr rIns="144000"/>
          <a:lstStyle>
            <a:lvl1pPr>
              <a:defRPr sz="3000" spc="-50"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50" y="276226"/>
            <a:ext cx="4176713" cy="276999"/>
          </a:xfrm>
        </p:spPr>
        <p:txBody>
          <a:bodyPr lIns="111600" rIns="144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chapter tracker</a:t>
            </a:r>
          </a:p>
        </p:txBody>
      </p:sp>
      <p:sp>
        <p:nvSpPr>
          <p:cNvPr id="35" name="Date">
            <a:extLst>
              <a:ext uri="{FF2B5EF4-FFF2-40B4-BE49-F238E27FC236}">
                <a16:creationId xmlns:a16="http://schemas.microsoft.com/office/drawing/2014/main" id="{EBF909F0-CE1B-3D46-83B7-E4DA279DC19B}"/>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3CC39E8F-04AD-4E2A-9489-382884E74E76}" type="datetime1">
              <a:rPr lang="sv-SE" noProof="0" smtClean="0"/>
              <a:t>2025-09-04</a:t>
            </a:fld>
            <a:endParaRPr lang="en-GB" noProof="0"/>
          </a:p>
        </p:txBody>
      </p:sp>
      <p:sp>
        <p:nvSpPr>
          <p:cNvPr id="36" name="Number">
            <a:extLst>
              <a:ext uri="{FF2B5EF4-FFF2-40B4-BE49-F238E27FC236}">
                <a16:creationId xmlns:a16="http://schemas.microsoft.com/office/drawing/2014/main" id="{EB2FF840-5D29-6845-91DA-E82490F28637}"/>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9" name="Footer">
            <a:extLst>
              <a:ext uri="{FF2B5EF4-FFF2-40B4-BE49-F238E27FC236}">
                <a16:creationId xmlns:a16="http://schemas.microsoft.com/office/drawing/2014/main" id="{616B5AAB-F6E7-9147-98E7-3D0B31E4B4D8}"/>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2135889635"/>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 Full image">
    <p:spTree>
      <p:nvGrpSpPr>
        <p:cNvPr id="1" name=""/>
        <p:cNvGrpSpPr/>
        <p:nvPr/>
      </p:nvGrpSpPr>
      <p:grpSpPr>
        <a:xfrm>
          <a:off x="0" y="0"/>
          <a:ext cx="0" cy="0"/>
          <a:chOff x="0" y="0"/>
          <a:chExt cx="0" cy="0"/>
        </a:xfrm>
      </p:grpSpPr>
      <p:sp>
        <p:nvSpPr>
          <p:cNvPr id="3" name="Background image">
            <a:extLst>
              <a:ext uri="{FF2B5EF4-FFF2-40B4-BE49-F238E27FC236}">
                <a16:creationId xmlns:a16="http://schemas.microsoft.com/office/drawing/2014/main" id="{9F1AC932-946D-0741-A2C9-2D08F5084820}"/>
              </a:ext>
            </a:extLst>
          </p:cNvPr>
          <p:cNvSpPr>
            <a:spLocks noGrp="1"/>
          </p:cNvSpPr>
          <p:nvPr>
            <p:ph type="pic" sz="quarter" idx="10" hasCustomPrompt="1"/>
          </p:nvPr>
        </p:nvSpPr>
        <p:spPr>
          <a:xfrm>
            <a:off x="179388" y="158750"/>
            <a:ext cx="8785322" cy="4681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35" name="Date">
            <a:extLst>
              <a:ext uri="{FF2B5EF4-FFF2-40B4-BE49-F238E27FC236}">
                <a16:creationId xmlns:a16="http://schemas.microsoft.com/office/drawing/2014/main" id="{EBF909F0-CE1B-3D46-83B7-E4DA279DC19B}"/>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B31811BD-38DF-493B-8D42-A72BE77FAC14}" type="datetime1">
              <a:rPr lang="sv-SE" noProof="0" smtClean="0"/>
              <a:t>2025-09-04</a:t>
            </a:fld>
            <a:endParaRPr lang="en-GB" noProof="0"/>
          </a:p>
        </p:txBody>
      </p:sp>
      <p:sp>
        <p:nvSpPr>
          <p:cNvPr id="36" name="Number">
            <a:extLst>
              <a:ext uri="{FF2B5EF4-FFF2-40B4-BE49-F238E27FC236}">
                <a16:creationId xmlns:a16="http://schemas.microsoft.com/office/drawing/2014/main" id="{EB2FF840-5D29-6845-91DA-E82490F28637}"/>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6" name="Footer">
            <a:extLst>
              <a:ext uri="{FF2B5EF4-FFF2-40B4-BE49-F238E27FC236}">
                <a16:creationId xmlns:a16="http://schemas.microsoft.com/office/drawing/2014/main" id="{FD8AC7D3-A9FD-F249-A363-5AE59D634F07}"/>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
        <p:nvSpPr>
          <p:cNvPr id="4" name="Title 2">
            <a:extLst>
              <a:ext uri="{FF2B5EF4-FFF2-40B4-BE49-F238E27FC236}">
                <a16:creationId xmlns:a16="http://schemas.microsoft.com/office/drawing/2014/main" id="{28672C7D-DCE5-CFD2-2545-B2F04897613F}"/>
              </a:ext>
            </a:extLst>
          </p:cNvPr>
          <p:cNvSpPr>
            <a:spLocks noGrp="1"/>
          </p:cNvSpPr>
          <p:nvPr>
            <p:ph type="title" hasCustomPrompt="1"/>
          </p:nvPr>
        </p:nvSpPr>
        <p:spPr>
          <a:xfrm>
            <a:off x="323850" y="-1070389"/>
            <a:ext cx="8496300" cy="527051"/>
          </a:xfrm>
        </p:spPr>
        <p:txBody>
          <a:bodyPr/>
          <a:lstStyle>
            <a:lvl1pPr marL="0" marR="0" indent="0" algn="l" defTabSz="685800" rtl="0" eaLnBrk="1" fontAlgn="auto" latinLnBrk="0" hangingPunct="1">
              <a:lnSpc>
                <a:spcPct val="95000"/>
              </a:lnSpc>
              <a:spcBef>
                <a:spcPct val="0"/>
              </a:spcBef>
              <a:spcAft>
                <a:spcPts val="0"/>
              </a:spcAft>
              <a:buClrTx/>
              <a:buSzTx/>
              <a:buFontTx/>
              <a:buNone/>
              <a:tabLst/>
              <a:defRPr/>
            </a:lvl1pPr>
          </a:lstStyle>
          <a:p>
            <a:r>
              <a:rPr lang="en-GB"/>
              <a:t>Click to add hidden slide title for accessibility</a:t>
            </a:r>
          </a:p>
        </p:txBody>
      </p:sp>
    </p:spTree>
    <p:extLst>
      <p:ext uri="{BB962C8B-B14F-4D97-AF65-F5344CB8AC3E}">
        <p14:creationId xmlns:p14="http://schemas.microsoft.com/office/powerpoint/2010/main" val="1690294134"/>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 Two images">
    <p:spTree>
      <p:nvGrpSpPr>
        <p:cNvPr id="1" name=""/>
        <p:cNvGrpSpPr/>
        <p:nvPr/>
      </p:nvGrpSpPr>
      <p:grpSpPr>
        <a:xfrm>
          <a:off x="0" y="0"/>
          <a:ext cx="0" cy="0"/>
          <a:chOff x="0" y="0"/>
          <a:chExt cx="0" cy="0"/>
        </a:xfrm>
      </p:grpSpPr>
      <p:sp>
        <p:nvSpPr>
          <p:cNvPr id="9" name="Image 1">
            <a:extLst>
              <a:ext uri="{FF2B5EF4-FFF2-40B4-BE49-F238E27FC236}">
                <a16:creationId xmlns:a16="http://schemas.microsoft.com/office/drawing/2014/main" id="{C852BE8F-C448-8C49-AD64-836FAF5E88FE}"/>
              </a:ext>
            </a:extLst>
          </p:cNvPr>
          <p:cNvSpPr>
            <a:spLocks noGrp="1"/>
          </p:cNvSpPr>
          <p:nvPr>
            <p:ph type="pic" sz="quarter" idx="16" hasCustomPrompt="1"/>
          </p:nvPr>
        </p:nvSpPr>
        <p:spPr>
          <a:xfrm>
            <a:off x="179388" y="158750"/>
            <a:ext cx="4321272" cy="4681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4" name="Image 2">
            <a:extLst>
              <a:ext uri="{FF2B5EF4-FFF2-40B4-BE49-F238E27FC236}">
                <a16:creationId xmlns:a16="http://schemas.microsoft.com/office/drawing/2014/main" id="{0C18E683-E62F-A04E-9D50-572DEA18E067}"/>
              </a:ext>
            </a:extLst>
          </p:cNvPr>
          <p:cNvSpPr>
            <a:spLocks noGrp="1"/>
          </p:cNvSpPr>
          <p:nvPr>
            <p:ph type="pic" sz="quarter" idx="15" hasCustomPrompt="1"/>
          </p:nvPr>
        </p:nvSpPr>
        <p:spPr>
          <a:xfrm>
            <a:off x="4643439" y="158750"/>
            <a:ext cx="4321272" cy="4681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38" name="Date">
            <a:extLst>
              <a:ext uri="{FF2B5EF4-FFF2-40B4-BE49-F238E27FC236}">
                <a16:creationId xmlns:a16="http://schemas.microsoft.com/office/drawing/2014/main" id="{B7D04508-015B-A24C-A068-9517A03041E5}"/>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878644A0-1A4D-4939-8D2C-E5A37A0F5CFC}" type="datetime1">
              <a:rPr lang="sv-SE" noProof="0" smtClean="0"/>
              <a:t>2025-09-04</a:t>
            </a:fld>
            <a:endParaRPr lang="en-GB" noProof="0"/>
          </a:p>
        </p:txBody>
      </p:sp>
      <p:sp>
        <p:nvSpPr>
          <p:cNvPr id="39" name="Number">
            <a:extLst>
              <a:ext uri="{FF2B5EF4-FFF2-40B4-BE49-F238E27FC236}">
                <a16:creationId xmlns:a16="http://schemas.microsoft.com/office/drawing/2014/main" id="{24E3E452-24F0-1B44-9014-429AC576B5B6}"/>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0" name="Footer">
            <a:extLst>
              <a:ext uri="{FF2B5EF4-FFF2-40B4-BE49-F238E27FC236}">
                <a16:creationId xmlns:a16="http://schemas.microsoft.com/office/drawing/2014/main" id="{9F273896-B1DA-2A4A-9AEB-368D26B986DD}"/>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
        <p:nvSpPr>
          <p:cNvPr id="3" name="Title 2">
            <a:extLst>
              <a:ext uri="{FF2B5EF4-FFF2-40B4-BE49-F238E27FC236}">
                <a16:creationId xmlns:a16="http://schemas.microsoft.com/office/drawing/2014/main" id="{9E90457A-1E8B-A709-A93F-F3C7D424C64C}"/>
              </a:ext>
            </a:extLst>
          </p:cNvPr>
          <p:cNvSpPr>
            <a:spLocks noGrp="1"/>
          </p:cNvSpPr>
          <p:nvPr>
            <p:ph type="title" hasCustomPrompt="1"/>
          </p:nvPr>
        </p:nvSpPr>
        <p:spPr>
          <a:xfrm>
            <a:off x="323850" y="-1070389"/>
            <a:ext cx="8496300" cy="527051"/>
          </a:xfrm>
        </p:spPr>
        <p:txBody>
          <a:bodyPr/>
          <a:lstStyle>
            <a:lvl1pPr marL="0" marR="0" indent="0" algn="l" defTabSz="685800" rtl="0" eaLnBrk="1" fontAlgn="auto" latinLnBrk="0" hangingPunct="1">
              <a:lnSpc>
                <a:spcPct val="95000"/>
              </a:lnSpc>
              <a:spcBef>
                <a:spcPct val="0"/>
              </a:spcBef>
              <a:spcAft>
                <a:spcPts val="0"/>
              </a:spcAft>
              <a:buClrTx/>
              <a:buSzTx/>
              <a:buFontTx/>
              <a:buNone/>
              <a:tabLst/>
              <a:defRPr/>
            </a:lvl1pPr>
          </a:lstStyle>
          <a:p>
            <a:r>
              <a:rPr lang="en-GB"/>
              <a:t>Click to add hidden slide title for accessibility</a:t>
            </a:r>
          </a:p>
        </p:txBody>
      </p:sp>
    </p:spTree>
    <p:extLst>
      <p:ext uri="{BB962C8B-B14F-4D97-AF65-F5344CB8AC3E}">
        <p14:creationId xmlns:p14="http://schemas.microsoft.com/office/powerpoint/2010/main" val="502164539"/>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 Three images">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D399CB98-9BA7-CFDB-3697-ED7EBD8E96D1}"/>
              </a:ext>
            </a:extLst>
          </p:cNvPr>
          <p:cNvSpPr>
            <a:spLocks noGrp="1"/>
          </p:cNvSpPr>
          <p:nvPr>
            <p:ph type="title" hasCustomPrompt="1"/>
          </p:nvPr>
        </p:nvSpPr>
        <p:spPr>
          <a:xfrm>
            <a:off x="323850" y="-1070389"/>
            <a:ext cx="8496300" cy="527051"/>
          </a:xfrm>
        </p:spPr>
        <p:txBody>
          <a:bodyPr/>
          <a:lstStyle>
            <a:lvl1pPr marL="0" marR="0" indent="0" algn="l" defTabSz="685800" rtl="0" eaLnBrk="1" fontAlgn="auto" latinLnBrk="0" hangingPunct="1">
              <a:lnSpc>
                <a:spcPct val="95000"/>
              </a:lnSpc>
              <a:spcBef>
                <a:spcPct val="0"/>
              </a:spcBef>
              <a:spcAft>
                <a:spcPts val="0"/>
              </a:spcAft>
              <a:buClrTx/>
              <a:buSzTx/>
              <a:buFontTx/>
              <a:buNone/>
              <a:tabLst/>
              <a:defRPr/>
            </a:lvl1pPr>
          </a:lstStyle>
          <a:p>
            <a:r>
              <a:rPr lang="en-GB"/>
              <a:t>Click to add hidden slide title for accessibility</a:t>
            </a:r>
          </a:p>
        </p:txBody>
      </p:sp>
      <p:sp>
        <p:nvSpPr>
          <p:cNvPr id="9" name="Image 1">
            <a:extLst>
              <a:ext uri="{FF2B5EF4-FFF2-40B4-BE49-F238E27FC236}">
                <a16:creationId xmlns:a16="http://schemas.microsoft.com/office/drawing/2014/main" id="{C852BE8F-C448-8C49-AD64-836FAF5E88FE}"/>
              </a:ext>
            </a:extLst>
          </p:cNvPr>
          <p:cNvSpPr>
            <a:spLocks noGrp="1"/>
          </p:cNvSpPr>
          <p:nvPr>
            <p:ph type="pic" sz="quarter" idx="16" hasCustomPrompt="1"/>
          </p:nvPr>
        </p:nvSpPr>
        <p:spPr>
          <a:xfrm>
            <a:off x="179388" y="158750"/>
            <a:ext cx="2879725" cy="4681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4" name="Image 2">
            <a:extLst>
              <a:ext uri="{FF2B5EF4-FFF2-40B4-BE49-F238E27FC236}">
                <a16:creationId xmlns:a16="http://schemas.microsoft.com/office/drawing/2014/main" id="{0C18E683-E62F-A04E-9D50-572DEA18E067}"/>
              </a:ext>
            </a:extLst>
          </p:cNvPr>
          <p:cNvSpPr>
            <a:spLocks noGrp="1"/>
          </p:cNvSpPr>
          <p:nvPr>
            <p:ph type="pic" sz="quarter" idx="15" hasCustomPrompt="1"/>
          </p:nvPr>
        </p:nvSpPr>
        <p:spPr>
          <a:xfrm>
            <a:off x="3203575" y="158750"/>
            <a:ext cx="2736850" cy="4681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38" name="Date">
            <a:extLst>
              <a:ext uri="{FF2B5EF4-FFF2-40B4-BE49-F238E27FC236}">
                <a16:creationId xmlns:a16="http://schemas.microsoft.com/office/drawing/2014/main" id="{B7D04508-015B-A24C-A068-9517A03041E5}"/>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10C6DDFE-1A5B-41D3-B47F-D85EBDB4FE2E}" type="datetime1">
              <a:rPr lang="sv-SE" noProof="0" smtClean="0"/>
              <a:t>2025-09-04</a:t>
            </a:fld>
            <a:endParaRPr lang="en-GB" noProof="0"/>
          </a:p>
        </p:txBody>
      </p:sp>
      <p:sp>
        <p:nvSpPr>
          <p:cNvPr id="39" name="Number">
            <a:extLst>
              <a:ext uri="{FF2B5EF4-FFF2-40B4-BE49-F238E27FC236}">
                <a16:creationId xmlns:a16="http://schemas.microsoft.com/office/drawing/2014/main" id="{24E3E452-24F0-1B44-9014-429AC576B5B6}"/>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0" name="Footer">
            <a:extLst>
              <a:ext uri="{FF2B5EF4-FFF2-40B4-BE49-F238E27FC236}">
                <a16:creationId xmlns:a16="http://schemas.microsoft.com/office/drawing/2014/main" id="{9F273896-B1DA-2A4A-9AEB-368D26B986DD}"/>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
        <p:nvSpPr>
          <p:cNvPr id="2" name="Image 2">
            <a:extLst>
              <a:ext uri="{FF2B5EF4-FFF2-40B4-BE49-F238E27FC236}">
                <a16:creationId xmlns:a16="http://schemas.microsoft.com/office/drawing/2014/main" id="{C72FD3F2-4994-9ADB-A736-35984BB35643}"/>
              </a:ext>
            </a:extLst>
          </p:cNvPr>
          <p:cNvSpPr>
            <a:spLocks noGrp="1"/>
          </p:cNvSpPr>
          <p:nvPr>
            <p:ph type="pic" sz="quarter" idx="17" hasCustomPrompt="1"/>
          </p:nvPr>
        </p:nvSpPr>
        <p:spPr>
          <a:xfrm>
            <a:off x="6084790" y="158750"/>
            <a:ext cx="2879823" cy="4681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Tree>
    <p:extLst>
      <p:ext uri="{BB962C8B-B14F-4D97-AF65-F5344CB8AC3E}">
        <p14:creationId xmlns:p14="http://schemas.microsoft.com/office/powerpoint/2010/main" val="686917603"/>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 Four images">
    <p:spTree>
      <p:nvGrpSpPr>
        <p:cNvPr id="1" name=""/>
        <p:cNvGrpSpPr/>
        <p:nvPr/>
      </p:nvGrpSpPr>
      <p:grpSpPr>
        <a:xfrm>
          <a:off x="0" y="0"/>
          <a:ext cx="0" cy="0"/>
          <a:chOff x="0" y="0"/>
          <a:chExt cx="0" cy="0"/>
        </a:xfrm>
      </p:grpSpPr>
      <p:sp>
        <p:nvSpPr>
          <p:cNvPr id="3" name="Image 1">
            <a:extLst>
              <a:ext uri="{FF2B5EF4-FFF2-40B4-BE49-F238E27FC236}">
                <a16:creationId xmlns:a16="http://schemas.microsoft.com/office/drawing/2014/main" id="{9F1AC932-946D-0741-A2C9-2D08F5084820}"/>
              </a:ext>
            </a:extLst>
          </p:cNvPr>
          <p:cNvSpPr>
            <a:spLocks noGrp="1"/>
          </p:cNvSpPr>
          <p:nvPr>
            <p:ph type="pic" sz="quarter" idx="10" hasCustomPrompt="1"/>
          </p:nvPr>
        </p:nvSpPr>
        <p:spPr>
          <a:xfrm>
            <a:off x="179388" y="158750"/>
            <a:ext cx="4321175" cy="2268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7" name="Image 2">
            <a:extLst>
              <a:ext uri="{FF2B5EF4-FFF2-40B4-BE49-F238E27FC236}">
                <a16:creationId xmlns:a16="http://schemas.microsoft.com/office/drawing/2014/main" id="{B114F85C-8B26-BE4A-B292-29FD00F542C6}"/>
              </a:ext>
            </a:extLst>
          </p:cNvPr>
          <p:cNvSpPr>
            <a:spLocks noGrp="1"/>
          </p:cNvSpPr>
          <p:nvPr>
            <p:ph type="pic" sz="quarter" idx="11" hasCustomPrompt="1"/>
          </p:nvPr>
        </p:nvSpPr>
        <p:spPr>
          <a:xfrm>
            <a:off x="4643439" y="158750"/>
            <a:ext cx="4321175" cy="2268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8" name="Image 3">
            <a:extLst>
              <a:ext uri="{FF2B5EF4-FFF2-40B4-BE49-F238E27FC236}">
                <a16:creationId xmlns:a16="http://schemas.microsoft.com/office/drawing/2014/main" id="{C1764068-BB7E-844C-8FE4-5E6E64CD8234}"/>
              </a:ext>
            </a:extLst>
          </p:cNvPr>
          <p:cNvSpPr>
            <a:spLocks noGrp="1"/>
          </p:cNvSpPr>
          <p:nvPr>
            <p:ph type="pic" sz="quarter" idx="12" hasCustomPrompt="1"/>
          </p:nvPr>
        </p:nvSpPr>
        <p:spPr>
          <a:xfrm>
            <a:off x="179388" y="2572849"/>
            <a:ext cx="4321175" cy="2267439"/>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9" name="Image 4">
            <a:extLst>
              <a:ext uri="{FF2B5EF4-FFF2-40B4-BE49-F238E27FC236}">
                <a16:creationId xmlns:a16="http://schemas.microsoft.com/office/drawing/2014/main" id="{8DDF5D38-B4FD-9A4D-B8B3-F65485F88AA0}"/>
              </a:ext>
            </a:extLst>
          </p:cNvPr>
          <p:cNvSpPr>
            <a:spLocks noGrp="1"/>
          </p:cNvSpPr>
          <p:nvPr>
            <p:ph type="pic" sz="quarter" idx="13" hasCustomPrompt="1"/>
          </p:nvPr>
        </p:nvSpPr>
        <p:spPr>
          <a:xfrm>
            <a:off x="4643439" y="2572849"/>
            <a:ext cx="4321175" cy="2267439"/>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35" name="Date">
            <a:extLst>
              <a:ext uri="{FF2B5EF4-FFF2-40B4-BE49-F238E27FC236}">
                <a16:creationId xmlns:a16="http://schemas.microsoft.com/office/drawing/2014/main" id="{EBF909F0-CE1B-3D46-83B7-E4DA279DC19B}"/>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F44C48D7-B613-40DD-BC73-2EE333A9FA0A}" type="datetime1">
              <a:rPr lang="sv-SE" noProof="0" smtClean="0"/>
              <a:t>2025-09-04</a:t>
            </a:fld>
            <a:endParaRPr lang="en-GB" noProof="0"/>
          </a:p>
        </p:txBody>
      </p:sp>
      <p:sp>
        <p:nvSpPr>
          <p:cNvPr id="36" name="Number">
            <a:extLst>
              <a:ext uri="{FF2B5EF4-FFF2-40B4-BE49-F238E27FC236}">
                <a16:creationId xmlns:a16="http://schemas.microsoft.com/office/drawing/2014/main" id="{EB2FF840-5D29-6845-91DA-E82490F28637}"/>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6" name="Footer">
            <a:extLst>
              <a:ext uri="{FF2B5EF4-FFF2-40B4-BE49-F238E27FC236}">
                <a16:creationId xmlns:a16="http://schemas.microsoft.com/office/drawing/2014/main" id="{FD8AC7D3-A9FD-F249-A363-5AE59D634F07}"/>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
        <p:nvSpPr>
          <p:cNvPr id="4" name="Title 2">
            <a:extLst>
              <a:ext uri="{FF2B5EF4-FFF2-40B4-BE49-F238E27FC236}">
                <a16:creationId xmlns:a16="http://schemas.microsoft.com/office/drawing/2014/main" id="{AB2AA291-301E-E4D8-C68C-DA421E8FDFBC}"/>
              </a:ext>
            </a:extLst>
          </p:cNvPr>
          <p:cNvSpPr>
            <a:spLocks noGrp="1"/>
          </p:cNvSpPr>
          <p:nvPr>
            <p:ph type="title" hasCustomPrompt="1"/>
          </p:nvPr>
        </p:nvSpPr>
        <p:spPr>
          <a:xfrm>
            <a:off x="323850" y="-1070389"/>
            <a:ext cx="8496300" cy="527051"/>
          </a:xfrm>
        </p:spPr>
        <p:txBody>
          <a:bodyPr/>
          <a:lstStyle>
            <a:lvl1pPr marL="0" marR="0" indent="0" algn="l" defTabSz="685800" rtl="0" eaLnBrk="1" fontAlgn="auto" latinLnBrk="0" hangingPunct="1">
              <a:lnSpc>
                <a:spcPct val="95000"/>
              </a:lnSpc>
              <a:spcBef>
                <a:spcPct val="0"/>
              </a:spcBef>
              <a:spcAft>
                <a:spcPts val="0"/>
              </a:spcAft>
              <a:buClrTx/>
              <a:buSzTx/>
              <a:buFontTx/>
              <a:buNone/>
              <a:tabLst/>
              <a:defRPr/>
            </a:lvl1pPr>
          </a:lstStyle>
          <a:p>
            <a:r>
              <a:rPr lang="en-GB"/>
              <a:t>Click to add hidden slide title for accessibility</a:t>
            </a:r>
          </a:p>
        </p:txBody>
      </p:sp>
    </p:spTree>
    <p:extLst>
      <p:ext uri="{BB962C8B-B14F-4D97-AF65-F5344CB8AC3E}">
        <p14:creationId xmlns:p14="http://schemas.microsoft.com/office/powerpoint/2010/main" val="1293175141"/>
      </p:ext>
    </p:extLst>
  </p:cSld>
  <p:clrMapOvr>
    <a:masterClrMapping/>
  </p:clrMapOvr>
  <p:extLst>
    <p:ext uri="{DCECCB84-F9BA-43D5-87BE-67443E8EF086}">
      <p15:sldGuideLst xmlns:p15="http://schemas.microsoft.com/office/powerpoint/2012/main">
        <p15:guide id="1" orient="horz" pos="1575" userDrawn="1">
          <p15:clr>
            <a:srgbClr val="FBAE40"/>
          </p15:clr>
        </p15:guide>
        <p15:guide id="2" orient="horz" pos="1620" userDrawn="1">
          <p15:clr>
            <a:srgbClr val="FBAE40"/>
          </p15:clr>
        </p15:guide>
        <p15:guide id="3" orient="horz" pos="1529"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 Six images">
    <p:spTree>
      <p:nvGrpSpPr>
        <p:cNvPr id="1" name=""/>
        <p:cNvGrpSpPr/>
        <p:nvPr/>
      </p:nvGrpSpPr>
      <p:grpSpPr>
        <a:xfrm>
          <a:off x="0" y="0"/>
          <a:ext cx="0" cy="0"/>
          <a:chOff x="0" y="0"/>
          <a:chExt cx="0" cy="0"/>
        </a:xfrm>
      </p:grpSpPr>
      <p:sp>
        <p:nvSpPr>
          <p:cNvPr id="3" name="Image 1">
            <a:extLst>
              <a:ext uri="{FF2B5EF4-FFF2-40B4-BE49-F238E27FC236}">
                <a16:creationId xmlns:a16="http://schemas.microsoft.com/office/drawing/2014/main" id="{9F1AC932-946D-0741-A2C9-2D08F5084820}"/>
              </a:ext>
            </a:extLst>
          </p:cNvPr>
          <p:cNvSpPr>
            <a:spLocks noGrp="1"/>
          </p:cNvSpPr>
          <p:nvPr>
            <p:ph type="pic" sz="quarter" idx="10" hasCustomPrompt="1"/>
          </p:nvPr>
        </p:nvSpPr>
        <p:spPr>
          <a:xfrm>
            <a:off x="179388" y="158750"/>
            <a:ext cx="2879725" cy="2268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7" name="Image 2">
            <a:extLst>
              <a:ext uri="{FF2B5EF4-FFF2-40B4-BE49-F238E27FC236}">
                <a16:creationId xmlns:a16="http://schemas.microsoft.com/office/drawing/2014/main" id="{B114F85C-8B26-BE4A-B292-29FD00F542C6}"/>
              </a:ext>
            </a:extLst>
          </p:cNvPr>
          <p:cNvSpPr>
            <a:spLocks noGrp="1"/>
          </p:cNvSpPr>
          <p:nvPr>
            <p:ph type="pic" sz="quarter" idx="11" hasCustomPrompt="1"/>
          </p:nvPr>
        </p:nvSpPr>
        <p:spPr>
          <a:xfrm>
            <a:off x="3203576" y="158750"/>
            <a:ext cx="2736850" cy="2268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8" name="Image 3">
            <a:extLst>
              <a:ext uri="{FF2B5EF4-FFF2-40B4-BE49-F238E27FC236}">
                <a16:creationId xmlns:a16="http://schemas.microsoft.com/office/drawing/2014/main" id="{C1764068-BB7E-844C-8FE4-5E6E64CD8234}"/>
              </a:ext>
            </a:extLst>
          </p:cNvPr>
          <p:cNvSpPr>
            <a:spLocks noGrp="1"/>
          </p:cNvSpPr>
          <p:nvPr>
            <p:ph type="pic" sz="quarter" idx="12" hasCustomPrompt="1"/>
          </p:nvPr>
        </p:nvSpPr>
        <p:spPr>
          <a:xfrm>
            <a:off x="179388" y="2572849"/>
            <a:ext cx="2879725" cy="2267439"/>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9" name="Image 4">
            <a:extLst>
              <a:ext uri="{FF2B5EF4-FFF2-40B4-BE49-F238E27FC236}">
                <a16:creationId xmlns:a16="http://schemas.microsoft.com/office/drawing/2014/main" id="{8DDF5D38-B4FD-9A4D-B8B3-F65485F88AA0}"/>
              </a:ext>
            </a:extLst>
          </p:cNvPr>
          <p:cNvSpPr>
            <a:spLocks noGrp="1"/>
          </p:cNvSpPr>
          <p:nvPr>
            <p:ph type="pic" sz="quarter" idx="13" hasCustomPrompt="1"/>
          </p:nvPr>
        </p:nvSpPr>
        <p:spPr>
          <a:xfrm>
            <a:off x="3203576" y="2572849"/>
            <a:ext cx="2736850" cy="2267439"/>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35" name="Date">
            <a:extLst>
              <a:ext uri="{FF2B5EF4-FFF2-40B4-BE49-F238E27FC236}">
                <a16:creationId xmlns:a16="http://schemas.microsoft.com/office/drawing/2014/main" id="{EBF909F0-CE1B-3D46-83B7-E4DA279DC19B}"/>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84C59648-87F6-4286-9945-A32454457E70}" type="datetime1">
              <a:rPr lang="sv-SE" noProof="0" smtClean="0"/>
              <a:t>2025-09-04</a:t>
            </a:fld>
            <a:endParaRPr lang="en-GB" noProof="0"/>
          </a:p>
        </p:txBody>
      </p:sp>
      <p:sp>
        <p:nvSpPr>
          <p:cNvPr id="36" name="Number">
            <a:extLst>
              <a:ext uri="{FF2B5EF4-FFF2-40B4-BE49-F238E27FC236}">
                <a16:creationId xmlns:a16="http://schemas.microsoft.com/office/drawing/2014/main" id="{EB2FF840-5D29-6845-91DA-E82490F28637}"/>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6" name="Footer">
            <a:extLst>
              <a:ext uri="{FF2B5EF4-FFF2-40B4-BE49-F238E27FC236}">
                <a16:creationId xmlns:a16="http://schemas.microsoft.com/office/drawing/2014/main" id="{FD8AC7D3-A9FD-F249-A363-5AE59D634F07}"/>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
        <p:nvSpPr>
          <p:cNvPr id="2" name="Image 2">
            <a:extLst>
              <a:ext uri="{FF2B5EF4-FFF2-40B4-BE49-F238E27FC236}">
                <a16:creationId xmlns:a16="http://schemas.microsoft.com/office/drawing/2014/main" id="{02DD7F0D-E344-5F7D-F045-DAEEF5AE28C9}"/>
              </a:ext>
            </a:extLst>
          </p:cNvPr>
          <p:cNvSpPr>
            <a:spLocks noGrp="1"/>
          </p:cNvSpPr>
          <p:nvPr>
            <p:ph type="pic" sz="quarter" idx="14" hasCustomPrompt="1"/>
          </p:nvPr>
        </p:nvSpPr>
        <p:spPr>
          <a:xfrm>
            <a:off x="6084887" y="158750"/>
            <a:ext cx="2879725" cy="2268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4" name="Image 4">
            <a:extLst>
              <a:ext uri="{FF2B5EF4-FFF2-40B4-BE49-F238E27FC236}">
                <a16:creationId xmlns:a16="http://schemas.microsoft.com/office/drawing/2014/main" id="{4924E6F1-E4D4-87E9-BB5A-D23BF872EA9D}"/>
              </a:ext>
            </a:extLst>
          </p:cNvPr>
          <p:cNvSpPr>
            <a:spLocks noGrp="1"/>
          </p:cNvSpPr>
          <p:nvPr>
            <p:ph type="pic" sz="quarter" idx="15" hasCustomPrompt="1"/>
          </p:nvPr>
        </p:nvSpPr>
        <p:spPr>
          <a:xfrm>
            <a:off x="6084887" y="2572849"/>
            <a:ext cx="2879725" cy="2267439"/>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5" name="Title 2">
            <a:extLst>
              <a:ext uri="{FF2B5EF4-FFF2-40B4-BE49-F238E27FC236}">
                <a16:creationId xmlns:a16="http://schemas.microsoft.com/office/drawing/2014/main" id="{A596F735-0BE6-4D98-4F77-F6784011D5F5}"/>
              </a:ext>
            </a:extLst>
          </p:cNvPr>
          <p:cNvSpPr>
            <a:spLocks noGrp="1"/>
          </p:cNvSpPr>
          <p:nvPr>
            <p:ph type="title" hasCustomPrompt="1"/>
          </p:nvPr>
        </p:nvSpPr>
        <p:spPr>
          <a:xfrm>
            <a:off x="323850" y="-1070389"/>
            <a:ext cx="8496300" cy="527051"/>
          </a:xfrm>
        </p:spPr>
        <p:txBody>
          <a:bodyPr/>
          <a:lstStyle>
            <a:lvl1pPr marL="0" marR="0" indent="0" algn="l" defTabSz="685800" rtl="0" eaLnBrk="1" fontAlgn="auto" latinLnBrk="0" hangingPunct="1">
              <a:lnSpc>
                <a:spcPct val="95000"/>
              </a:lnSpc>
              <a:spcBef>
                <a:spcPct val="0"/>
              </a:spcBef>
              <a:spcAft>
                <a:spcPts val="0"/>
              </a:spcAft>
              <a:buClrTx/>
              <a:buSzTx/>
              <a:buFontTx/>
              <a:buNone/>
              <a:tabLst/>
              <a:defRPr/>
            </a:lvl1pPr>
          </a:lstStyle>
          <a:p>
            <a:r>
              <a:rPr lang="en-GB"/>
              <a:t>Click to add hidden slide title for accessibility</a:t>
            </a:r>
          </a:p>
        </p:txBody>
      </p:sp>
    </p:spTree>
    <p:extLst>
      <p:ext uri="{BB962C8B-B14F-4D97-AF65-F5344CB8AC3E}">
        <p14:creationId xmlns:p14="http://schemas.microsoft.com/office/powerpoint/2010/main" val="3626076828"/>
      </p:ext>
    </p:extLst>
  </p:cSld>
  <p:clrMapOvr>
    <a:masterClrMapping/>
  </p:clrMapOvr>
  <p:extLst>
    <p:ext uri="{DCECCB84-F9BA-43D5-87BE-67443E8EF086}">
      <p15:sldGuideLst xmlns:p15="http://schemas.microsoft.com/office/powerpoint/2012/main">
        <p15:guide id="1" orient="horz" pos="1575">
          <p15:clr>
            <a:srgbClr val="FBAE40"/>
          </p15:clr>
        </p15:guide>
        <p15:guide id="2" orient="horz" pos="1620">
          <p15:clr>
            <a:srgbClr val="FBAE40"/>
          </p15:clr>
        </p15:guide>
        <p15:guide id="3" orient="horz" pos="152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 Title Start">
    <p:spTree>
      <p:nvGrpSpPr>
        <p:cNvPr id="1" name=""/>
        <p:cNvGrpSpPr/>
        <p:nvPr/>
      </p:nvGrpSpPr>
      <p:grpSpPr>
        <a:xfrm>
          <a:off x="0" y="0"/>
          <a:ext cx="0" cy="0"/>
          <a:chOff x="0" y="0"/>
          <a:chExt cx="0" cy="0"/>
        </a:xfrm>
      </p:grpSpPr>
      <p:sp>
        <p:nvSpPr>
          <p:cNvPr id="3" name="Background image">
            <a:extLst>
              <a:ext uri="{FF2B5EF4-FFF2-40B4-BE49-F238E27FC236}">
                <a16:creationId xmlns:a16="http://schemas.microsoft.com/office/drawing/2014/main" id="{25798999-2A1E-2547-A8D5-4373B7132ADB}"/>
              </a:ext>
            </a:extLst>
          </p:cNvPr>
          <p:cNvSpPr>
            <a:spLocks noGrp="1"/>
          </p:cNvSpPr>
          <p:nvPr>
            <p:ph type="pic" sz="quarter" idx="10" hasCustomPrompt="1"/>
          </p:nvPr>
        </p:nvSpPr>
        <p:spPr>
          <a:xfrm>
            <a:off x="179388" y="158750"/>
            <a:ext cx="8785322" cy="4681538"/>
          </a:xfrm>
          <a:blipFill dpi="0" rotWithShape="1">
            <a:blip r:embed="rId2"/>
            <a:srcRect/>
            <a:tile tx="0" ty="0" sx="100000" sy="100000" flip="none" algn="tl"/>
          </a:blipFill>
        </p:spPr>
        <p:txBody>
          <a:bodyPr/>
          <a:lstStyle>
            <a:lvl1pPr algn="ctr">
              <a:buNone/>
              <a:defRPr sz="800">
                <a:solidFill>
                  <a:schemeClr val="bg1">
                    <a:lumMod val="75000"/>
                  </a:schemeClr>
                </a:solidFill>
              </a:defRPr>
            </a:lvl1pPr>
          </a:lstStyle>
          <a:p>
            <a:r>
              <a:rPr lang="en-GB" noProof="0"/>
              <a:t>Select placeholder and select Insert &gt; Pictures</a:t>
            </a:r>
          </a:p>
        </p:txBody>
      </p:sp>
      <p:sp>
        <p:nvSpPr>
          <p:cNvPr id="6" name="Title">
            <a:extLst>
              <a:ext uri="{FF2B5EF4-FFF2-40B4-BE49-F238E27FC236}">
                <a16:creationId xmlns:a16="http://schemas.microsoft.com/office/drawing/2014/main" id="{D70BF8E9-745F-E646-8ACE-EA0841D80D16}"/>
              </a:ext>
            </a:extLst>
          </p:cNvPr>
          <p:cNvSpPr>
            <a:spLocks noGrp="1"/>
          </p:cNvSpPr>
          <p:nvPr>
            <p:ph type="title" hasCustomPrompt="1"/>
          </p:nvPr>
        </p:nvSpPr>
        <p:spPr>
          <a:xfrm>
            <a:off x="323850" y="1719827"/>
            <a:ext cx="8496300" cy="1560972"/>
          </a:xfrm>
        </p:spPr>
        <p:txBody>
          <a:bodyPr lIns="216000" rIns="216000" anchor="ctr"/>
          <a:lstStyle>
            <a:lvl1pPr algn="ctr">
              <a:defRPr sz="4800">
                <a:solidFill>
                  <a:schemeClr val="bg1"/>
                </a:solidFill>
              </a:defRPr>
            </a:lvl1pPr>
          </a:lstStyle>
          <a:p>
            <a:r>
              <a:rPr lang="en-GB" noProof="0"/>
              <a:t>Click to add presentation title in two rows</a:t>
            </a:r>
          </a:p>
        </p:txBody>
      </p:sp>
      <p:sp>
        <p:nvSpPr>
          <p:cNvPr id="15" name="Text">
            <a:extLst>
              <a:ext uri="{FF2B5EF4-FFF2-40B4-BE49-F238E27FC236}">
                <a16:creationId xmlns:a16="http://schemas.microsoft.com/office/drawing/2014/main" id="{454F8E95-426A-F348-AA14-06D4E6F905A5}"/>
              </a:ext>
            </a:extLst>
          </p:cNvPr>
          <p:cNvSpPr>
            <a:spLocks noGrp="1"/>
          </p:cNvSpPr>
          <p:nvPr>
            <p:ph type="body" sz="quarter" idx="11" hasCustomPrompt="1"/>
          </p:nvPr>
        </p:nvSpPr>
        <p:spPr>
          <a:xfrm>
            <a:off x="3203575" y="3307557"/>
            <a:ext cx="2736850" cy="715803"/>
          </a:xfrm>
        </p:spPr>
        <p:txBody>
          <a:bodyPr lIns="216000" rIns="216000" anchor="t"/>
          <a:lstStyle>
            <a:lvl1pPr marL="0" indent="-12700" algn="ctr">
              <a:lnSpc>
                <a:spcPct val="95000"/>
              </a:lnSpc>
              <a:spcBef>
                <a:spcPts val="0"/>
              </a:spcBef>
              <a:buNone/>
              <a:tabLst/>
              <a:defRPr b="1" baseline="0">
                <a:solidFill>
                  <a:schemeClr val="bg1"/>
                </a:solidFill>
              </a:defRPr>
            </a:lvl1pPr>
          </a:lstStyle>
          <a:p>
            <a:pPr lvl="0"/>
            <a:r>
              <a:rPr lang="en-GB" noProof="0"/>
              <a:t>Click to add Name of presenter and</a:t>
            </a:r>
            <a:br>
              <a:rPr lang="en-GB" noProof="0"/>
            </a:br>
            <a:r>
              <a:rPr lang="en-GB" noProof="0"/>
              <a:t>Job title</a:t>
            </a:r>
          </a:p>
        </p:txBody>
      </p:sp>
      <p:sp>
        <p:nvSpPr>
          <p:cNvPr id="11" name="Date">
            <a:extLst>
              <a:ext uri="{FF2B5EF4-FFF2-40B4-BE49-F238E27FC236}">
                <a16:creationId xmlns:a16="http://schemas.microsoft.com/office/drawing/2014/main" id="{38CA3AD7-12F8-9F43-820D-33071C26D41A}"/>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200B93EB-5FF5-4EB9-A838-10C68FD59FF0}" type="datetime1">
              <a:rPr lang="sv-SE" noProof="0" smtClean="0"/>
              <a:t>2025-09-04</a:t>
            </a:fld>
            <a:endParaRPr lang="en-GB" noProof="0"/>
          </a:p>
        </p:txBody>
      </p:sp>
      <p:sp>
        <p:nvSpPr>
          <p:cNvPr id="12" name="Number">
            <a:extLst>
              <a:ext uri="{FF2B5EF4-FFF2-40B4-BE49-F238E27FC236}">
                <a16:creationId xmlns:a16="http://schemas.microsoft.com/office/drawing/2014/main" id="{DFED6C3B-4A73-344C-A9A5-F8224178884F}"/>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3" name="Footer">
            <a:extLst>
              <a:ext uri="{FF2B5EF4-FFF2-40B4-BE49-F238E27FC236}">
                <a16:creationId xmlns:a16="http://schemas.microsoft.com/office/drawing/2014/main" id="{3B9E93E1-A5C6-AE48-99D5-A7A443E60A82}"/>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err="1"/>
          </a:p>
        </p:txBody>
      </p:sp>
    </p:spTree>
    <p:extLst>
      <p:ext uri="{BB962C8B-B14F-4D97-AF65-F5344CB8AC3E}">
        <p14:creationId xmlns:p14="http://schemas.microsoft.com/office/powerpoint/2010/main" val="2093209639"/>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 Full screen Video">
    <p:spTree>
      <p:nvGrpSpPr>
        <p:cNvPr id="1" name=""/>
        <p:cNvGrpSpPr/>
        <p:nvPr/>
      </p:nvGrpSpPr>
      <p:grpSpPr>
        <a:xfrm>
          <a:off x="0" y="0"/>
          <a:ext cx="0" cy="0"/>
          <a:chOff x="0" y="0"/>
          <a:chExt cx="0" cy="0"/>
        </a:xfrm>
      </p:grpSpPr>
      <p:sp>
        <p:nvSpPr>
          <p:cNvPr id="5" name="Video">
            <a:extLst>
              <a:ext uri="{FF2B5EF4-FFF2-40B4-BE49-F238E27FC236}">
                <a16:creationId xmlns:a16="http://schemas.microsoft.com/office/drawing/2014/main" id="{426C75EA-3F6F-404B-9ADF-CF64EAB80C72}"/>
              </a:ext>
            </a:extLst>
          </p:cNvPr>
          <p:cNvSpPr>
            <a:spLocks noGrp="1"/>
          </p:cNvSpPr>
          <p:nvPr>
            <p:ph type="media" sz="quarter" idx="10" hasCustomPrompt="1"/>
          </p:nvPr>
        </p:nvSpPr>
        <p:spPr>
          <a:xfrm>
            <a:off x="0" y="0"/>
            <a:ext cx="9144000" cy="5143500"/>
          </a:xfrm>
          <a:blipFill>
            <a:blip r:embed="rId2"/>
            <a:tile tx="0" ty="0" sx="100000" sy="100000" flip="none" algn="tl"/>
          </a:blipFill>
        </p:spPr>
        <p:txBody>
          <a:bodyPr/>
          <a:lstStyle>
            <a:lvl1pPr marL="17463" indent="-17463" algn="ctr">
              <a:buNone/>
              <a:tabLst/>
              <a:defRPr sz="800">
                <a:solidFill>
                  <a:schemeClr val="bg1">
                    <a:lumMod val="75000"/>
                  </a:schemeClr>
                </a:solidFill>
              </a:defRPr>
            </a:lvl1pPr>
          </a:lstStyle>
          <a:p>
            <a:r>
              <a:rPr lang="en-GB" sz="800" noProof="0"/>
              <a:t>Click on the icon to add video</a:t>
            </a:r>
            <a:endParaRPr lang="en-GB" noProof="0"/>
          </a:p>
        </p:txBody>
      </p:sp>
      <p:sp>
        <p:nvSpPr>
          <p:cNvPr id="35" name="Date">
            <a:extLst>
              <a:ext uri="{FF2B5EF4-FFF2-40B4-BE49-F238E27FC236}">
                <a16:creationId xmlns:a16="http://schemas.microsoft.com/office/drawing/2014/main" id="{EBF909F0-CE1B-3D46-83B7-E4DA279DC19B}"/>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85AA6BFE-7C0F-4C03-9746-6F8375A838CB}" type="datetime1">
              <a:rPr lang="sv-SE" noProof="0" smtClean="0"/>
              <a:t>2025-09-04</a:t>
            </a:fld>
            <a:endParaRPr lang="en-GB" noProof="0"/>
          </a:p>
        </p:txBody>
      </p:sp>
      <p:sp>
        <p:nvSpPr>
          <p:cNvPr id="36" name="Number">
            <a:extLst>
              <a:ext uri="{FF2B5EF4-FFF2-40B4-BE49-F238E27FC236}">
                <a16:creationId xmlns:a16="http://schemas.microsoft.com/office/drawing/2014/main" id="{EB2FF840-5D29-6845-91DA-E82490F28637}"/>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6" name="Footer">
            <a:extLst>
              <a:ext uri="{FF2B5EF4-FFF2-40B4-BE49-F238E27FC236}">
                <a16:creationId xmlns:a16="http://schemas.microsoft.com/office/drawing/2014/main" id="{FD7C421D-A908-E241-99C0-BB3A8F81B258}"/>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
        <p:nvSpPr>
          <p:cNvPr id="2" name="Title 2">
            <a:extLst>
              <a:ext uri="{FF2B5EF4-FFF2-40B4-BE49-F238E27FC236}">
                <a16:creationId xmlns:a16="http://schemas.microsoft.com/office/drawing/2014/main" id="{AA97018A-ADC7-6A52-3431-F632FAA90CEF}"/>
              </a:ext>
            </a:extLst>
          </p:cNvPr>
          <p:cNvSpPr>
            <a:spLocks noGrp="1"/>
          </p:cNvSpPr>
          <p:nvPr>
            <p:ph type="title" hasCustomPrompt="1"/>
          </p:nvPr>
        </p:nvSpPr>
        <p:spPr>
          <a:xfrm>
            <a:off x="323850" y="-765589"/>
            <a:ext cx="8496300" cy="527051"/>
          </a:xfrm>
        </p:spPr>
        <p:txBody>
          <a:bodyPr/>
          <a:lstStyle>
            <a:lvl1pPr marL="0" marR="0" indent="0" algn="l" defTabSz="685800" rtl="0" eaLnBrk="1" fontAlgn="auto" latinLnBrk="0" hangingPunct="1">
              <a:lnSpc>
                <a:spcPct val="95000"/>
              </a:lnSpc>
              <a:spcBef>
                <a:spcPct val="0"/>
              </a:spcBef>
              <a:spcAft>
                <a:spcPts val="0"/>
              </a:spcAft>
              <a:buClrTx/>
              <a:buSzTx/>
              <a:buFontTx/>
              <a:buNone/>
              <a:tabLst/>
              <a:defRPr/>
            </a:lvl1pPr>
          </a:lstStyle>
          <a:p>
            <a:r>
              <a:rPr lang="en-GB"/>
              <a:t>Click to add hidden slide title for accessibility</a:t>
            </a:r>
          </a:p>
        </p:txBody>
      </p:sp>
    </p:spTree>
    <p:extLst>
      <p:ext uri="{BB962C8B-B14F-4D97-AF65-F5344CB8AC3E}">
        <p14:creationId xmlns:p14="http://schemas.microsoft.com/office/powerpoint/2010/main" val="562038243"/>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 Text and Vide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D26217-B4F8-053B-D113-5D90ECC2153D}"/>
              </a:ext>
            </a:extLst>
          </p:cNvPr>
          <p:cNvSpPr/>
          <p:nvPr userDrawn="1"/>
        </p:nvSpPr>
        <p:spPr>
          <a:xfrm>
            <a:off x="4499769" y="158750"/>
            <a:ext cx="144462" cy="4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Video">
            <a:extLst>
              <a:ext uri="{FF2B5EF4-FFF2-40B4-BE49-F238E27FC236}">
                <a16:creationId xmlns:a16="http://schemas.microsoft.com/office/drawing/2014/main" id="{0EE9A542-5863-3049-A7EF-24ADE3267341}"/>
              </a:ext>
            </a:extLst>
          </p:cNvPr>
          <p:cNvSpPr>
            <a:spLocks noGrp="1"/>
          </p:cNvSpPr>
          <p:nvPr>
            <p:ph type="media" sz="quarter" idx="15" hasCustomPrompt="1"/>
          </p:nvPr>
        </p:nvSpPr>
        <p:spPr>
          <a:xfrm>
            <a:off x="4643439" y="158750"/>
            <a:ext cx="4321174" cy="4681538"/>
          </a:xfrm>
          <a:blipFill dpi="0" rotWithShape="1">
            <a:blip r:embed="rId2"/>
            <a:srcRect/>
            <a:tile tx="0" ty="0" sx="100000" sy="100000" flip="none" algn="tl"/>
          </a:blipFill>
        </p:spPr>
        <p:txBody>
          <a:bodyPr vert="horz" lIns="90000" tIns="45720" rIns="90000" bIns="45720" rtlCol="0">
            <a:noAutofit/>
          </a:bodyPr>
          <a:lstStyle>
            <a:lvl1pPr marL="0" indent="0" algn="ctr">
              <a:buNone/>
              <a:defRPr lang="en-GB" sz="800" dirty="0">
                <a:solidFill>
                  <a:schemeClr val="bg1">
                    <a:lumMod val="75000"/>
                  </a:schemeClr>
                </a:solidFill>
              </a:defRPr>
            </a:lvl1pPr>
          </a:lstStyle>
          <a:p>
            <a:pPr marL="171450" lvl="0" indent="-171450" algn="ctr"/>
            <a:r>
              <a:rPr lang="en-GB"/>
              <a:t>Click on the icon to add video</a:t>
            </a:r>
          </a:p>
        </p:txBody>
      </p:sp>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323850" y="525600"/>
            <a:ext cx="4176713" cy="1583617"/>
          </a:xfrm>
        </p:spPr>
        <p:txBody>
          <a:bodyPr rIns="216000"/>
          <a:lstStyle>
            <a:lvl1pPr>
              <a:defRPr sz="3000" spc="-50"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50" y="276226"/>
            <a:ext cx="4176713" cy="276999"/>
          </a:xfrm>
        </p:spPr>
        <p:txBody>
          <a:bodyPr lIns="111600" rIns="216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chapter tracker</a:t>
            </a:r>
          </a:p>
          <a:p>
            <a:pPr lvl="0"/>
            <a:endParaRPr lang="en-GB" noProof="0"/>
          </a:p>
        </p:txBody>
      </p:sp>
      <p:sp>
        <p:nvSpPr>
          <p:cNvPr id="12" name="Text">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323851" y="2103438"/>
            <a:ext cx="4176712" cy="2607170"/>
          </a:xfrm>
        </p:spPr>
        <p:txBody>
          <a:bodyPr rIns="216000"/>
          <a:lstStyle>
            <a:lvl1pPr>
              <a:defRPr sz="1400"/>
            </a:lvl1pPr>
            <a:lvl2pPr>
              <a:defRPr sz="1200"/>
            </a:lvl2pPr>
            <a:lvl3pPr>
              <a:defRPr sz="1200"/>
            </a:lvl3pPr>
            <a:lvl4pPr>
              <a:defRPr sz="1200"/>
            </a:lvl4pPr>
            <a:lvl5pPr>
              <a:defRPr sz="12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Date">
            <a:extLst>
              <a:ext uri="{FF2B5EF4-FFF2-40B4-BE49-F238E27FC236}">
                <a16:creationId xmlns:a16="http://schemas.microsoft.com/office/drawing/2014/main" id="{B7D04508-015B-A24C-A068-9517A03041E5}"/>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3880F986-29B1-4CC1-908D-1508909E8409}" type="datetime1">
              <a:rPr lang="sv-SE" noProof="0" smtClean="0"/>
              <a:t>2025-09-04</a:t>
            </a:fld>
            <a:endParaRPr lang="en-GB" noProof="0"/>
          </a:p>
        </p:txBody>
      </p:sp>
      <p:sp>
        <p:nvSpPr>
          <p:cNvPr id="39" name="Number">
            <a:extLst>
              <a:ext uri="{FF2B5EF4-FFF2-40B4-BE49-F238E27FC236}">
                <a16:creationId xmlns:a16="http://schemas.microsoft.com/office/drawing/2014/main" id="{24E3E452-24F0-1B44-9014-429AC576B5B6}"/>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0" name="Footer">
            <a:extLst>
              <a:ext uri="{FF2B5EF4-FFF2-40B4-BE49-F238E27FC236}">
                <a16:creationId xmlns:a16="http://schemas.microsoft.com/office/drawing/2014/main" id="{9F273896-B1DA-2A4A-9AEB-368D26B986DD}"/>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3174655289"/>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6 Contact slide">
    <p:bg>
      <p:bgPr>
        <a:solidFill>
          <a:srgbClr val="EBF2F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3BCD082-6D86-921B-1F86-51388796B050}"/>
              </a:ext>
            </a:extLst>
          </p:cNvPr>
          <p:cNvSpPr/>
          <p:nvPr userDrawn="1"/>
        </p:nvSpPr>
        <p:spPr>
          <a:xfrm>
            <a:off x="5940425" y="158750"/>
            <a:ext cx="144462" cy="4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Image">
            <a:extLst>
              <a:ext uri="{FF2B5EF4-FFF2-40B4-BE49-F238E27FC236}">
                <a16:creationId xmlns:a16="http://schemas.microsoft.com/office/drawing/2014/main" id="{25798999-2A1E-2547-A8D5-4373B7132ADB}"/>
              </a:ext>
            </a:extLst>
          </p:cNvPr>
          <p:cNvSpPr>
            <a:spLocks noGrp="1"/>
          </p:cNvSpPr>
          <p:nvPr>
            <p:ph type="pic" sz="quarter" idx="10" hasCustomPrompt="1"/>
          </p:nvPr>
        </p:nvSpPr>
        <p:spPr>
          <a:xfrm>
            <a:off x="179388" y="158750"/>
            <a:ext cx="5761037" cy="4681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31" name="Title">
            <a:extLst>
              <a:ext uri="{FF2B5EF4-FFF2-40B4-BE49-F238E27FC236}">
                <a16:creationId xmlns:a16="http://schemas.microsoft.com/office/drawing/2014/main" id="{144BC857-79CB-DC47-950E-631BB0C70886}"/>
              </a:ext>
            </a:extLst>
          </p:cNvPr>
          <p:cNvSpPr>
            <a:spLocks noGrp="1"/>
          </p:cNvSpPr>
          <p:nvPr>
            <p:ph type="title" hasCustomPrompt="1"/>
          </p:nvPr>
        </p:nvSpPr>
        <p:spPr>
          <a:xfrm>
            <a:off x="6084888" y="594000"/>
            <a:ext cx="2736526" cy="1029237"/>
          </a:xfrm>
        </p:spPr>
        <p:txBody>
          <a:bodyPr lIns="154800" tIns="64800" rIns="144000"/>
          <a:lstStyle>
            <a:lvl1pPr marL="0" indent="0">
              <a:tabLst/>
              <a:defRPr sz="2000" spc="-30" baseline="0"/>
            </a:lvl1pPr>
          </a:lstStyle>
          <a:p>
            <a:r>
              <a:rPr lang="en-GB" noProof="0"/>
              <a:t>Click to add name and job title</a:t>
            </a:r>
          </a:p>
        </p:txBody>
      </p:sp>
      <p:sp>
        <p:nvSpPr>
          <p:cNvPr id="4" name="Contact">
            <a:extLst>
              <a:ext uri="{FF2B5EF4-FFF2-40B4-BE49-F238E27FC236}">
                <a16:creationId xmlns:a16="http://schemas.microsoft.com/office/drawing/2014/main" id="{EEF2FFD1-DBE4-AA42-98BA-1DAD9CA09A52}"/>
              </a:ext>
            </a:extLst>
          </p:cNvPr>
          <p:cNvSpPr txBox="1"/>
          <p:nvPr userDrawn="1"/>
        </p:nvSpPr>
        <p:spPr>
          <a:xfrm>
            <a:off x="6084886" y="276226"/>
            <a:ext cx="2736525" cy="276999"/>
          </a:xfrm>
          <a:prstGeom prst="rect">
            <a:avLst/>
          </a:prstGeom>
          <a:noFill/>
        </p:spPr>
        <p:txBody>
          <a:bodyPr wrap="square" lIns="154800" rIns="144000" rtlCol="0">
            <a:spAutoFit/>
          </a:bodyPr>
          <a:lstStyle/>
          <a:p>
            <a:r>
              <a:rPr lang="en-GB" sz="1200" b="1" noProof="0"/>
              <a:t>Contact</a:t>
            </a:r>
          </a:p>
        </p:txBody>
      </p:sp>
      <p:sp>
        <p:nvSpPr>
          <p:cNvPr id="32" name="Text">
            <a:extLst>
              <a:ext uri="{FF2B5EF4-FFF2-40B4-BE49-F238E27FC236}">
                <a16:creationId xmlns:a16="http://schemas.microsoft.com/office/drawing/2014/main" id="{2ADCBC67-4690-BD43-ABCE-F69DA625BC98}"/>
              </a:ext>
            </a:extLst>
          </p:cNvPr>
          <p:cNvSpPr>
            <a:spLocks noGrp="1"/>
          </p:cNvSpPr>
          <p:nvPr>
            <p:ph type="body" sz="quarter" idx="13" hasCustomPrompt="1"/>
          </p:nvPr>
        </p:nvSpPr>
        <p:spPr>
          <a:xfrm>
            <a:off x="6089938" y="2103438"/>
            <a:ext cx="2730212" cy="2592387"/>
          </a:xfrm>
        </p:spPr>
        <p:txBody>
          <a:bodyPr lIns="144000" rIns="144000"/>
          <a:lstStyle>
            <a:lvl1pPr marL="0" indent="0">
              <a:buNone/>
              <a:tabLst/>
              <a:defRPr sz="1200"/>
            </a:lvl1pPr>
            <a:lvl2pPr marL="0" indent="0">
              <a:buNone/>
              <a:tabLst/>
              <a:defRPr sz="1200"/>
            </a:lvl2pPr>
            <a:lvl3pPr marL="0" indent="0">
              <a:buNone/>
              <a:tabLst/>
              <a:defRPr sz="1200"/>
            </a:lvl3pPr>
            <a:lvl4pPr marL="0" indent="0">
              <a:buNone/>
              <a:tabLst/>
              <a:defRPr sz="1200"/>
            </a:lvl4pPr>
            <a:lvl5pPr marL="0" indent="0">
              <a:buNone/>
              <a:tabLst/>
              <a:defRPr sz="1200"/>
            </a:lvl5pPr>
          </a:lstStyle>
          <a:p>
            <a:pPr lvl="0"/>
            <a:r>
              <a:rPr lang="en-GB" noProof="0"/>
              <a:t>Click to add contact information</a:t>
            </a:r>
          </a:p>
        </p:txBody>
      </p:sp>
      <p:sp>
        <p:nvSpPr>
          <p:cNvPr id="11" name="Date">
            <a:extLst>
              <a:ext uri="{FF2B5EF4-FFF2-40B4-BE49-F238E27FC236}">
                <a16:creationId xmlns:a16="http://schemas.microsoft.com/office/drawing/2014/main" id="{38CA3AD7-12F8-9F43-820D-33071C26D41A}"/>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5479012A-BF15-431D-A666-573F1EB2F49B}" type="datetime1">
              <a:rPr lang="sv-SE" noProof="0" smtClean="0"/>
              <a:t>2025-09-04</a:t>
            </a:fld>
            <a:endParaRPr lang="en-GB" noProof="0"/>
          </a:p>
        </p:txBody>
      </p:sp>
      <p:sp>
        <p:nvSpPr>
          <p:cNvPr id="12" name="Number">
            <a:extLst>
              <a:ext uri="{FF2B5EF4-FFF2-40B4-BE49-F238E27FC236}">
                <a16:creationId xmlns:a16="http://schemas.microsoft.com/office/drawing/2014/main" id="{DFED6C3B-4A73-344C-A9A5-F8224178884F}"/>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4" name="Footer">
            <a:extLst>
              <a:ext uri="{FF2B5EF4-FFF2-40B4-BE49-F238E27FC236}">
                <a16:creationId xmlns:a16="http://schemas.microsoft.com/office/drawing/2014/main" id="{373FE5A1-132B-B247-9BF4-ED02DBE7E9C2}"/>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3690774089"/>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7 Mockup Samsung Galaxy">
    <p:bg>
      <p:bgPr>
        <a:solidFill>
          <a:srgbClr val="EBF2F3"/>
        </a:solidFill>
        <a:effectLst/>
      </p:bgPr>
    </p:bg>
    <p:spTree>
      <p:nvGrpSpPr>
        <p:cNvPr id="1" name=""/>
        <p:cNvGrpSpPr/>
        <p:nvPr/>
      </p:nvGrpSpPr>
      <p:grpSpPr>
        <a:xfrm>
          <a:off x="0" y="0"/>
          <a:ext cx="0" cy="0"/>
          <a:chOff x="0" y="0"/>
          <a:chExt cx="0" cy="0"/>
        </a:xfrm>
      </p:grpSpPr>
      <p:sp>
        <p:nvSpPr>
          <p:cNvPr id="9" name="Image">
            <a:extLst>
              <a:ext uri="{FF2B5EF4-FFF2-40B4-BE49-F238E27FC236}">
                <a16:creationId xmlns:a16="http://schemas.microsoft.com/office/drawing/2014/main" id="{10E8AA89-7C88-3143-8124-1E0503C42088}"/>
              </a:ext>
            </a:extLst>
          </p:cNvPr>
          <p:cNvSpPr>
            <a:spLocks noGrp="1"/>
          </p:cNvSpPr>
          <p:nvPr>
            <p:ph type="pic" sz="quarter" idx="12" hasCustomPrompt="1"/>
          </p:nvPr>
        </p:nvSpPr>
        <p:spPr>
          <a:xfrm>
            <a:off x="5809917" y="450447"/>
            <a:ext cx="1872000" cy="4104000"/>
          </a:xfrm>
          <a:prstGeom prst="roundRect">
            <a:avLst>
              <a:gd name="adj" fmla="val 10210"/>
            </a:avLst>
          </a:prstGeom>
          <a:blipFill dpi="0" rotWithShape="1">
            <a:blip r:embed="rId2"/>
            <a:srcRect/>
            <a:tile tx="0" ty="0" sx="100000" sy="100000" flip="none" algn="tl"/>
          </a:blipFill>
        </p:spPr>
        <p:txBody>
          <a:bodyPr/>
          <a:lstStyle>
            <a:lvl1pPr marL="4763" indent="-4763" algn="ctr">
              <a:buFont typeface="Arial" panose="020B0604020202020204" pitchFamily="34" charset="0"/>
              <a:buNone/>
              <a:tabLst/>
              <a:defRPr sz="800"/>
            </a:lvl1pPr>
          </a:lstStyle>
          <a:p>
            <a:r>
              <a:rPr lang="en-GB" noProof="0"/>
              <a:t>Click on the icon to add screenshot</a:t>
            </a:r>
          </a:p>
        </p:txBody>
      </p:sp>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323850" y="525600"/>
            <a:ext cx="4176713" cy="1498314"/>
          </a:xfrm>
        </p:spPr>
        <p:txBody>
          <a:bodyPr rIns="144000"/>
          <a:lstStyle>
            <a:lvl1pPr>
              <a:defRPr sz="3000" spc="-50"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49" y="276226"/>
            <a:ext cx="4176077" cy="276999"/>
          </a:xfrm>
        </p:spPr>
        <p:txBody>
          <a:bodyPr lIns="111600" rIns="144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a:t>
            </a:r>
            <a:r>
              <a:rPr lang="en-GB" noProof="0" err="1"/>
              <a:t>subheader</a:t>
            </a:r>
            <a:endParaRPr lang="en-GB" noProof="0"/>
          </a:p>
        </p:txBody>
      </p:sp>
      <p:sp>
        <p:nvSpPr>
          <p:cNvPr id="12" name="Text">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323851" y="2103438"/>
            <a:ext cx="4176712" cy="2592387"/>
          </a:xfrm>
        </p:spPr>
        <p:txBody>
          <a:bodyPr rIns="144000"/>
          <a:lstStyle>
            <a:lvl1pPr>
              <a:defRPr sz="1400"/>
            </a:lvl1pPr>
            <a:lvl2pPr>
              <a:defRPr sz="1200"/>
            </a:lvl2pPr>
            <a:lvl3pPr>
              <a:defRPr sz="1200"/>
            </a:lvl3pPr>
            <a:lvl4pPr>
              <a:defRPr sz="1200"/>
            </a:lvl4pPr>
            <a:lvl5pPr>
              <a:defRPr sz="12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5" name="Date">
            <a:extLst>
              <a:ext uri="{FF2B5EF4-FFF2-40B4-BE49-F238E27FC236}">
                <a16:creationId xmlns:a16="http://schemas.microsoft.com/office/drawing/2014/main" id="{FED9A850-451C-994B-9CEF-A2B324B2852F}"/>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BC8822F8-AE1E-4D29-8A44-3C722F8F2838}" type="datetime1">
              <a:rPr lang="sv-SE" noProof="0" smtClean="0"/>
              <a:t>2025-09-04</a:t>
            </a:fld>
            <a:endParaRPr lang="en-GB" noProof="0"/>
          </a:p>
        </p:txBody>
      </p:sp>
      <p:sp>
        <p:nvSpPr>
          <p:cNvPr id="36" name="Number">
            <a:extLst>
              <a:ext uri="{FF2B5EF4-FFF2-40B4-BE49-F238E27FC236}">
                <a16:creationId xmlns:a16="http://schemas.microsoft.com/office/drawing/2014/main" id="{3D6301AA-5E2B-7F46-BF55-64A8320A6BF9}"/>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3" name="Footer">
            <a:extLst>
              <a:ext uri="{FF2B5EF4-FFF2-40B4-BE49-F238E27FC236}">
                <a16:creationId xmlns:a16="http://schemas.microsoft.com/office/drawing/2014/main" id="{DC643E75-61AD-CE44-8B9B-514A1A088DD3}"/>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
        <p:nvSpPr>
          <p:cNvPr id="2" name="Freeform 1">
            <a:extLst>
              <a:ext uri="{FF2B5EF4-FFF2-40B4-BE49-F238E27FC236}">
                <a16:creationId xmlns:a16="http://schemas.microsoft.com/office/drawing/2014/main" id="{973A5889-ABE6-C735-E4C4-95E5FECAFFD8}"/>
              </a:ext>
            </a:extLst>
          </p:cNvPr>
          <p:cNvSpPr/>
          <p:nvPr userDrawn="1"/>
        </p:nvSpPr>
        <p:spPr>
          <a:xfrm>
            <a:off x="5732735" y="364451"/>
            <a:ext cx="2030518" cy="4275202"/>
          </a:xfrm>
          <a:custGeom>
            <a:avLst/>
            <a:gdLst>
              <a:gd name="connsiteX0" fmla="*/ 1308395 w 1308394"/>
              <a:gd name="connsiteY0" fmla="*/ 1065750 h 2754789"/>
              <a:gd name="connsiteX1" fmla="*/ 1308395 w 1308394"/>
              <a:gd name="connsiteY1" fmla="*/ 702997 h 2754789"/>
              <a:gd name="connsiteX2" fmla="*/ 1301796 w 1308394"/>
              <a:gd name="connsiteY2" fmla="*/ 702997 h 2754789"/>
              <a:gd name="connsiteX3" fmla="*/ 1301796 w 1308394"/>
              <a:gd name="connsiteY3" fmla="*/ 157594 h 2754789"/>
              <a:gd name="connsiteX4" fmla="*/ 1144203 w 1308394"/>
              <a:gd name="connsiteY4" fmla="*/ 0 h 2754789"/>
              <a:gd name="connsiteX5" fmla="*/ 157593 w 1308394"/>
              <a:gd name="connsiteY5" fmla="*/ 0 h 2754789"/>
              <a:gd name="connsiteX6" fmla="*/ 0 w 1308394"/>
              <a:gd name="connsiteY6" fmla="*/ 157594 h 2754789"/>
              <a:gd name="connsiteX7" fmla="*/ 0 w 1308394"/>
              <a:gd name="connsiteY7" fmla="*/ 2597196 h 2754789"/>
              <a:gd name="connsiteX8" fmla="*/ 157593 w 1308394"/>
              <a:gd name="connsiteY8" fmla="*/ 2754790 h 2754789"/>
              <a:gd name="connsiteX9" fmla="*/ 1144203 w 1308394"/>
              <a:gd name="connsiteY9" fmla="*/ 2754790 h 2754789"/>
              <a:gd name="connsiteX10" fmla="*/ 1301796 w 1308394"/>
              <a:gd name="connsiteY10" fmla="*/ 2597196 h 2754789"/>
              <a:gd name="connsiteX11" fmla="*/ 1301796 w 1308394"/>
              <a:gd name="connsiteY11" fmla="*/ 1368631 h 2754789"/>
              <a:gd name="connsiteX12" fmla="*/ 1308395 w 1308394"/>
              <a:gd name="connsiteY12" fmla="*/ 1368631 h 2754789"/>
              <a:gd name="connsiteX13" fmla="*/ 1308395 w 1308394"/>
              <a:gd name="connsiteY13" fmla="*/ 1196019 h 2754789"/>
              <a:gd name="connsiteX14" fmla="*/ 1301796 w 1308394"/>
              <a:gd name="connsiteY14" fmla="*/ 1196019 h 2754789"/>
              <a:gd name="connsiteX15" fmla="*/ 1301796 w 1308394"/>
              <a:gd name="connsiteY15" fmla="*/ 1065709 h 2754789"/>
              <a:gd name="connsiteX16" fmla="*/ 1308395 w 1308394"/>
              <a:gd name="connsiteY16" fmla="*/ 1065709 h 2754789"/>
              <a:gd name="connsiteX17" fmla="*/ 1246580 w 1308394"/>
              <a:gd name="connsiteY17" fmla="*/ 2589424 h 2754789"/>
              <a:gd name="connsiteX18" fmla="*/ 1138495 w 1308394"/>
              <a:gd name="connsiteY18" fmla="*/ 2697509 h 2754789"/>
              <a:gd name="connsiteX19" fmla="*/ 163301 w 1308394"/>
              <a:gd name="connsiteY19" fmla="*/ 2697509 h 2754789"/>
              <a:gd name="connsiteX20" fmla="*/ 55216 w 1308394"/>
              <a:gd name="connsiteY20" fmla="*/ 2589424 h 2754789"/>
              <a:gd name="connsiteX21" fmla="*/ 55216 w 1308394"/>
              <a:gd name="connsiteY21" fmla="*/ 165447 h 2754789"/>
              <a:gd name="connsiteX22" fmla="*/ 163301 w 1308394"/>
              <a:gd name="connsiteY22" fmla="*/ 57362 h 2754789"/>
              <a:gd name="connsiteX23" fmla="*/ 1138495 w 1308394"/>
              <a:gd name="connsiteY23" fmla="*/ 57362 h 2754789"/>
              <a:gd name="connsiteX24" fmla="*/ 1246580 w 1308394"/>
              <a:gd name="connsiteY24" fmla="*/ 165447 h 2754789"/>
              <a:gd name="connsiteX25" fmla="*/ 1246580 w 1308394"/>
              <a:gd name="connsiteY25" fmla="*/ 2589383 h 275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08394" h="2754789">
                <a:moveTo>
                  <a:pt x="1308395" y="1065750"/>
                </a:moveTo>
                <a:lnTo>
                  <a:pt x="1308395" y="702997"/>
                </a:lnTo>
                <a:lnTo>
                  <a:pt x="1301796" y="702997"/>
                </a:lnTo>
                <a:lnTo>
                  <a:pt x="1301796" y="157594"/>
                </a:lnTo>
                <a:cubicBezTo>
                  <a:pt x="1301796" y="70680"/>
                  <a:pt x="1231075" y="0"/>
                  <a:pt x="1144203" y="0"/>
                </a:cubicBezTo>
                <a:lnTo>
                  <a:pt x="157593" y="0"/>
                </a:lnTo>
                <a:cubicBezTo>
                  <a:pt x="70680" y="0"/>
                  <a:pt x="0" y="70721"/>
                  <a:pt x="0" y="157594"/>
                </a:cubicBezTo>
                <a:lnTo>
                  <a:pt x="0" y="2597196"/>
                </a:lnTo>
                <a:cubicBezTo>
                  <a:pt x="0" y="2684109"/>
                  <a:pt x="70721" y="2754790"/>
                  <a:pt x="157593" y="2754790"/>
                </a:cubicBezTo>
                <a:lnTo>
                  <a:pt x="1144203" y="2754790"/>
                </a:lnTo>
                <a:cubicBezTo>
                  <a:pt x="1231116" y="2754790"/>
                  <a:pt x="1301796" y="2684069"/>
                  <a:pt x="1301796" y="2597196"/>
                </a:cubicBezTo>
                <a:lnTo>
                  <a:pt x="1301796" y="1368631"/>
                </a:lnTo>
                <a:lnTo>
                  <a:pt x="1308395" y="1368631"/>
                </a:lnTo>
                <a:lnTo>
                  <a:pt x="1308395" y="1196019"/>
                </a:lnTo>
                <a:lnTo>
                  <a:pt x="1301796" y="1196019"/>
                </a:lnTo>
                <a:lnTo>
                  <a:pt x="1301796" y="1065709"/>
                </a:lnTo>
                <a:lnTo>
                  <a:pt x="1308395" y="1065709"/>
                </a:lnTo>
                <a:close/>
                <a:moveTo>
                  <a:pt x="1246580" y="2589424"/>
                </a:moveTo>
                <a:cubicBezTo>
                  <a:pt x="1246580" y="2649012"/>
                  <a:pt x="1198083" y="2697509"/>
                  <a:pt x="1138495" y="2697509"/>
                </a:cubicBezTo>
                <a:lnTo>
                  <a:pt x="163301" y="2697509"/>
                </a:lnTo>
                <a:cubicBezTo>
                  <a:pt x="103672" y="2697509"/>
                  <a:pt x="55216" y="2649012"/>
                  <a:pt x="55216" y="2589424"/>
                </a:cubicBezTo>
                <a:lnTo>
                  <a:pt x="55216" y="165447"/>
                </a:lnTo>
                <a:cubicBezTo>
                  <a:pt x="55216" y="105818"/>
                  <a:pt x="103713" y="57362"/>
                  <a:pt x="163301" y="57362"/>
                </a:cubicBezTo>
                <a:lnTo>
                  <a:pt x="1138495" y="57362"/>
                </a:lnTo>
                <a:cubicBezTo>
                  <a:pt x="1198083" y="57362"/>
                  <a:pt x="1246580" y="105859"/>
                  <a:pt x="1246580" y="165447"/>
                </a:cubicBezTo>
                <a:lnTo>
                  <a:pt x="1246580" y="2589383"/>
                </a:lnTo>
                <a:close/>
              </a:path>
            </a:pathLst>
          </a:custGeom>
          <a:gradFill>
            <a:gsLst>
              <a:gs pos="0">
                <a:schemeClr val="tx1"/>
              </a:gs>
              <a:gs pos="78000">
                <a:schemeClr val="tx1">
                  <a:lumMod val="85000"/>
                  <a:lumOff val="15000"/>
                </a:schemeClr>
              </a:gs>
              <a:gs pos="87000">
                <a:schemeClr val="tx1">
                  <a:lumMod val="75000"/>
                  <a:lumOff val="25000"/>
                </a:schemeClr>
              </a:gs>
              <a:gs pos="100000">
                <a:schemeClr val="bg1">
                  <a:lumMod val="50000"/>
                </a:schemeClr>
              </a:gs>
            </a:gsLst>
            <a:lin ang="3600000" scaled="0"/>
          </a:gradFill>
          <a:ln w="4048" cap="flat">
            <a:noFill/>
            <a:prstDash val="solid"/>
            <a:miter/>
          </a:ln>
        </p:spPr>
        <p:txBody>
          <a:bodyPr rtlCol="0" anchor="ctr"/>
          <a:lstStyle/>
          <a:p>
            <a:endParaRPr lang="en-GB"/>
          </a:p>
        </p:txBody>
      </p:sp>
    </p:spTree>
    <p:extLst>
      <p:ext uri="{BB962C8B-B14F-4D97-AF65-F5344CB8AC3E}">
        <p14:creationId xmlns:p14="http://schemas.microsoft.com/office/powerpoint/2010/main" val="3078590515"/>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7 Mockup Iphone SE">
    <p:bg>
      <p:bgPr>
        <a:solidFill>
          <a:srgbClr val="EBF2F3"/>
        </a:solidFill>
        <a:effectLst/>
      </p:bgPr>
    </p:bg>
    <p:spTree>
      <p:nvGrpSpPr>
        <p:cNvPr id="1" name=""/>
        <p:cNvGrpSpPr/>
        <p:nvPr/>
      </p:nvGrpSpPr>
      <p:grpSpPr>
        <a:xfrm>
          <a:off x="0" y="0"/>
          <a:ext cx="0" cy="0"/>
          <a:chOff x="0" y="0"/>
          <a:chExt cx="0" cy="0"/>
        </a:xfrm>
      </p:grpSpPr>
      <p:sp>
        <p:nvSpPr>
          <p:cNvPr id="38" name="Picture Placeholder 37">
            <a:extLst>
              <a:ext uri="{FF2B5EF4-FFF2-40B4-BE49-F238E27FC236}">
                <a16:creationId xmlns:a16="http://schemas.microsoft.com/office/drawing/2014/main" id="{7539A5C1-D35D-699A-EDB3-89B231932F8F}"/>
              </a:ext>
            </a:extLst>
          </p:cNvPr>
          <p:cNvSpPr>
            <a:spLocks noGrp="1" noChangeAspect="1"/>
          </p:cNvSpPr>
          <p:nvPr>
            <p:ph type="pic" sz="quarter" idx="12" hasCustomPrompt="1"/>
          </p:nvPr>
        </p:nvSpPr>
        <p:spPr>
          <a:xfrm>
            <a:off x="5797437" y="870075"/>
            <a:ext cx="1919002" cy="3241550"/>
          </a:xfrm>
          <a:custGeom>
            <a:avLst/>
            <a:gdLst>
              <a:gd name="connsiteX0" fmla="*/ 0 w 1919002"/>
              <a:gd name="connsiteY0" fmla="*/ 0 h 3241550"/>
              <a:gd name="connsiteX1" fmla="*/ 1919002 w 1919002"/>
              <a:gd name="connsiteY1" fmla="*/ 0 h 3241550"/>
              <a:gd name="connsiteX2" fmla="*/ 1919002 w 1919002"/>
              <a:gd name="connsiteY2" fmla="*/ 3241550 h 3241550"/>
              <a:gd name="connsiteX3" fmla="*/ 0 w 1919002"/>
              <a:gd name="connsiteY3" fmla="*/ 3241550 h 3241550"/>
            </a:gdLst>
            <a:ahLst/>
            <a:cxnLst>
              <a:cxn ang="0">
                <a:pos x="connsiteX0" y="connsiteY0"/>
              </a:cxn>
              <a:cxn ang="0">
                <a:pos x="connsiteX1" y="connsiteY1"/>
              </a:cxn>
              <a:cxn ang="0">
                <a:pos x="connsiteX2" y="connsiteY2"/>
              </a:cxn>
              <a:cxn ang="0">
                <a:pos x="connsiteX3" y="connsiteY3"/>
              </a:cxn>
            </a:cxnLst>
            <a:rect l="l" t="t" r="r" b="b"/>
            <a:pathLst>
              <a:path w="1919002" h="3241550">
                <a:moveTo>
                  <a:pt x="0" y="0"/>
                </a:moveTo>
                <a:lnTo>
                  <a:pt x="1919002" y="0"/>
                </a:lnTo>
                <a:lnTo>
                  <a:pt x="1919002" y="3241550"/>
                </a:lnTo>
                <a:lnTo>
                  <a:pt x="0" y="3241550"/>
                </a:lnTo>
                <a:close/>
              </a:path>
            </a:pathLst>
          </a:custGeom>
          <a:blipFill dpi="0" rotWithShape="1">
            <a:blip r:embed="rId2"/>
            <a:srcRect/>
            <a:tile tx="0" ty="0" sx="100000" sy="100000" flip="none" algn="tl"/>
          </a:blipFill>
        </p:spPr>
        <p:txBody>
          <a:bodyPr wrap="square">
            <a:noAutofit/>
          </a:bodyPr>
          <a:lstStyle>
            <a:lvl1pPr marL="4763" indent="-4763" algn="ctr">
              <a:buFont typeface="Arial" panose="020B0604020202020204" pitchFamily="34" charset="0"/>
              <a:buNone/>
              <a:tabLst/>
              <a:defRPr sz="800"/>
            </a:lvl1pPr>
          </a:lstStyle>
          <a:p>
            <a:r>
              <a:rPr lang="en-GB" noProof="0"/>
              <a:t>Click on the icon to add screenshot</a:t>
            </a:r>
          </a:p>
        </p:txBody>
      </p:sp>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323850" y="525600"/>
            <a:ext cx="4176713" cy="1498314"/>
          </a:xfrm>
        </p:spPr>
        <p:txBody>
          <a:bodyPr rIns="144000"/>
          <a:lstStyle>
            <a:lvl1pPr>
              <a:defRPr sz="3000" spc="-50"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49" y="276226"/>
            <a:ext cx="4176077" cy="276999"/>
          </a:xfrm>
        </p:spPr>
        <p:txBody>
          <a:bodyPr lIns="111600" rIns="144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a:t>
            </a:r>
            <a:r>
              <a:rPr lang="en-GB" noProof="0" err="1"/>
              <a:t>subheader</a:t>
            </a:r>
            <a:endParaRPr lang="en-GB" noProof="0"/>
          </a:p>
        </p:txBody>
      </p:sp>
      <p:sp>
        <p:nvSpPr>
          <p:cNvPr id="12" name="Text">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323851" y="2103438"/>
            <a:ext cx="4176712" cy="2592387"/>
          </a:xfrm>
        </p:spPr>
        <p:txBody>
          <a:bodyPr rIns="144000"/>
          <a:lstStyle>
            <a:lvl1pPr>
              <a:defRPr sz="1400"/>
            </a:lvl1pPr>
            <a:lvl2pPr>
              <a:defRPr sz="1200"/>
            </a:lvl2pPr>
            <a:lvl3pPr>
              <a:defRPr sz="1200"/>
            </a:lvl3pPr>
            <a:lvl4pPr>
              <a:defRPr sz="1200"/>
            </a:lvl4pPr>
            <a:lvl5pPr>
              <a:defRPr sz="12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5" name="Date">
            <a:extLst>
              <a:ext uri="{FF2B5EF4-FFF2-40B4-BE49-F238E27FC236}">
                <a16:creationId xmlns:a16="http://schemas.microsoft.com/office/drawing/2014/main" id="{FED9A850-451C-994B-9CEF-A2B324B2852F}"/>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5CCAE41F-696E-491E-B9D7-466545113BE9}" type="datetime1">
              <a:rPr lang="sv-SE" noProof="0" smtClean="0"/>
              <a:t>2025-09-04</a:t>
            </a:fld>
            <a:endParaRPr lang="en-GB" noProof="0"/>
          </a:p>
        </p:txBody>
      </p:sp>
      <p:sp>
        <p:nvSpPr>
          <p:cNvPr id="36" name="Number">
            <a:extLst>
              <a:ext uri="{FF2B5EF4-FFF2-40B4-BE49-F238E27FC236}">
                <a16:creationId xmlns:a16="http://schemas.microsoft.com/office/drawing/2014/main" id="{3D6301AA-5E2B-7F46-BF55-64A8320A6BF9}"/>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3" name="Footer">
            <a:extLst>
              <a:ext uri="{FF2B5EF4-FFF2-40B4-BE49-F238E27FC236}">
                <a16:creationId xmlns:a16="http://schemas.microsoft.com/office/drawing/2014/main" id="{DC643E75-61AD-CE44-8B9B-514A1A088DD3}"/>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grpSp>
        <p:nvGrpSpPr>
          <p:cNvPr id="32" name="Group 31">
            <a:extLst>
              <a:ext uri="{FF2B5EF4-FFF2-40B4-BE49-F238E27FC236}">
                <a16:creationId xmlns:a16="http://schemas.microsoft.com/office/drawing/2014/main" id="{AFBAA733-7015-80D9-A396-F02B90862771}"/>
              </a:ext>
            </a:extLst>
          </p:cNvPr>
          <p:cNvGrpSpPr>
            <a:grpSpLocks noChangeAspect="1"/>
          </p:cNvGrpSpPr>
          <p:nvPr userDrawn="1"/>
        </p:nvGrpSpPr>
        <p:grpSpPr>
          <a:xfrm>
            <a:off x="5698184" y="358140"/>
            <a:ext cx="2111548" cy="4287600"/>
            <a:chOff x="-3606774" y="-142106"/>
            <a:chExt cx="1363570" cy="2768795"/>
          </a:xfrm>
          <a:noFill/>
        </p:grpSpPr>
        <p:sp>
          <p:nvSpPr>
            <p:cNvPr id="25" name="Freeform 24">
              <a:extLst>
                <a:ext uri="{FF2B5EF4-FFF2-40B4-BE49-F238E27FC236}">
                  <a16:creationId xmlns:a16="http://schemas.microsoft.com/office/drawing/2014/main" id="{8C47638F-13B6-E112-CA84-25237C4CCEDF}"/>
                </a:ext>
              </a:extLst>
            </p:cNvPr>
            <p:cNvSpPr/>
            <p:nvPr/>
          </p:nvSpPr>
          <p:spPr>
            <a:xfrm>
              <a:off x="-3606774" y="-142106"/>
              <a:ext cx="1363570" cy="2768795"/>
            </a:xfrm>
            <a:custGeom>
              <a:avLst/>
              <a:gdLst>
                <a:gd name="connsiteX0" fmla="*/ 1350414 w 1363570"/>
                <a:gd name="connsiteY0" fmla="*/ 601066 h 2768795"/>
                <a:gd name="connsiteX1" fmla="*/ 1346771 w 1363570"/>
                <a:gd name="connsiteY1" fmla="*/ 601066 h 2768795"/>
                <a:gd name="connsiteX2" fmla="*/ 1346771 w 1363570"/>
                <a:gd name="connsiteY2" fmla="*/ 208114 h 2768795"/>
                <a:gd name="connsiteX3" fmla="*/ 1138657 w 1363570"/>
                <a:gd name="connsiteY3" fmla="*/ 0 h 2768795"/>
                <a:gd name="connsiteX4" fmla="*/ 227140 w 1363570"/>
                <a:gd name="connsiteY4" fmla="*/ 0 h 2768795"/>
                <a:gd name="connsiteX5" fmla="*/ 19026 w 1363570"/>
                <a:gd name="connsiteY5" fmla="*/ 208114 h 2768795"/>
                <a:gd name="connsiteX6" fmla="*/ 19026 w 1363570"/>
                <a:gd name="connsiteY6" fmla="*/ 367327 h 2768795"/>
                <a:gd name="connsiteX7" fmla="*/ 13156 w 1363570"/>
                <a:gd name="connsiteY7" fmla="*/ 367327 h 2768795"/>
                <a:gd name="connsiteX8" fmla="*/ 0 w 1363570"/>
                <a:gd name="connsiteY8" fmla="*/ 380483 h 2768795"/>
                <a:gd name="connsiteX9" fmla="*/ 0 w 1363570"/>
                <a:gd name="connsiteY9" fmla="*/ 460191 h 2768795"/>
                <a:gd name="connsiteX10" fmla="*/ 13156 w 1363570"/>
                <a:gd name="connsiteY10" fmla="*/ 473347 h 2768795"/>
                <a:gd name="connsiteX11" fmla="*/ 19026 w 1363570"/>
                <a:gd name="connsiteY11" fmla="*/ 473347 h 2768795"/>
                <a:gd name="connsiteX12" fmla="*/ 19026 w 1363570"/>
                <a:gd name="connsiteY12" fmla="*/ 601066 h 2768795"/>
                <a:gd name="connsiteX13" fmla="*/ 13156 w 1363570"/>
                <a:gd name="connsiteY13" fmla="*/ 601066 h 2768795"/>
                <a:gd name="connsiteX14" fmla="*/ 0 w 1363570"/>
                <a:gd name="connsiteY14" fmla="*/ 614222 h 2768795"/>
                <a:gd name="connsiteX15" fmla="*/ 0 w 1363570"/>
                <a:gd name="connsiteY15" fmla="*/ 787927 h 2768795"/>
                <a:gd name="connsiteX16" fmla="*/ 13156 w 1363570"/>
                <a:gd name="connsiteY16" fmla="*/ 801083 h 2768795"/>
                <a:gd name="connsiteX17" fmla="*/ 19026 w 1363570"/>
                <a:gd name="connsiteY17" fmla="*/ 801083 h 2768795"/>
                <a:gd name="connsiteX18" fmla="*/ 19026 w 1363570"/>
                <a:gd name="connsiteY18" fmla="*/ 847354 h 2768795"/>
                <a:gd name="connsiteX19" fmla="*/ 13156 w 1363570"/>
                <a:gd name="connsiteY19" fmla="*/ 847354 h 2768795"/>
                <a:gd name="connsiteX20" fmla="*/ 0 w 1363570"/>
                <a:gd name="connsiteY20" fmla="*/ 860510 h 2768795"/>
                <a:gd name="connsiteX21" fmla="*/ 0 w 1363570"/>
                <a:gd name="connsiteY21" fmla="*/ 1034215 h 2768795"/>
                <a:gd name="connsiteX22" fmla="*/ 13156 w 1363570"/>
                <a:gd name="connsiteY22" fmla="*/ 1047371 h 2768795"/>
                <a:gd name="connsiteX23" fmla="*/ 19026 w 1363570"/>
                <a:gd name="connsiteY23" fmla="*/ 1047371 h 2768795"/>
                <a:gd name="connsiteX24" fmla="*/ 19026 w 1363570"/>
                <a:gd name="connsiteY24" fmla="*/ 2560682 h 2768795"/>
                <a:gd name="connsiteX25" fmla="*/ 227140 w 1363570"/>
                <a:gd name="connsiteY25" fmla="*/ 2768796 h 2768795"/>
                <a:gd name="connsiteX26" fmla="*/ 1138657 w 1363570"/>
                <a:gd name="connsiteY26" fmla="*/ 2768796 h 2768795"/>
                <a:gd name="connsiteX27" fmla="*/ 1346771 w 1363570"/>
                <a:gd name="connsiteY27" fmla="*/ 2560682 h 2768795"/>
                <a:gd name="connsiteX28" fmla="*/ 1346771 w 1363570"/>
                <a:gd name="connsiteY28" fmla="*/ 801124 h 2768795"/>
                <a:gd name="connsiteX29" fmla="*/ 1350414 w 1363570"/>
                <a:gd name="connsiteY29" fmla="*/ 801124 h 2768795"/>
                <a:gd name="connsiteX30" fmla="*/ 1363570 w 1363570"/>
                <a:gd name="connsiteY30" fmla="*/ 787968 h 2768795"/>
                <a:gd name="connsiteX31" fmla="*/ 1363570 w 1363570"/>
                <a:gd name="connsiteY31" fmla="*/ 614263 h 2768795"/>
                <a:gd name="connsiteX32" fmla="*/ 1350414 w 1363570"/>
                <a:gd name="connsiteY32" fmla="*/ 601106 h 2768795"/>
                <a:gd name="connsiteX33" fmla="*/ 1350414 w 1363570"/>
                <a:gd name="connsiteY33" fmla="*/ 601106 h 2768795"/>
                <a:gd name="connsiteX34" fmla="*/ 1298193 w 1363570"/>
                <a:gd name="connsiteY34" fmla="*/ 2421062 h 2768795"/>
                <a:gd name="connsiteX35" fmla="*/ 67563 w 1363570"/>
                <a:gd name="connsiteY35" fmla="*/ 2421062 h 2768795"/>
                <a:gd name="connsiteX36" fmla="*/ 67563 w 1363570"/>
                <a:gd name="connsiteY36" fmla="*/ 333525 h 2768795"/>
                <a:gd name="connsiteX37" fmla="*/ 1298193 w 1363570"/>
                <a:gd name="connsiteY37" fmla="*/ 333525 h 2768795"/>
                <a:gd name="connsiteX38" fmla="*/ 1298193 w 1363570"/>
                <a:gd name="connsiteY38" fmla="*/ 2421103 h 2768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363570" h="2768795">
                  <a:moveTo>
                    <a:pt x="1350414" y="601066"/>
                  </a:moveTo>
                  <a:lnTo>
                    <a:pt x="1346771" y="601066"/>
                  </a:lnTo>
                  <a:lnTo>
                    <a:pt x="1346771" y="208114"/>
                  </a:lnTo>
                  <a:cubicBezTo>
                    <a:pt x="1346771" y="93350"/>
                    <a:pt x="1253421" y="0"/>
                    <a:pt x="1138657" y="0"/>
                  </a:cubicBezTo>
                  <a:lnTo>
                    <a:pt x="227140" y="0"/>
                  </a:lnTo>
                  <a:cubicBezTo>
                    <a:pt x="112376" y="0"/>
                    <a:pt x="19026" y="93350"/>
                    <a:pt x="19026" y="208114"/>
                  </a:cubicBezTo>
                  <a:lnTo>
                    <a:pt x="19026" y="367327"/>
                  </a:lnTo>
                  <a:lnTo>
                    <a:pt x="13156" y="367327"/>
                  </a:lnTo>
                  <a:cubicBezTo>
                    <a:pt x="5910" y="367327"/>
                    <a:pt x="0" y="373237"/>
                    <a:pt x="0" y="380483"/>
                  </a:cubicBezTo>
                  <a:lnTo>
                    <a:pt x="0" y="460191"/>
                  </a:lnTo>
                  <a:cubicBezTo>
                    <a:pt x="0" y="467437"/>
                    <a:pt x="5910" y="473347"/>
                    <a:pt x="13156" y="473347"/>
                  </a:cubicBezTo>
                  <a:lnTo>
                    <a:pt x="19026" y="473347"/>
                  </a:lnTo>
                  <a:lnTo>
                    <a:pt x="19026" y="601066"/>
                  </a:lnTo>
                  <a:lnTo>
                    <a:pt x="13156" y="601066"/>
                  </a:lnTo>
                  <a:cubicBezTo>
                    <a:pt x="5910" y="601066"/>
                    <a:pt x="0" y="606976"/>
                    <a:pt x="0" y="614222"/>
                  </a:cubicBezTo>
                  <a:lnTo>
                    <a:pt x="0" y="787927"/>
                  </a:lnTo>
                  <a:cubicBezTo>
                    <a:pt x="0" y="795173"/>
                    <a:pt x="5910" y="801083"/>
                    <a:pt x="13156" y="801083"/>
                  </a:cubicBezTo>
                  <a:lnTo>
                    <a:pt x="19026" y="801083"/>
                  </a:lnTo>
                  <a:lnTo>
                    <a:pt x="19026" y="847354"/>
                  </a:lnTo>
                  <a:lnTo>
                    <a:pt x="13156" y="847354"/>
                  </a:lnTo>
                  <a:cubicBezTo>
                    <a:pt x="5910" y="847354"/>
                    <a:pt x="0" y="853264"/>
                    <a:pt x="0" y="860510"/>
                  </a:cubicBezTo>
                  <a:lnTo>
                    <a:pt x="0" y="1034215"/>
                  </a:lnTo>
                  <a:cubicBezTo>
                    <a:pt x="0" y="1041461"/>
                    <a:pt x="5910" y="1047371"/>
                    <a:pt x="13156" y="1047371"/>
                  </a:cubicBezTo>
                  <a:lnTo>
                    <a:pt x="19026" y="1047371"/>
                  </a:lnTo>
                  <a:lnTo>
                    <a:pt x="19026" y="2560682"/>
                  </a:lnTo>
                  <a:cubicBezTo>
                    <a:pt x="19026" y="2675446"/>
                    <a:pt x="112376" y="2768796"/>
                    <a:pt x="227140" y="2768796"/>
                  </a:cubicBezTo>
                  <a:lnTo>
                    <a:pt x="1138657" y="2768796"/>
                  </a:lnTo>
                  <a:cubicBezTo>
                    <a:pt x="1253421" y="2768796"/>
                    <a:pt x="1346771" y="2675446"/>
                    <a:pt x="1346771" y="2560682"/>
                  </a:cubicBezTo>
                  <a:lnTo>
                    <a:pt x="1346771" y="801124"/>
                  </a:lnTo>
                  <a:lnTo>
                    <a:pt x="1350414" y="801124"/>
                  </a:lnTo>
                  <a:cubicBezTo>
                    <a:pt x="1357660" y="801124"/>
                    <a:pt x="1363570" y="795214"/>
                    <a:pt x="1363570" y="787968"/>
                  </a:cubicBezTo>
                  <a:lnTo>
                    <a:pt x="1363570" y="614263"/>
                  </a:lnTo>
                  <a:cubicBezTo>
                    <a:pt x="1363570" y="607016"/>
                    <a:pt x="1357660" y="601106"/>
                    <a:pt x="1350414" y="601106"/>
                  </a:cubicBezTo>
                  <a:lnTo>
                    <a:pt x="1350414" y="601106"/>
                  </a:lnTo>
                  <a:close/>
                  <a:moveTo>
                    <a:pt x="1298193" y="2421062"/>
                  </a:moveTo>
                  <a:lnTo>
                    <a:pt x="67563" y="2421062"/>
                  </a:lnTo>
                  <a:lnTo>
                    <a:pt x="67563" y="333525"/>
                  </a:lnTo>
                  <a:lnTo>
                    <a:pt x="1298193" y="333525"/>
                  </a:lnTo>
                  <a:lnTo>
                    <a:pt x="1298193" y="2421103"/>
                  </a:lnTo>
                  <a:close/>
                </a:path>
              </a:pathLst>
            </a:custGeom>
            <a:gradFill>
              <a:gsLst>
                <a:gs pos="0">
                  <a:schemeClr val="tx1"/>
                </a:gs>
                <a:gs pos="78000">
                  <a:schemeClr val="tx1">
                    <a:lumMod val="85000"/>
                    <a:lumOff val="15000"/>
                  </a:schemeClr>
                </a:gs>
                <a:gs pos="87000">
                  <a:schemeClr val="tx1">
                    <a:lumMod val="75000"/>
                    <a:lumOff val="25000"/>
                  </a:schemeClr>
                </a:gs>
                <a:gs pos="100000">
                  <a:schemeClr val="bg1">
                    <a:lumMod val="50000"/>
                  </a:schemeClr>
                </a:gs>
              </a:gsLst>
              <a:lin ang="3600000" scaled="0"/>
            </a:gradFill>
            <a:ln w="4048" cap="flat">
              <a:noFill/>
              <a:prstDash val="solid"/>
              <a:miter/>
            </a:ln>
          </p:spPr>
          <p:txBody>
            <a:bodyPr rtlCol="0" anchor="ctr"/>
            <a:lstStyle/>
            <a:p>
              <a:endParaRPr lang="en-GB"/>
            </a:p>
          </p:txBody>
        </p:sp>
        <p:sp>
          <p:nvSpPr>
            <p:cNvPr id="26" name="Freeform 25">
              <a:extLst>
                <a:ext uri="{FF2B5EF4-FFF2-40B4-BE49-F238E27FC236}">
                  <a16:creationId xmlns:a16="http://schemas.microsoft.com/office/drawing/2014/main" id="{5F27A178-73BA-65EC-8852-F08EBE8ED68E}"/>
                </a:ext>
              </a:extLst>
            </p:cNvPr>
            <p:cNvSpPr/>
            <p:nvPr/>
          </p:nvSpPr>
          <p:spPr>
            <a:xfrm>
              <a:off x="-3025706" y="2335507"/>
              <a:ext cx="203620" cy="203620"/>
            </a:xfrm>
            <a:custGeom>
              <a:avLst/>
              <a:gdLst>
                <a:gd name="connsiteX0" fmla="*/ 101810 w 203620"/>
                <a:gd name="connsiteY0" fmla="*/ 203621 h 203620"/>
                <a:gd name="connsiteX1" fmla="*/ 0 w 203620"/>
                <a:gd name="connsiteY1" fmla="*/ 101810 h 203620"/>
                <a:gd name="connsiteX2" fmla="*/ 101810 w 203620"/>
                <a:gd name="connsiteY2" fmla="*/ 0 h 203620"/>
                <a:gd name="connsiteX3" fmla="*/ 203620 w 203620"/>
                <a:gd name="connsiteY3" fmla="*/ 101810 h 203620"/>
                <a:gd name="connsiteX4" fmla="*/ 101810 w 203620"/>
                <a:gd name="connsiteY4" fmla="*/ 203621 h 203620"/>
                <a:gd name="connsiteX5" fmla="*/ 101810 w 203620"/>
                <a:gd name="connsiteY5" fmla="*/ 16152 h 203620"/>
                <a:gd name="connsiteX6" fmla="*/ 16193 w 203620"/>
                <a:gd name="connsiteY6" fmla="*/ 101770 h 203620"/>
                <a:gd name="connsiteX7" fmla="*/ 101810 w 203620"/>
                <a:gd name="connsiteY7" fmla="*/ 187388 h 203620"/>
                <a:gd name="connsiteX8" fmla="*/ 187428 w 203620"/>
                <a:gd name="connsiteY8" fmla="*/ 101770 h 203620"/>
                <a:gd name="connsiteX9" fmla="*/ 101810 w 203620"/>
                <a:gd name="connsiteY9" fmla="*/ 16152 h 203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620" h="203620">
                  <a:moveTo>
                    <a:pt x="101810" y="203621"/>
                  </a:moveTo>
                  <a:cubicBezTo>
                    <a:pt x="45662" y="203621"/>
                    <a:pt x="0" y="157958"/>
                    <a:pt x="0" y="101810"/>
                  </a:cubicBezTo>
                  <a:cubicBezTo>
                    <a:pt x="0" y="45663"/>
                    <a:pt x="45662" y="0"/>
                    <a:pt x="101810" y="0"/>
                  </a:cubicBezTo>
                  <a:cubicBezTo>
                    <a:pt x="157957" y="0"/>
                    <a:pt x="203620" y="45663"/>
                    <a:pt x="203620" y="101810"/>
                  </a:cubicBezTo>
                  <a:cubicBezTo>
                    <a:pt x="203620" y="157958"/>
                    <a:pt x="157957" y="203621"/>
                    <a:pt x="101810" y="203621"/>
                  </a:cubicBezTo>
                  <a:close/>
                  <a:moveTo>
                    <a:pt x="101810" y="16152"/>
                  </a:moveTo>
                  <a:cubicBezTo>
                    <a:pt x="54609" y="16152"/>
                    <a:pt x="16193" y="54569"/>
                    <a:pt x="16193" y="101770"/>
                  </a:cubicBezTo>
                  <a:cubicBezTo>
                    <a:pt x="16193" y="148971"/>
                    <a:pt x="54609" y="187388"/>
                    <a:pt x="101810" y="187388"/>
                  </a:cubicBezTo>
                  <a:cubicBezTo>
                    <a:pt x="149011" y="187388"/>
                    <a:pt x="187428" y="148971"/>
                    <a:pt x="187428" y="101770"/>
                  </a:cubicBezTo>
                  <a:cubicBezTo>
                    <a:pt x="187428" y="54569"/>
                    <a:pt x="149011" y="16152"/>
                    <a:pt x="101810" y="16152"/>
                  </a:cubicBezTo>
                  <a:close/>
                </a:path>
              </a:pathLst>
            </a:custGeom>
            <a:solidFill>
              <a:schemeClr val="tx1">
                <a:lumMod val="65000"/>
                <a:lumOff val="35000"/>
              </a:schemeClr>
            </a:solidFill>
            <a:ln w="4048" cap="flat">
              <a:noFill/>
              <a:prstDash val="solid"/>
              <a:miter/>
            </a:ln>
          </p:spPr>
          <p:txBody>
            <a:bodyPr rtlCol="0" anchor="ctr"/>
            <a:lstStyle/>
            <a:p>
              <a:endParaRPr lang="en-GB"/>
            </a:p>
          </p:txBody>
        </p:sp>
        <p:sp>
          <p:nvSpPr>
            <p:cNvPr id="27" name="Freeform 26">
              <a:extLst>
                <a:ext uri="{FF2B5EF4-FFF2-40B4-BE49-F238E27FC236}">
                  <a16:creationId xmlns:a16="http://schemas.microsoft.com/office/drawing/2014/main" id="{496BA5AE-C5BB-ADAC-69EB-D492ED1D6C73}"/>
                </a:ext>
              </a:extLst>
            </p:cNvPr>
            <p:cNvSpPr/>
            <p:nvPr/>
          </p:nvSpPr>
          <p:spPr>
            <a:xfrm>
              <a:off x="-3043720" y="33824"/>
              <a:ext cx="239689" cy="36433"/>
            </a:xfrm>
            <a:custGeom>
              <a:avLst/>
              <a:gdLst>
                <a:gd name="connsiteX0" fmla="*/ 221473 w 239689"/>
                <a:gd name="connsiteY0" fmla="*/ 36433 h 36433"/>
                <a:gd name="connsiteX1" fmla="*/ 18217 w 239689"/>
                <a:gd name="connsiteY1" fmla="*/ 36433 h 36433"/>
                <a:gd name="connsiteX2" fmla="*/ 0 w 239689"/>
                <a:gd name="connsiteY2" fmla="*/ 18217 h 36433"/>
                <a:gd name="connsiteX3" fmla="*/ 18217 w 239689"/>
                <a:gd name="connsiteY3" fmla="*/ 0 h 36433"/>
                <a:gd name="connsiteX4" fmla="*/ 221473 w 239689"/>
                <a:gd name="connsiteY4" fmla="*/ 0 h 36433"/>
                <a:gd name="connsiteX5" fmla="*/ 239690 w 239689"/>
                <a:gd name="connsiteY5" fmla="*/ 18217 h 36433"/>
                <a:gd name="connsiteX6" fmla="*/ 221473 w 239689"/>
                <a:gd name="connsiteY6" fmla="*/ 36433 h 36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689" h="36433">
                  <a:moveTo>
                    <a:pt x="221473" y="36433"/>
                  </a:moveTo>
                  <a:lnTo>
                    <a:pt x="18217" y="36433"/>
                  </a:lnTo>
                  <a:cubicBezTo>
                    <a:pt x="8137" y="36433"/>
                    <a:pt x="0" y="28296"/>
                    <a:pt x="0" y="18217"/>
                  </a:cubicBezTo>
                  <a:cubicBezTo>
                    <a:pt x="0" y="8137"/>
                    <a:pt x="8137" y="0"/>
                    <a:pt x="18217" y="0"/>
                  </a:cubicBezTo>
                  <a:lnTo>
                    <a:pt x="221473" y="0"/>
                  </a:lnTo>
                  <a:cubicBezTo>
                    <a:pt x="231553" y="0"/>
                    <a:pt x="239690" y="8137"/>
                    <a:pt x="239690" y="18217"/>
                  </a:cubicBezTo>
                  <a:cubicBezTo>
                    <a:pt x="239690" y="28296"/>
                    <a:pt x="231553" y="36433"/>
                    <a:pt x="221473" y="36433"/>
                  </a:cubicBezTo>
                  <a:close/>
                </a:path>
              </a:pathLst>
            </a:custGeom>
            <a:solidFill>
              <a:schemeClr val="tx1">
                <a:lumMod val="65000"/>
                <a:lumOff val="35000"/>
              </a:schemeClr>
            </a:solidFill>
            <a:ln w="4048" cap="flat">
              <a:noFill/>
              <a:prstDash val="solid"/>
              <a:miter/>
            </a:ln>
          </p:spPr>
          <p:txBody>
            <a:bodyPr rtlCol="0" anchor="ctr"/>
            <a:lstStyle/>
            <a:p>
              <a:endParaRPr lang="en-GB"/>
            </a:p>
          </p:txBody>
        </p:sp>
        <p:sp>
          <p:nvSpPr>
            <p:cNvPr id="28" name="Freeform 27">
              <a:extLst>
                <a:ext uri="{FF2B5EF4-FFF2-40B4-BE49-F238E27FC236}">
                  <a16:creationId xmlns:a16="http://schemas.microsoft.com/office/drawing/2014/main" id="{EABA1FE9-FA8A-34EC-1D71-653112AD96A6}"/>
                </a:ext>
              </a:extLst>
            </p:cNvPr>
            <p:cNvSpPr/>
            <p:nvPr/>
          </p:nvSpPr>
          <p:spPr>
            <a:xfrm>
              <a:off x="-3156825" y="33824"/>
              <a:ext cx="36433" cy="36433"/>
            </a:xfrm>
            <a:custGeom>
              <a:avLst/>
              <a:gdLst>
                <a:gd name="connsiteX0" fmla="*/ 18217 w 36433"/>
                <a:gd name="connsiteY0" fmla="*/ 36433 h 36433"/>
                <a:gd name="connsiteX1" fmla="*/ 5343 w 36433"/>
                <a:gd name="connsiteY1" fmla="*/ 31090 h 36433"/>
                <a:gd name="connsiteX2" fmla="*/ 3077 w 36433"/>
                <a:gd name="connsiteY2" fmla="*/ 28337 h 36433"/>
                <a:gd name="connsiteX3" fmla="*/ 1417 w 36433"/>
                <a:gd name="connsiteY3" fmla="*/ 25179 h 36433"/>
                <a:gd name="connsiteX4" fmla="*/ 364 w 36433"/>
                <a:gd name="connsiteY4" fmla="*/ 21779 h 36433"/>
                <a:gd name="connsiteX5" fmla="*/ 0 w 36433"/>
                <a:gd name="connsiteY5" fmla="*/ 18217 h 36433"/>
                <a:gd name="connsiteX6" fmla="*/ 364 w 36433"/>
                <a:gd name="connsiteY6" fmla="*/ 14654 h 36433"/>
                <a:gd name="connsiteX7" fmla="*/ 1417 w 36433"/>
                <a:gd name="connsiteY7" fmla="*/ 11254 h 36433"/>
                <a:gd name="connsiteX8" fmla="*/ 3077 w 36433"/>
                <a:gd name="connsiteY8" fmla="*/ 8096 h 36433"/>
                <a:gd name="connsiteX9" fmla="*/ 5343 w 36433"/>
                <a:gd name="connsiteY9" fmla="*/ 5343 h 36433"/>
                <a:gd name="connsiteX10" fmla="*/ 8096 w 36433"/>
                <a:gd name="connsiteY10" fmla="*/ 3077 h 36433"/>
                <a:gd name="connsiteX11" fmla="*/ 11253 w 36433"/>
                <a:gd name="connsiteY11" fmla="*/ 1417 h 36433"/>
                <a:gd name="connsiteX12" fmla="*/ 14654 w 36433"/>
                <a:gd name="connsiteY12" fmla="*/ 364 h 36433"/>
                <a:gd name="connsiteX13" fmla="*/ 21779 w 36433"/>
                <a:gd name="connsiteY13" fmla="*/ 364 h 36433"/>
                <a:gd name="connsiteX14" fmla="*/ 25179 w 36433"/>
                <a:gd name="connsiteY14" fmla="*/ 1417 h 36433"/>
                <a:gd name="connsiteX15" fmla="*/ 28337 w 36433"/>
                <a:gd name="connsiteY15" fmla="*/ 3077 h 36433"/>
                <a:gd name="connsiteX16" fmla="*/ 31089 w 36433"/>
                <a:gd name="connsiteY16" fmla="*/ 5343 h 36433"/>
                <a:gd name="connsiteX17" fmla="*/ 36433 w 36433"/>
                <a:gd name="connsiteY17" fmla="*/ 18217 h 36433"/>
                <a:gd name="connsiteX18" fmla="*/ 31089 w 36433"/>
                <a:gd name="connsiteY18" fmla="*/ 31090 h 36433"/>
                <a:gd name="connsiteX19" fmla="*/ 18217 w 36433"/>
                <a:gd name="connsiteY19" fmla="*/ 36433 h 36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6433" h="36433">
                  <a:moveTo>
                    <a:pt x="18217" y="36433"/>
                  </a:moveTo>
                  <a:cubicBezTo>
                    <a:pt x="13440" y="36433"/>
                    <a:pt x="8744" y="34490"/>
                    <a:pt x="5343" y="31090"/>
                  </a:cubicBezTo>
                  <a:cubicBezTo>
                    <a:pt x="4493" y="30280"/>
                    <a:pt x="3724" y="29349"/>
                    <a:pt x="3077" y="28337"/>
                  </a:cubicBezTo>
                  <a:cubicBezTo>
                    <a:pt x="2429" y="27325"/>
                    <a:pt x="1862" y="26272"/>
                    <a:pt x="1417" y="25179"/>
                  </a:cubicBezTo>
                  <a:cubicBezTo>
                    <a:pt x="931" y="24086"/>
                    <a:pt x="607" y="22953"/>
                    <a:pt x="364" y="21779"/>
                  </a:cubicBezTo>
                  <a:cubicBezTo>
                    <a:pt x="121" y="20605"/>
                    <a:pt x="0" y="19390"/>
                    <a:pt x="0" y="18217"/>
                  </a:cubicBezTo>
                  <a:cubicBezTo>
                    <a:pt x="0" y="17043"/>
                    <a:pt x="121" y="15828"/>
                    <a:pt x="364" y="14654"/>
                  </a:cubicBezTo>
                  <a:cubicBezTo>
                    <a:pt x="607" y="13480"/>
                    <a:pt x="931" y="12347"/>
                    <a:pt x="1417" y="11254"/>
                  </a:cubicBezTo>
                  <a:cubicBezTo>
                    <a:pt x="1862" y="10161"/>
                    <a:pt x="2429" y="9108"/>
                    <a:pt x="3077" y="8096"/>
                  </a:cubicBezTo>
                  <a:cubicBezTo>
                    <a:pt x="3724" y="7125"/>
                    <a:pt x="4493" y="6194"/>
                    <a:pt x="5343" y="5343"/>
                  </a:cubicBezTo>
                  <a:cubicBezTo>
                    <a:pt x="6193" y="4493"/>
                    <a:pt x="7125" y="3724"/>
                    <a:pt x="8096" y="3077"/>
                  </a:cubicBezTo>
                  <a:cubicBezTo>
                    <a:pt x="9108" y="2429"/>
                    <a:pt x="10161" y="1862"/>
                    <a:pt x="11253" y="1417"/>
                  </a:cubicBezTo>
                  <a:cubicBezTo>
                    <a:pt x="12346" y="931"/>
                    <a:pt x="13521" y="607"/>
                    <a:pt x="14654" y="364"/>
                  </a:cubicBezTo>
                  <a:cubicBezTo>
                    <a:pt x="17002" y="-121"/>
                    <a:pt x="19431" y="-121"/>
                    <a:pt x="21779" y="364"/>
                  </a:cubicBezTo>
                  <a:cubicBezTo>
                    <a:pt x="22953" y="607"/>
                    <a:pt x="24086" y="931"/>
                    <a:pt x="25179" y="1417"/>
                  </a:cubicBezTo>
                  <a:cubicBezTo>
                    <a:pt x="26272" y="1862"/>
                    <a:pt x="27365" y="2429"/>
                    <a:pt x="28337" y="3077"/>
                  </a:cubicBezTo>
                  <a:cubicBezTo>
                    <a:pt x="29349" y="3724"/>
                    <a:pt x="30280" y="4493"/>
                    <a:pt x="31089" y="5343"/>
                  </a:cubicBezTo>
                  <a:cubicBezTo>
                    <a:pt x="34490" y="8744"/>
                    <a:pt x="36433" y="13440"/>
                    <a:pt x="36433" y="18217"/>
                  </a:cubicBezTo>
                  <a:cubicBezTo>
                    <a:pt x="36433" y="22993"/>
                    <a:pt x="34490" y="27689"/>
                    <a:pt x="31089" y="31090"/>
                  </a:cubicBezTo>
                  <a:cubicBezTo>
                    <a:pt x="27730" y="34490"/>
                    <a:pt x="23034" y="36433"/>
                    <a:pt x="18217" y="36433"/>
                  </a:cubicBezTo>
                  <a:close/>
                </a:path>
              </a:pathLst>
            </a:custGeom>
            <a:solidFill>
              <a:schemeClr val="tx1">
                <a:lumMod val="65000"/>
                <a:lumOff val="35000"/>
              </a:schemeClr>
            </a:solidFill>
            <a:ln w="4048" cap="flat">
              <a:noFill/>
              <a:prstDash val="solid"/>
              <a:miter/>
            </a:ln>
          </p:spPr>
          <p:txBody>
            <a:bodyPr rtlCol="0" anchor="ctr"/>
            <a:lstStyle/>
            <a:p>
              <a:endParaRPr lang="en-GB"/>
            </a:p>
          </p:txBody>
        </p:sp>
      </p:grpSp>
    </p:spTree>
    <p:extLst>
      <p:ext uri="{BB962C8B-B14F-4D97-AF65-F5344CB8AC3E}">
        <p14:creationId xmlns:p14="http://schemas.microsoft.com/office/powerpoint/2010/main" val="2708968440"/>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7 Mockup Samsung Xcover 5">
    <p:bg>
      <p:bgPr>
        <a:solidFill>
          <a:srgbClr val="EBF2F3"/>
        </a:solidFill>
        <a:effectLst/>
      </p:bgPr>
    </p:bg>
    <p:spTree>
      <p:nvGrpSpPr>
        <p:cNvPr id="1" name=""/>
        <p:cNvGrpSpPr/>
        <p:nvPr/>
      </p:nvGrpSpPr>
      <p:grpSpPr>
        <a:xfrm>
          <a:off x="0" y="0"/>
          <a:ext cx="0" cy="0"/>
          <a:chOff x="0" y="0"/>
          <a:chExt cx="0" cy="0"/>
        </a:xfrm>
      </p:grpSpPr>
      <p:sp>
        <p:nvSpPr>
          <p:cNvPr id="38" name="Picture Placeholder 37">
            <a:extLst>
              <a:ext uri="{FF2B5EF4-FFF2-40B4-BE49-F238E27FC236}">
                <a16:creationId xmlns:a16="http://schemas.microsoft.com/office/drawing/2014/main" id="{7539A5C1-D35D-699A-EDB3-89B231932F8F}"/>
              </a:ext>
            </a:extLst>
          </p:cNvPr>
          <p:cNvSpPr>
            <a:spLocks noGrp="1"/>
          </p:cNvSpPr>
          <p:nvPr>
            <p:ph type="pic" sz="quarter" idx="12" hasCustomPrompt="1"/>
          </p:nvPr>
        </p:nvSpPr>
        <p:spPr>
          <a:xfrm>
            <a:off x="5885195" y="723714"/>
            <a:ext cx="1764638" cy="3564000"/>
          </a:xfrm>
          <a:custGeom>
            <a:avLst/>
            <a:gdLst>
              <a:gd name="connsiteX0" fmla="*/ 0 w 1919002"/>
              <a:gd name="connsiteY0" fmla="*/ 0 h 3241550"/>
              <a:gd name="connsiteX1" fmla="*/ 1919002 w 1919002"/>
              <a:gd name="connsiteY1" fmla="*/ 0 h 3241550"/>
              <a:gd name="connsiteX2" fmla="*/ 1919002 w 1919002"/>
              <a:gd name="connsiteY2" fmla="*/ 3241550 h 3241550"/>
              <a:gd name="connsiteX3" fmla="*/ 0 w 1919002"/>
              <a:gd name="connsiteY3" fmla="*/ 3241550 h 3241550"/>
            </a:gdLst>
            <a:ahLst/>
            <a:cxnLst>
              <a:cxn ang="0">
                <a:pos x="connsiteX0" y="connsiteY0"/>
              </a:cxn>
              <a:cxn ang="0">
                <a:pos x="connsiteX1" y="connsiteY1"/>
              </a:cxn>
              <a:cxn ang="0">
                <a:pos x="connsiteX2" y="connsiteY2"/>
              </a:cxn>
              <a:cxn ang="0">
                <a:pos x="connsiteX3" y="connsiteY3"/>
              </a:cxn>
            </a:cxnLst>
            <a:rect l="l" t="t" r="r" b="b"/>
            <a:pathLst>
              <a:path w="1919002" h="3241550">
                <a:moveTo>
                  <a:pt x="0" y="0"/>
                </a:moveTo>
                <a:lnTo>
                  <a:pt x="1919002" y="0"/>
                </a:lnTo>
                <a:lnTo>
                  <a:pt x="1919002" y="3241550"/>
                </a:lnTo>
                <a:lnTo>
                  <a:pt x="0" y="3241550"/>
                </a:lnTo>
                <a:close/>
              </a:path>
            </a:pathLst>
          </a:custGeom>
          <a:blipFill dpi="0" rotWithShape="1">
            <a:blip r:embed="rId2"/>
            <a:srcRect/>
            <a:tile tx="0" ty="0" sx="100000" sy="100000" flip="none" algn="tl"/>
          </a:blipFill>
        </p:spPr>
        <p:txBody>
          <a:bodyPr wrap="square">
            <a:noAutofit/>
          </a:bodyPr>
          <a:lstStyle>
            <a:lvl1pPr marL="4763" indent="-4763" algn="ctr">
              <a:buFont typeface="Arial" panose="020B0604020202020204" pitchFamily="34" charset="0"/>
              <a:buNone/>
              <a:tabLst/>
              <a:defRPr sz="800"/>
            </a:lvl1pPr>
          </a:lstStyle>
          <a:p>
            <a:r>
              <a:rPr lang="en-GB" noProof="0"/>
              <a:t>Click on the icon to add screenshot</a:t>
            </a:r>
          </a:p>
        </p:txBody>
      </p:sp>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323850" y="525600"/>
            <a:ext cx="4176713" cy="1498314"/>
          </a:xfrm>
        </p:spPr>
        <p:txBody>
          <a:bodyPr rIns="144000"/>
          <a:lstStyle>
            <a:lvl1pPr>
              <a:defRPr sz="3000" spc="-50"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49" y="276226"/>
            <a:ext cx="4176077" cy="276999"/>
          </a:xfrm>
        </p:spPr>
        <p:txBody>
          <a:bodyPr lIns="111600" rIns="144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a:t>
            </a:r>
            <a:r>
              <a:rPr lang="en-GB" noProof="0" err="1"/>
              <a:t>subheader</a:t>
            </a:r>
            <a:endParaRPr lang="en-GB" noProof="0"/>
          </a:p>
        </p:txBody>
      </p:sp>
      <p:sp>
        <p:nvSpPr>
          <p:cNvPr id="12" name="Text">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323851" y="2103438"/>
            <a:ext cx="4176712" cy="2592387"/>
          </a:xfrm>
        </p:spPr>
        <p:txBody>
          <a:bodyPr rIns="144000"/>
          <a:lstStyle>
            <a:lvl1pPr>
              <a:defRPr sz="1400"/>
            </a:lvl1pPr>
            <a:lvl2pPr>
              <a:defRPr sz="1200"/>
            </a:lvl2pPr>
            <a:lvl3pPr>
              <a:defRPr sz="1200"/>
            </a:lvl3pPr>
            <a:lvl4pPr>
              <a:defRPr sz="1200"/>
            </a:lvl4pPr>
            <a:lvl5pPr>
              <a:defRPr sz="12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5" name="Date">
            <a:extLst>
              <a:ext uri="{FF2B5EF4-FFF2-40B4-BE49-F238E27FC236}">
                <a16:creationId xmlns:a16="http://schemas.microsoft.com/office/drawing/2014/main" id="{FED9A850-451C-994B-9CEF-A2B324B2852F}"/>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E2CC3BE9-64B5-44F9-9412-291EE98F47E9}" type="datetime1">
              <a:rPr lang="sv-SE" noProof="0" smtClean="0"/>
              <a:t>2025-09-04</a:t>
            </a:fld>
            <a:endParaRPr lang="en-GB" noProof="0"/>
          </a:p>
        </p:txBody>
      </p:sp>
      <p:sp>
        <p:nvSpPr>
          <p:cNvPr id="36" name="Number">
            <a:extLst>
              <a:ext uri="{FF2B5EF4-FFF2-40B4-BE49-F238E27FC236}">
                <a16:creationId xmlns:a16="http://schemas.microsoft.com/office/drawing/2014/main" id="{3D6301AA-5E2B-7F46-BF55-64A8320A6BF9}"/>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3" name="Footer">
            <a:extLst>
              <a:ext uri="{FF2B5EF4-FFF2-40B4-BE49-F238E27FC236}">
                <a16:creationId xmlns:a16="http://schemas.microsoft.com/office/drawing/2014/main" id="{DC643E75-61AD-CE44-8B9B-514A1A088DD3}"/>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grpSp>
        <p:nvGrpSpPr>
          <p:cNvPr id="17" name="Group 16">
            <a:extLst>
              <a:ext uri="{FF2B5EF4-FFF2-40B4-BE49-F238E27FC236}">
                <a16:creationId xmlns:a16="http://schemas.microsoft.com/office/drawing/2014/main" id="{A79F5513-0E4F-4253-6618-A9E04F5666E7}"/>
              </a:ext>
            </a:extLst>
          </p:cNvPr>
          <p:cNvGrpSpPr/>
          <p:nvPr userDrawn="1"/>
        </p:nvGrpSpPr>
        <p:grpSpPr>
          <a:xfrm>
            <a:off x="5698184" y="334075"/>
            <a:ext cx="2147756" cy="4335435"/>
            <a:chOff x="-3756800" y="792460"/>
            <a:chExt cx="1380694" cy="2787053"/>
          </a:xfrm>
        </p:grpSpPr>
        <p:sp>
          <p:nvSpPr>
            <p:cNvPr id="5" name="Freeform 4">
              <a:extLst>
                <a:ext uri="{FF2B5EF4-FFF2-40B4-BE49-F238E27FC236}">
                  <a16:creationId xmlns:a16="http://schemas.microsoft.com/office/drawing/2014/main" id="{1F168B19-C08A-4D70-F49F-751CCD6AE924}"/>
                </a:ext>
              </a:extLst>
            </p:cNvPr>
            <p:cNvSpPr/>
            <p:nvPr/>
          </p:nvSpPr>
          <p:spPr>
            <a:xfrm>
              <a:off x="-3756800" y="792460"/>
              <a:ext cx="1380694" cy="2787053"/>
            </a:xfrm>
            <a:custGeom>
              <a:avLst/>
              <a:gdLst>
                <a:gd name="connsiteX0" fmla="*/ 1367497 w 1380694"/>
                <a:gd name="connsiteY0" fmla="*/ 604507 h 2787053"/>
                <a:gd name="connsiteX1" fmla="*/ 1380654 w 1380694"/>
                <a:gd name="connsiteY1" fmla="*/ 591350 h 2787053"/>
                <a:gd name="connsiteX2" fmla="*/ 1380654 w 1380694"/>
                <a:gd name="connsiteY2" fmla="*/ 417605 h 2787053"/>
                <a:gd name="connsiteX3" fmla="*/ 1367497 w 1380694"/>
                <a:gd name="connsiteY3" fmla="*/ 404448 h 2787053"/>
                <a:gd name="connsiteX4" fmla="*/ 1357903 w 1380694"/>
                <a:gd name="connsiteY4" fmla="*/ 404448 h 2787053"/>
                <a:gd name="connsiteX5" fmla="*/ 1357903 w 1380694"/>
                <a:gd name="connsiteY5" fmla="*/ 222161 h 2787053"/>
                <a:gd name="connsiteX6" fmla="*/ 1372233 w 1380694"/>
                <a:gd name="connsiteY6" fmla="*/ 179656 h 2787053"/>
                <a:gd name="connsiteX7" fmla="*/ 1372233 w 1380694"/>
                <a:gd name="connsiteY7" fmla="*/ 70640 h 2787053"/>
                <a:gd name="connsiteX8" fmla="*/ 1301594 w 1380694"/>
                <a:gd name="connsiteY8" fmla="*/ 0 h 2787053"/>
                <a:gd name="connsiteX9" fmla="*/ 1067207 w 1380694"/>
                <a:gd name="connsiteY9" fmla="*/ 0 h 2787053"/>
                <a:gd name="connsiteX10" fmla="*/ 1020573 w 1380694"/>
                <a:gd name="connsiteY10" fmla="*/ 17650 h 2787053"/>
                <a:gd name="connsiteX11" fmla="*/ 353199 w 1380694"/>
                <a:gd name="connsiteY11" fmla="*/ 17650 h 2787053"/>
                <a:gd name="connsiteX12" fmla="*/ 306564 w 1380694"/>
                <a:gd name="connsiteY12" fmla="*/ 0 h 2787053"/>
                <a:gd name="connsiteX13" fmla="*/ 72178 w 1380694"/>
                <a:gd name="connsiteY13" fmla="*/ 0 h 2787053"/>
                <a:gd name="connsiteX14" fmla="*/ 1538 w 1380694"/>
                <a:gd name="connsiteY14" fmla="*/ 70640 h 2787053"/>
                <a:gd name="connsiteX15" fmla="*/ 1538 w 1380694"/>
                <a:gd name="connsiteY15" fmla="*/ 179656 h 2787053"/>
                <a:gd name="connsiteX16" fmla="*/ 15869 w 1380694"/>
                <a:gd name="connsiteY16" fmla="*/ 222161 h 2787053"/>
                <a:gd name="connsiteX17" fmla="*/ 15869 w 1380694"/>
                <a:gd name="connsiteY17" fmla="*/ 808977 h 2787053"/>
                <a:gd name="connsiteX18" fmla="*/ 5708 w 1380694"/>
                <a:gd name="connsiteY18" fmla="*/ 808977 h 2787053"/>
                <a:gd name="connsiteX19" fmla="*/ 0 w 1380694"/>
                <a:gd name="connsiteY19" fmla="*/ 814685 h 2787053"/>
                <a:gd name="connsiteX20" fmla="*/ 0 w 1380694"/>
                <a:gd name="connsiteY20" fmla="*/ 1179664 h 2787053"/>
                <a:gd name="connsiteX21" fmla="*/ 5708 w 1380694"/>
                <a:gd name="connsiteY21" fmla="*/ 1185372 h 2787053"/>
                <a:gd name="connsiteX22" fmla="*/ 15869 w 1380694"/>
                <a:gd name="connsiteY22" fmla="*/ 1185372 h 2787053"/>
                <a:gd name="connsiteX23" fmla="*/ 15869 w 1380694"/>
                <a:gd name="connsiteY23" fmla="*/ 2564892 h 2787053"/>
                <a:gd name="connsiteX24" fmla="*/ 1538 w 1380694"/>
                <a:gd name="connsiteY24" fmla="*/ 2607397 h 2787053"/>
                <a:gd name="connsiteX25" fmla="*/ 1538 w 1380694"/>
                <a:gd name="connsiteY25" fmla="*/ 2716413 h 2787053"/>
                <a:gd name="connsiteX26" fmla="*/ 72178 w 1380694"/>
                <a:gd name="connsiteY26" fmla="*/ 2787053 h 2787053"/>
                <a:gd name="connsiteX27" fmla="*/ 306564 w 1380694"/>
                <a:gd name="connsiteY27" fmla="*/ 2787053 h 2787053"/>
                <a:gd name="connsiteX28" fmla="*/ 349474 w 1380694"/>
                <a:gd name="connsiteY28" fmla="*/ 2772440 h 2787053"/>
                <a:gd name="connsiteX29" fmla="*/ 1024337 w 1380694"/>
                <a:gd name="connsiteY29" fmla="*/ 2772440 h 2787053"/>
                <a:gd name="connsiteX30" fmla="*/ 1067248 w 1380694"/>
                <a:gd name="connsiteY30" fmla="*/ 2787053 h 2787053"/>
                <a:gd name="connsiteX31" fmla="*/ 1301634 w 1380694"/>
                <a:gd name="connsiteY31" fmla="*/ 2787053 h 2787053"/>
                <a:gd name="connsiteX32" fmla="*/ 1372274 w 1380694"/>
                <a:gd name="connsiteY32" fmla="*/ 2716413 h 2787053"/>
                <a:gd name="connsiteX33" fmla="*/ 1372274 w 1380694"/>
                <a:gd name="connsiteY33" fmla="*/ 2607397 h 2787053"/>
                <a:gd name="connsiteX34" fmla="*/ 1357944 w 1380694"/>
                <a:gd name="connsiteY34" fmla="*/ 2564892 h 2787053"/>
                <a:gd name="connsiteX35" fmla="*/ 1357944 w 1380694"/>
                <a:gd name="connsiteY35" fmla="*/ 1198852 h 2787053"/>
                <a:gd name="connsiteX36" fmla="*/ 1367538 w 1380694"/>
                <a:gd name="connsiteY36" fmla="*/ 1198852 h 2787053"/>
                <a:gd name="connsiteX37" fmla="*/ 1380694 w 1380694"/>
                <a:gd name="connsiteY37" fmla="*/ 1185696 h 2787053"/>
                <a:gd name="connsiteX38" fmla="*/ 1380694 w 1380694"/>
                <a:gd name="connsiteY38" fmla="*/ 1011991 h 2787053"/>
                <a:gd name="connsiteX39" fmla="*/ 1367538 w 1380694"/>
                <a:gd name="connsiteY39" fmla="*/ 998834 h 2787053"/>
                <a:gd name="connsiteX40" fmla="*/ 1357944 w 1380694"/>
                <a:gd name="connsiteY40" fmla="*/ 998834 h 2787053"/>
                <a:gd name="connsiteX41" fmla="*/ 1357944 w 1380694"/>
                <a:gd name="connsiteY41" fmla="*/ 811811 h 2787053"/>
                <a:gd name="connsiteX42" fmla="*/ 1367538 w 1380694"/>
                <a:gd name="connsiteY42" fmla="*/ 811811 h 2787053"/>
                <a:gd name="connsiteX43" fmla="*/ 1380694 w 1380694"/>
                <a:gd name="connsiteY43" fmla="*/ 798655 h 2787053"/>
                <a:gd name="connsiteX44" fmla="*/ 1380694 w 1380694"/>
                <a:gd name="connsiteY44" fmla="*/ 624950 h 2787053"/>
                <a:gd name="connsiteX45" fmla="*/ 1367538 w 1380694"/>
                <a:gd name="connsiteY45" fmla="*/ 611793 h 2787053"/>
                <a:gd name="connsiteX46" fmla="*/ 1357944 w 1380694"/>
                <a:gd name="connsiteY46" fmla="*/ 611793 h 2787053"/>
                <a:gd name="connsiteX47" fmla="*/ 1357944 w 1380694"/>
                <a:gd name="connsiteY47" fmla="*/ 604587 h 2787053"/>
                <a:gd name="connsiteX48" fmla="*/ 1367538 w 1380694"/>
                <a:gd name="connsiteY48" fmla="*/ 604587 h 2787053"/>
                <a:gd name="connsiteX49" fmla="*/ 1367538 w 1380694"/>
                <a:gd name="connsiteY49" fmla="*/ 604507 h 2787053"/>
                <a:gd name="connsiteX50" fmla="*/ 1274917 w 1380694"/>
                <a:gd name="connsiteY50" fmla="*/ 2569588 h 2787053"/>
                <a:gd name="connsiteX51" fmla="*/ 105615 w 1380694"/>
                <a:gd name="connsiteY51" fmla="*/ 2569588 h 2787053"/>
                <a:gd name="connsiteX52" fmla="*/ 105615 w 1380694"/>
                <a:gd name="connsiteY52" fmla="*/ 217465 h 2787053"/>
                <a:gd name="connsiteX53" fmla="*/ 1274917 w 1380694"/>
                <a:gd name="connsiteY53" fmla="*/ 217465 h 2787053"/>
                <a:gd name="connsiteX54" fmla="*/ 1274917 w 1380694"/>
                <a:gd name="connsiteY54" fmla="*/ 2569588 h 2787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380694" h="2787053">
                  <a:moveTo>
                    <a:pt x="1367497" y="604507"/>
                  </a:moveTo>
                  <a:cubicBezTo>
                    <a:pt x="1374743" y="604507"/>
                    <a:pt x="1380654" y="598596"/>
                    <a:pt x="1380654" y="591350"/>
                  </a:cubicBezTo>
                  <a:lnTo>
                    <a:pt x="1380654" y="417605"/>
                  </a:lnTo>
                  <a:cubicBezTo>
                    <a:pt x="1380654" y="410358"/>
                    <a:pt x="1374743" y="404448"/>
                    <a:pt x="1367497" y="404448"/>
                  </a:cubicBezTo>
                  <a:lnTo>
                    <a:pt x="1357903" y="404448"/>
                  </a:lnTo>
                  <a:lnTo>
                    <a:pt x="1357903" y="222161"/>
                  </a:lnTo>
                  <a:cubicBezTo>
                    <a:pt x="1366849" y="210341"/>
                    <a:pt x="1372233" y="195646"/>
                    <a:pt x="1372233" y="179656"/>
                  </a:cubicBezTo>
                  <a:lnTo>
                    <a:pt x="1372233" y="70640"/>
                  </a:lnTo>
                  <a:cubicBezTo>
                    <a:pt x="1372233" y="31616"/>
                    <a:pt x="1340618" y="0"/>
                    <a:pt x="1301594" y="0"/>
                  </a:cubicBezTo>
                  <a:lnTo>
                    <a:pt x="1067207" y="0"/>
                  </a:lnTo>
                  <a:cubicBezTo>
                    <a:pt x="1049314" y="0"/>
                    <a:pt x="1033041" y="6720"/>
                    <a:pt x="1020573" y="17650"/>
                  </a:cubicBezTo>
                  <a:lnTo>
                    <a:pt x="353199" y="17650"/>
                  </a:lnTo>
                  <a:cubicBezTo>
                    <a:pt x="340731" y="6679"/>
                    <a:pt x="324457" y="0"/>
                    <a:pt x="306564" y="0"/>
                  </a:cubicBezTo>
                  <a:lnTo>
                    <a:pt x="72178" y="0"/>
                  </a:lnTo>
                  <a:cubicBezTo>
                    <a:pt x="33154" y="0"/>
                    <a:pt x="1538" y="31616"/>
                    <a:pt x="1538" y="70640"/>
                  </a:cubicBezTo>
                  <a:lnTo>
                    <a:pt x="1538" y="179656"/>
                  </a:lnTo>
                  <a:cubicBezTo>
                    <a:pt x="1538" y="195646"/>
                    <a:pt x="6922" y="210341"/>
                    <a:pt x="15869" y="222161"/>
                  </a:cubicBezTo>
                  <a:lnTo>
                    <a:pt x="15869" y="808977"/>
                  </a:lnTo>
                  <a:lnTo>
                    <a:pt x="5708" y="808977"/>
                  </a:lnTo>
                  <a:cubicBezTo>
                    <a:pt x="2550" y="808977"/>
                    <a:pt x="0" y="811568"/>
                    <a:pt x="0" y="814685"/>
                  </a:cubicBezTo>
                  <a:lnTo>
                    <a:pt x="0" y="1179664"/>
                  </a:lnTo>
                  <a:cubicBezTo>
                    <a:pt x="0" y="1182822"/>
                    <a:pt x="2550" y="1185372"/>
                    <a:pt x="5708" y="1185372"/>
                  </a:cubicBezTo>
                  <a:lnTo>
                    <a:pt x="15869" y="1185372"/>
                  </a:lnTo>
                  <a:lnTo>
                    <a:pt x="15869" y="2564892"/>
                  </a:lnTo>
                  <a:cubicBezTo>
                    <a:pt x="6922" y="2576713"/>
                    <a:pt x="1538" y="2591407"/>
                    <a:pt x="1538" y="2607397"/>
                  </a:cubicBezTo>
                  <a:lnTo>
                    <a:pt x="1538" y="2716413"/>
                  </a:lnTo>
                  <a:cubicBezTo>
                    <a:pt x="1538" y="2755437"/>
                    <a:pt x="33154" y="2787053"/>
                    <a:pt x="72178" y="2787053"/>
                  </a:cubicBezTo>
                  <a:lnTo>
                    <a:pt x="306564" y="2787053"/>
                  </a:lnTo>
                  <a:cubicBezTo>
                    <a:pt x="322716" y="2787053"/>
                    <a:pt x="337573" y="2781588"/>
                    <a:pt x="349474" y="2772440"/>
                  </a:cubicBezTo>
                  <a:lnTo>
                    <a:pt x="1024337" y="2772440"/>
                  </a:lnTo>
                  <a:cubicBezTo>
                    <a:pt x="1036239" y="2781548"/>
                    <a:pt x="1051096" y="2787053"/>
                    <a:pt x="1067248" y="2787053"/>
                  </a:cubicBezTo>
                  <a:lnTo>
                    <a:pt x="1301634" y="2787053"/>
                  </a:lnTo>
                  <a:cubicBezTo>
                    <a:pt x="1340658" y="2787053"/>
                    <a:pt x="1372274" y="2755437"/>
                    <a:pt x="1372274" y="2716413"/>
                  </a:cubicBezTo>
                  <a:lnTo>
                    <a:pt x="1372274" y="2607397"/>
                  </a:lnTo>
                  <a:cubicBezTo>
                    <a:pt x="1372274" y="2591407"/>
                    <a:pt x="1366890" y="2576713"/>
                    <a:pt x="1357944" y="2564892"/>
                  </a:cubicBezTo>
                  <a:lnTo>
                    <a:pt x="1357944" y="1198852"/>
                  </a:lnTo>
                  <a:lnTo>
                    <a:pt x="1367538" y="1198852"/>
                  </a:lnTo>
                  <a:cubicBezTo>
                    <a:pt x="1374783" y="1198852"/>
                    <a:pt x="1380694" y="1192942"/>
                    <a:pt x="1380694" y="1185696"/>
                  </a:cubicBezTo>
                  <a:lnTo>
                    <a:pt x="1380694" y="1011991"/>
                  </a:lnTo>
                  <a:cubicBezTo>
                    <a:pt x="1380694" y="1004745"/>
                    <a:pt x="1374783" y="998834"/>
                    <a:pt x="1367538" y="998834"/>
                  </a:cubicBezTo>
                  <a:lnTo>
                    <a:pt x="1357944" y="998834"/>
                  </a:lnTo>
                  <a:lnTo>
                    <a:pt x="1357944" y="811811"/>
                  </a:lnTo>
                  <a:lnTo>
                    <a:pt x="1367538" y="811811"/>
                  </a:lnTo>
                  <a:cubicBezTo>
                    <a:pt x="1374783" y="811811"/>
                    <a:pt x="1380694" y="805901"/>
                    <a:pt x="1380694" y="798655"/>
                  </a:cubicBezTo>
                  <a:lnTo>
                    <a:pt x="1380694" y="624950"/>
                  </a:lnTo>
                  <a:cubicBezTo>
                    <a:pt x="1380694" y="617703"/>
                    <a:pt x="1374783" y="611793"/>
                    <a:pt x="1367538" y="611793"/>
                  </a:cubicBezTo>
                  <a:lnTo>
                    <a:pt x="1357944" y="611793"/>
                  </a:lnTo>
                  <a:lnTo>
                    <a:pt x="1357944" y="604587"/>
                  </a:lnTo>
                  <a:lnTo>
                    <a:pt x="1367538" y="604587"/>
                  </a:lnTo>
                  <a:lnTo>
                    <a:pt x="1367538" y="604507"/>
                  </a:lnTo>
                  <a:close/>
                  <a:moveTo>
                    <a:pt x="1274917" y="2569588"/>
                  </a:moveTo>
                  <a:lnTo>
                    <a:pt x="105615" y="2569588"/>
                  </a:lnTo>
                  <a:lnTo>
                    <a:pt x="105615" y="217465"/>
                  </a:lnTo>
                  <a:lnTo>
                    <a:pt x="1274917" y="217465"/>
                  </a:lnTo>
                  <a:lnTo>
                    <a:pt x="1274917" y="2569588"/>
                  </a:lnTo>
                  <a:close/>
                </a:path>
              </a:pathLst>
            </a:custGeom>
            <a:gradFill>
              <a:gsLst>
                <a:gs pos="0">
                  <a:schemeClr val="tx1"/>
                </a:gs>
                <a:gs pos="78000">
                  <a:schemeClr val="tx1">
                    <a:lumMod val="85000"/>
                    <a:lumOff val="15000"/>
                  </a:schemeClr>
                </a:gs>
                <a:gs pos="87000">
                  <a:schemeClr val="tx1">
                    <a:lumMod val="75000"/>
                    <a:lumOff val="25000"/>
                  </a:schemeClr>
                </a:gs>
                <a:gs pos="100000">
                  <a:schemeClr val="bg1">
                    <a:lumMod val="50000"/>
                  </a:schemeClr>
                </a:gs>
              </a:gsLst>
              <a:lin ang="3600000" scaled="0"/>
            </a:gradFill>
            <a:ln w="4048" cap="flat">
              <a:noFill/>
              <a:prstDash val="solid"/>
              <a:miter/>
            </a:ln>
          </p:spPr>
          <p:txBody>
            <a:bodyPr rtlCol="0" anchor="ctr"/>
            <a:lstStyle/>
            <a:p>
              <a:endParaRPr lang="en-GB"/>
            </a:p>
          </p:txBody>
        </p:sp>
        <p:sp>
          <p:nvSpPr>
            <p:cNvPr id="14" name="Freeform 13">
              <a:extLst>
                <a:ext uri="{FF2B5EF4-FFF2-40B4-BE49-F238E27FC236}">
                  <a16:creationId xmlns:a16="http://schemas.microsoft.com/office/drawing/2014/main" id="{70F328C2-B196-7A9A-5181-3F620259FBA0}"/>
                </a:ext>
              </a:extLst>
            </p:cNvPr>
            <p:cNvSpPr/>
            <p:nvPr/>
          </p:nvSpPr>
          <p:spPr>
            <a:xfrm>
              <a:off x="-3692597" y="857838"/>
              <a:ext cx="1245364" cy="2656298"/>
            </a:xfrm>
            <a:custGeom>
              <a:avLst/>
              <a:gdLst>
                <a:gd name="connsiteX0" fmla="*/ 1129184 w 1245364"/>
                <a:gd name="connsiteY0" fmla="*/ 0 h 2656298"/>
                <a:gd name="connsiteX1" fmla="*/ 116181 w 1245364"/>
                <a:gd name="connsiteY1" fmla="*/ 0 h 2656298"/>
                <a:gd name="connsiteX2" fmla="*/ 0 w 1245364"/>
                <a:gd name="connsiteY2" fmla="*/ 116181 h 2656298"/>
                <a:gd name="connsiteX3" fmla="*/ 0 w 1245364"/>
                <a:gd name="connsiteY3" fmla="*/ 2540118 h 2656298"/>
                <a:gd name="connsiteX4" fmla="*/ 116181 w 1245364"/>
                <a:gd name="connsiteY4" fmla="*/ 2656299 h 2656298"/>
                <a:gd name="connsiteX5" fmla="*/ 1129184 w 1245364"/>
                <a:gd name="connsiteY5" fmla="*/ 2656299 h 2656298"/>
                <a:gd name="connsiteX6" fmla="*/ 1245365 w 1245364"/>
                <a:gd name="connsiteY6" fmla="*/ 2540118 h 2656298"/>
                <a:gd name="connsiteX7" fmla="*/ 1245365 w 1245364"/>
                <a:gd name="connsiteY7" fmla="*/ 116181 h 2656298"/>
                <a:gd name="connsiteX8" fmla="*/ 1129184 w 1245364"/>
                <a:gd name="connsiteY8" fmla="*/ 0 h 2656298"/>
                <a:gd name="connsiteX9" fmla="*/ 1185048 w 1245364"/>
                <a:gd name="connsiteY9" fmla="*/ 2453973 h 2656298"/>
                <a:gd name="connsiteX10" fmla="*/ 1167115 w 1245364"/>
                <a:gd name="connsiteY10" fmla="*/ 2471907 h 2656298"/>
                <a:gd name="connsiteX11" fmla="*/ 78291 w 1245364"/>
                <a:gd name="connsiteY11" fmla="*/ 2471907 h 2656298"/>
                <a:gd name="connsiteX12" fmla="*/ 60357 w 1245364"/>
                <a:gd name="connsiteY12" fmla="*/ 2453973 h 2656298"/>
                <a:gd name="connsiteX13" fmla="*/ 60357 w 1245364"/>
                <a:gd name="connsiteY13" fmla="*/ 206130 h 2656298"/>
                <a:gd name="connsiteX14" fmla="*/ 78291 w 1245364"/>
                <a:gd name="connsiteY14" fmla="*/ 188197 h 2656298"/>
                <a:gd name="connsiteX15" fmla="*/ 1167115 w 1245364"/>
                <a:gd name="connsiteY15" fmla="*/ 188197 h 2656298"/>
                <a:gd name="connsiteX16" fmla="*/ 1185048 w 1245364"/>
                <a:gd name="connsiteY16" fmla="*/ 206130 h 2656298"/>
                <a:gd name="connsiteX17" fmla="*/ 1185048 w 1245364"/>
                <a:gd name="connsiteY17" fmla="*/ 2453933 h 2656298"/>
                <a:gd name="connsiteX18" fmla="*/ 1185048 w 1245364"/>
                <a:gd name="connsiteY18" fmla="*/ 2453933 h 2656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45364" h="2656298">
                  <a:moveTo>
                    <a:pt x="1129184" y="0"/>
                  </a:moveTo>
                  <a:lnTo>
                    <a:pt x="116181" y="0"/>
                  </a:lnTo>
                  <a:cubicBezTo>
                    <a:pt x="52018" y="0"/>
                    <a:pt x="0" y="52018"/>
                    <a:pt x="0" y="116181"/>
                  </a:cubicBezTo>
                  <a:lnTo>
                    <a:pt x="0" y="2540118"/>
                  </a:lnTo>
                  <a:cubicBezTo>
                    <a:pt x="0" y="2604280"/>
                    <a:pt x="52018" y="2656299"/>
                    <a:pt x="116181" y="2656299"/>
                  </a:cubicBezTo>
                  <a:lnTo>
                    <a:pt x="1129184" y="2656299"/>
                  </a:lnTo>
                  <a:cubicBezTo>
                    <a:pt x="1193347" y="2656299"/>
                    <a:pt x="1245365" y="2604280"/>
                    <a:pt x="1245365" y="2540118"/>
                  </a:cubicBezTo>
                  <a:lnTo>
                    <a:pt x="1245365" y="116181"/>
                  </a:lnTo>
                  <a:cubicBezTo>
                    <a:pt x="1245365" y="52018"/>
                    <a:pt x="1193347" y="0"/>
                    <a:pt x="1129184" y="0"/>
                  </a:cubicBezTo>
                  <a:close/>
                  <a:moveTo>
                    <a:pt x="1185048" y="2453973"/>
                  </a:moveTo>
                  <a:cubicBezTo>
                    <a:pt x="1185048" y="2463891"/>
                    <a:pt x="1176992" y="2471907"/>
                    <a:pt x="1167115" y="2471907"/>
                  </a:cubicBezTo>
                  <a:lnTo>
                    <a:pt x="78291" y="2471907"/>
                  </a:lnTo>
                  <a:cubicBezTo>
                    <a:pt x="68373" y="2471907"/>
                    <a:pt x="60357" y="2463851"/>
                    <a:pt x="60357" y="2453973"/>
                  </a:cubicBezTo>
                  <a:lnTo>
                    <a:pt x="60357" y="206130"/>
                  </a:lnTo>
                  <a:cubicBezTo>
                    <a:pt x="60357" y="196213"/>
                    <a:pt x="68413" y="188197"/>
                    <a:pt x="78291" y="188197"/>
                  </a:cubicBezTo>
                  <a:lnTo>
                    <a:pt x="1167115" y="188197"/>
                  </a:lnTo>
                  <a:cubicBezTo>
                    <a:pt x="1177033" y="188197"/>
                    <a:pt x="1185048" y="196253"/>
                    <a:pt x="1185048" y="206130"/>
                  </a:cubicBezTo>
                  <a:lnTo>
                    <a:pt x="1185048" y="2453933"/>
                  </a:lnTo>
                  <a:lnTo>
                    <a:pt x="1185048" y="2453933"/>
                  </a:lnTo>
                  <a:close/>
                </a:path>
              </a:pathLst>
            </a:custGeom>
            <a:gradFill>
              <a:gsLst>
                <a:gs pos="0">
                  <a:schemeClr val="tx1">
                    <a:lumMod val="85000"/>
                    <a:lumOff val="15000"/>
                  </a:schemeClr>
                </a:gs>
                <a:gs pos="78000">
                  <a:schemeClr val="tx1">
                    <a:lumMod val="85000"/>
                    <a:lumOff val="15000"/>
                  </a:schemeClr>
                </a:gs>
                <a:gs pos="91000">
                  <a:schemeClr val="tx1">
                    <a:lumMod val="75000"/>
                    <a:lumOff val="25000"/>
                  </a:schemeClr>
                </a:gs>
                <a:gs pos="100000">
                  <a:schemeClr val="tx1">
                    <a:lumMod val="65000"/>
                    <a:lumOff val="35000"/>
                  </a:schemeClr>
                </a:gs>
              </a:gsLst>
              <a:lin ang="1800000" scaled="0"/>
            </a:gradFill>
            <a:ln w="4048" cap="flat">
              <a:noFill/>
              <a:prstDash val="solid"/>
              <a:miter/>
            </a:ln>
          </p:spPr>
          <p:txBody>
            <a:bodyPr rtlCol="0" anchor="ctr"/>
            <a:lstStyle/>
            <a:p>
              <a:endParaRPr lang="en-GB"/>
            </a:p>
          </p:txBody>
        </p:sp>
        <p:sp>
          <p:nvSpPr>
            <p:cNvPr id="15" name="Freeform 14">
              <a:extLst>
                <a:ext uri="{FF2B5EF4-FFF2-40B4-BE49-F238E27FC236}">
                  <a16:creationId xmlns:a16="http://schemas.microsoft.com/office/drawing/2014/main" id="{5BC40465-4EA4-E037-CE43-2DED209BB2C2}"/>
                </a:ext>
              </a:extLst>
            </p:cNvPr>
            <p:cNvSpPr/>
            <p:nvPr/>
          </p:nvSpPr>
          <p:spPr>
            <a:xfrm>
              <a:off x="-3092179" y="936118"/>
              <a:ext cx="44529" cy="44539"/>
            </a:xfrm>
            <a:custGeom>
              <a:avLst/>
              <a:gdLst>
                <a:gd name="connsiteX0" fmla="*/ 22265 w 44529"/>
                <a:gd name="connsiteY0" fmla="*/ 44539 h 44539"/>
                <a:gd name="connsiteX1" fmla="*/ 17893 w 44529"/>
                <a:gd name="connsiteY1" fmla="*/ 44094 h 44539"/>
                <a:gd name="connsiteX2" fmla="*/ 13723 w 44529"/>
                <a:gd name="connsiteY2" fmla="*/ 42839 h 44539"/>
                <a:gd name="connsiteX3" fmla="*/ 9918 w 44529"/>
                <a:gd name="connsiteY3" fmla="*/ 40775 h 44539"/>
                <a:gd name="connsiteX4" fmla="*/ 6517 w 44529"/>
                <a:gd name="connsiteY4" fmla="*/ 38022 h 44539"/>
                <a:gd name="connsiteX5" fmla="*/ 3724 w 44529"/>
                <a:gd name="connsiteY5" fmla="*/ 34622 h 44539"/>
                <a:gd name="connsiteX6" fmla="*/ 1700 w 44529"/>
                <a:gd name="connsiteY6" fmla="*/ 30776 h 44539"/>
                <a:gd name="connsiteX7" fmla="*/ 445 w 44529"/>
                <a:gd name="connsiteY7" fmla="*/ 26606 h 44539"/>
                <a:gd name="connsiteX8" fmla="*/ 0 w 44529"/>
                <a:gd name="connsiteY8" fmla="*/ 22275 h 44539"/>
                <a:gd name="connsiteX9" fmla="*/ 6517 w 44529"/>
                <a:gd name="connsiteY9" fmla="*/ 6528 h 44539"/>
                <a:gd name="connsiteX10" fmla="*/ 9918 w 44529"/>
                <a:gd name="connsiteY10" fmla="*/ 3775 h 44539"/>
                <a:gd name="connsiteX11" fmla="*/ 13723 w 44529"/>
                <a:gd name="connsiteY11" fmla="*/ 1710 h 44539"/>
                <a:gd name="connsiteX12" fmla="*/ 17893 w 44529"/>
                <a:gd name="connsiteY12" fmla="*/ 455 h 44539"/>
                <a:gd name="connsiteX13" fmla="*/ 26596 w 44529"/>
                <a:gd name="connsiteY13" fmla="*/ 455 h 44539"/>
                <a:gd name="connsiteX14" fmla="*/ 30766 w 44529"/>
                <a:gd name="connsiteY14" fmla="*/ 1710 h 44539"/>
                <a:gd name="connsiteX15" fmla="*/ 34611 w 44529"/>
                <a:gd name="connsiteY15" fmla="*/ 3775 h 44539"/>
                <a:gd name="connsiteX16" fmla="*/ 38012 w 44529"/>
                <a:gd name="connsiteY16" fmla="*/ 6528 h 44539"/>
                <a:gd name="connsiteX17" fmla="*/ 44529 w 44529"/>
                <a:gd name="connsiteY17" fmla="*/ 22275 h 44539"/>
                <a:gd name="connsiteX18" fmla="*/ 44084 w 44529"/>
                <a:gd name="connsiteY18" fmla="*/ 26606 h 44539"/>
                <a:gd name="connsiteX19" fmla="*/ 42829 w 44529"/>
                <a:gd name="connsiteY19" fmla="*/ 30776 h 44539"/>
                <a:gd name="connsiteX20" fmla="*/ 40765 w 44529"/>
                <a:gd name="connsiteY20" fmla="*/ 34622 h 44539"/>
                <a:gd name="connsiteX21" fmla="*/ 38012 w 44529"/>
                <a:gd name="connsiteY21" fmla="*/ 38022 h 44539"/>
                <a:gd name="connsiteX22" fmla="*/ 34611 w 44529"/>
                <a:gd name="connsiteY22" fmla="*/ 40775 h 44539"/>
                <a:gd name="connsiteX23" fmla="*/ 30766 w 44529"/>
                <a:gd name="connsiteY23" fmla="*/ 42839 h 44539"/>
                <a:gd name="connsiteX24" fmla="*/ 26596 w 44529"/>
                <a:gd name="connsiteY24" fmla="*/ 44094 h 44539"/>
                <a:gd name="connsiteX25" fmla="*/ 22265 w 44529"/>
                <a:gd name="connsiteY25" fmla="*/ 44539 h 44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4529" h="44539">
                  <a:moveTo>
                    <a:pt x="22265" y="44539"/>
                  </a:moveTo>
                  <a:cubicBezTo>
                    <a:pt x="20807" y="44539"/>
                    <a:pt x="19350" y="44378"/>
                    <a:pt x="17893" y="44094"/>
                  </a:cubicBezTo>
                  <a:cubicBezTo>
                    <a:pt x="16476" y="43811"/>
                    <a:pt x="15099" y="43366"/>
                    <a:pt x="13723" y="42839"/>
                  </a:cubicBezTo>
                  <a:cubicBezTo>
                    <a:pt x="12387" y="42273"/>
                    <a:pt x="11092" y="41584"/>
                    <a:pt x="9918" y="40775"/>
                  </a:cubicBezTo>
                  <a:cubicBezTo>
                    <a:pt x="8663" y="39965"/>
                    <a:pt x="7529" y="39034"/>
                    <a:pt x="6517" y="38022"/>
                  </a:cubicBezTo>
                  <a:cubicBezTo>
                    <a:pt x="5505" y="36970"/>
                    <a:pt x="4574" y="35836"/>
                    <a:pt x="3724" y="34622"/>
                  </a:cubicBezTo>
                  <a:cubicBezTo>
                    <a:pt x="2955" y="33407"/>
                    <a:pt x="2267" y="32112"/>
                    <a:pt x="1700" y="30776"/>
                  </a:cubicBezTo>
                  <a:cubicBezTo>
                    <a:pt x="1133" y="29440"/>
                    <a:pt x="729" y="28023"/>
                    <a:pt x="445" y="26606"/>
                  </a:cubicBezTo>
                  <a:cubicBezTo>
                    <a:pt x="162" y="25189"/>
                    <a:pt x="0" y="23732"/>
                    <a:pt x="0" y="22275"/>
                  </a:cubicBezTo>
                  <a:cubicBezTo>
                    <a:pt x="0" y="16405"/>
                    <a:pt x="2388" y="10657"/>
                    <a:pt x="6517" y="6528"/>
                  </a:cubicBezTo>
                  <a:cubicBezTo>
                    <a:pt x="7529" y="5516"/>
                    <a:pt x="8663" y="4585"/>
                    <a:pt x="9918" y="3775"/>
                  </a:cubicBezTo>
                  <a:cubicBezTo>
                    <a:pt x="11092" y="2965"/>
                    <a:pt x="12387" y="2277"/>
                    <a:pt x="13723" y="1710"/>
                  </a:cubicBezTo>
                  <a:cubicBezTo>
                    <a:pt x="15099" y="1144"/>
                    <a:pt x="16476" y="739"/>
                    <a:pt x="17893" y="455"/>
                  </a:cubicBezTo>
                  <a:cubicBezTo>
                    <a:pt x="20767" y="-152"/>
                    <a:pt x="23722" y="-152"/>
                    <a:pt x="26596" y="455"/>
                  </a:cubicBezTo>
                  <a:cubicBezTo>
                    <a:pt x="28013" y="739"/>
                    <a:pt x="29430" y="1144"/>
                    <a:pt x="30766" y="1710"/>
                  </a:cubicBezTo>
                  <a:cubicBezTo>
                    <a:pt x="32102" y="2277"/>
                    <a:pt x="33397" y="2965"/>
                    <a:pt x="34611" y="3775"/>
                  </a:cubicBezTo>
                  <a:cubicBezTo>
                    <a:pt x="35826" y="4585"/>
                    <a:pt x="36959" y="5516"/>
                    <a:pt x="38012" y="6528"/>
                  </a:cubicBezTo>
                  <a:cubicBezTo>
                    <a:pt x="42141" y="10657"/>
                    <a:pt x="44529" y="16405"/>
                    <a:pt x="44529" y="22275"/>
                  </a:cubicBezTo>
                  <a:cubicBezTo>
                    <a:pt x="44529" y="23732"/>
                    <a:pt x="44367" y="25189"/>
                    <a:pt x="44084" y="26606"/>
                  </a:cubicBezTo>
                  <a:cubicBezTo>
                    <a:pt x="43801" y="28023"/>
                    <a:pt x="43396" y="29440"/>
                    <a:pt x="42829" y="30776"/>
                  </a:cubicBezTo>
                  <a:cubicBezTo>
                    <a:pt x="42262" y="32112"/>
                    <a:pt x="41574" y="33407"/>
                    <a:pt x="40765" y="34622"/>
                  </a:cubicBezTo>
                  <a:cubicBezTo>
                    <a:pt x="39955" y="35836"/>
                    <a:pt x="39024" y="36970"/>
                    <a:pt x="38012" y="38022"/>
                  </a:cubicBezTo>
                  <a:cubicBezTo>
                    <a:pt x="36959" y="39034"/>
                    <a:pt x="35826" y="39965"/>
                    <a:pt x="34611" y="40775"/>
                  </a:cubicBezTo>
                  <a:cubicBezTo>
                    <a:pt x="33397" y="41584"/>
                    <a:pt x="32102" y="42273"/>
                    <a:pt x="30766" y="42839"/>
                  </a:cubicBezTo>
                  <a:cubicBezTo>
                    <a:pt x="29430" y="43366"/>
                    <a:pt x="28013" y="43811"/>
                    <a:pt x="26596" y="44094"/>
                  </a:cubicBezTo>
                  <a:cubicBezTo>
                    <a:pt x="25179" y="44378"/>
                    <a:pt x="23722" y="44539"/>
                    <a:pt x="22265" y="44539"/>
                  </a:cubicBezTo>
                  <a:close/>
                </a:path>
              </a:pathLst>
            </a:custGeom>
            <a:solidFill>
              <a:schemeClr val="tx1">
                <a:lumMod val="65000"/>
                <a:lumOff val="35000"/>
              </a:schemeClr>
            </a:solidFill>
            <a:ln w="4048" cap="flat">
              <a:noFill/>
              <a:prstDash val="solid"/>
              <a:miter/>
            </a:ln>
          </p:spPr>
          <p:txBody>
            <a:bodyPr rtlCol="0" anchor="ctr"/>
            <a:lstStyle/>
            <a:p>
              <a:endParaRPr lang="en-GB"/>
            </a:p>
          </p:txBody>
        </p:sp>
      </p:grpSp>
    </p:spTree>
    <p:extLst>
      <p:ext uri="{BB962C8B-B14F-4D97-AF65-F5344CB8AC3E}">
        <p14:creationId xmlns:p14="http://schemas.microsoft.com/office/powerpoint/2010/main" val="1496938269"/>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7 Mockup Tablet">
    <p:bg>
      <p:bgPr>
        <a:solidFill>
          <a:srgbClr val="EBF2F3"/>
        </a:solidFill>
        <a:effectLst/>
      </p:bgPr>
    </p:bg>
    <p:spTree>
      <p:nvGrpSpPr>
        <p:cNvPr id="1" name=""/>
        <p:cNvGrpSpPr/>
        <p:nvPr/>
      </p:nvGrpSpPr>
      <p:grpSpPr>
        <a:xfrm>
          <a:off x="0" y="0"/>
          <a:ext cx="0" cy="0"/>
          <a:chOff x="0" y="0"/>
          <a:chExt cx="0" cy="0"/>
        </a:xfrm>
      </p:grpSpPr>
      <p:pic>
        <p:nvPicPr>
          <p:cNvPr id="10" name="Tablet">
            <a:extLst>
              <a:ext uri="{FF2B5EF4-FFF2-40B4-BE49-F238E27FC236}">
                <a16:creationId xmlns:a16="http://schemas.microsoft.com/office/drawing/2014/main" id="{AF73F0F7-6D96-1749-82B9-04BEF52611B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01530" y="278390"/>
            <a:ext cx="3395857" cy="4433234"/>
          </a:xfrm>
          <a:prstGeom prst="rect">
            <a:avLst/>
          </a:prstGeom>
        </p:spPr>
      </p:pic>
      <p:sp>
        <p:nvSpPr>
          <p:cNvPr id="11" name="Image">
            <a:extLst>
              <a:ext uri="{FF2B5EF4-FFF2-40B4-BE49-F238E27FC236}">
                <a16:creationId xmlns:a16="http://schemas.microsoft.com/office/drawing/2014/main" id="{6F11483D-338A-6C45-BE0B-6154483356E5}"/>
              </a:ext>
            </a:extLst>
          </p:cNvPr>
          <p:cNvSpPr>
            <a:spLocks noGrp="1" noChangeAspect="1"/>
          </p:cNvSpPr>
          <p:nvPr>
            <p:ph type="pic" sz="quarter" idx="12" hasCustomPrompt="1"/>
          </p:nvPr>
        </p:nvSpPr>
        <p:spPr>
          <a:xfrm>
            <a:off x="5284519" y="479695"/>
            <a:ext cx="3043682" cy="4048762"/>
          </a:xfrm>
          <a:prstGeom prst="roundRect">
            <a:avLst>
              <a:gd name="adj" fmla="val 3275"/>
            </a:avLst>
          </a:prstGeom>
          <a:blipFill>
            <a:blip r:embed="rId3"/>
            <a:tile tx="0" ty="0" sx="100000" sy="100000" flip="none" algn="tl"/>
          </a:blipFill>
        </p:spPr>
        <p:txBody>
          <a:bodyPr tIns="72000"/>
          <a:lstStyle>
            <a:lvl1pPr marL="4763" indent="-4763" algn="ctr">
              <a:buFont typeface="Arial" panose="020B0604020202020204" pitchFamily="34" charset="0"/>
              <a:buNone/>
              <a:tabLst/>
              <a:defRPr sz="800"/>
            </a:lvl1pPr>
          </a:lstStyle>
          <a:p>
            <a:r>
              <a:rPr lang="en-GB" noProof="0"/>
              <a:t>Click on the icon to add screenshot or image</a:t>
            </a:r>
          </a:p>
        </p:txBody>
      </p:sp>
      <p:sp>
        <p:nvSpPr>
          <p:cNvPr id="9" name="Title">
            <a:extLst>
              <a:ext uri="{FF2B5EF4-FFF2-40B4-BE49-F238E27FC236}">
                <a16:creationId xmlns:a16="http://schemas.microsoft.com/office/drawing/2014/main" id="{71D01A38-7EA0-9741-A480-491359BD4009}"/>
              </a:ext>
            </a:extLst>
          </p:cNvPr>
          <p:cNvSpPr>
            <a:spLocks noGrp="1"/>
          </p:cNvSpPr>
          <p:nvPr>
            <p:ph type="title" hasCustomPrompt="1"/>
          </p:nvPr>
        </p:nvSpPr>
        <p:spPr>
          <a:xfrm>
            <a:off x="323850" y="525600"/>
            <a:ext cx="4176713" cy="1498314"/>
          </a:xfrm>
        </p:spPr>
        <p:txBody>
          <a:bodyPr rIns="144000"/>
          <a:lstStyle>
            <a:lvl1pPr>
              <a:defRPr sz="3000" spc="-50" baseline="0"/>
            </a:lvl1pPr>
          </a:lstStyle>
          <a:p>
            <a:r>
              <a:rPr lang="en-GB" noProof="0"/>
              <a:t>Click to add a headline of maximum three lines</a:t>
            </a:r>
          </a:p>
        </p:txBody>
      </p:sp>
      <p:sp>
        <p:nvSpPr>
          <p:cNvPr id="13" name="Navigation">
            <a:extLst>
              <a:ext uri="{FF2B5EF4-FFF2-40B4-BE49-F238E27FC236}">
                <a16:creationId xmlns:a16="http://schemas.microsoft.com/office/drawing/2014/main" id="{2493BE16-B666-1E43-A384-DA7DE8218D85}"/>
              </a:ext>
            </a:extLst>
          </p:cNvPr>
          <p:cNvSpPr>
            <a:spLocks noGrp="1"/>
          </p:cNvSpPr>
          <p:nvPr>
            <p:ph type="body" sz="quarter" idx="14" hasCustomPrompt="1"/>
          </p:nvPr>
        </p:nvSpPr>
        <p:spPr>
          <a:xfrm>
            <a:off x="323849" y="276226"/>
            <a:ext cx="4176077" cy="276999"/>
          </a:xfrm>
        </p:spPr>
        <p:txBody>
          <a:bodyPr lIns="111600" rIns="144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a:t>
            </a:r>
            <a:r>
              <a:rPr lang="en-GB" noProof="0" err="1"/>
              <a:t>subheader</a:t>
            </a:r>
            <a:endParaRPr lang="en-GB" noProof="0"/>
          </a:p>
        </p:txBody>
      </p:sp>
      <p:sp>
        <p:nvSpPr>
          <p:cNvPr id="12" name="Text">
            <a:extLst>
              <a:ext uri="{FF2B5EF4-FFF2-40B4-BE49-F238E27FC236}">
                <a16:creationId xmlns:a16="http://schemas.microsoft.com/office/drawing/2014/main" id="{43795203-DBC8-FC4C-AF8A-DF750A2789A5}"/>
              </a:ext>
            </a:extLst>
          </p:cNvPr>
          <p:cNvSpPr>
            <a:spLocks noGrp="1"/>
          </p:cNvSpPr>
          <p:nvPr>
            <p:ph type="body" sz="quarter" idx="13" hasCustomPrompt="1"/>
          </p:nvPr>
        </p:nvSpPr>
        <p:spPr>
          <a:xfrm>
            <a:off x="323851" y="2103438"/>
            <a:ext cx="4176712" cy="2592387"/>
          </a:xfrm>
        </p:spPr>
        <p:txBody>
          <a:bodyPr rIns="144000"/>
          <a:lstStyle>
            <a:lvl1pPr>
              <a:defRPr sz="1400"/>
            </a:lvl1pPr>
            <a:lvl2pPr>
              <a:defRPr sz="1200"/>
            </a:lvl2pPr>
            <a:lvl3pPr>
              <a:defRPr sz="1200"/>
            </a:lvl3pPr>
            <a:lvl4pPr>
              <a:defRPr sz="1200"/>
            </a:lvl4pPr>
            <a:lvl5pPr>
              <a:defRPr sz="12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2" name="Date">
            <a:extLst>
              <a:ext uri="{FF2B5EF4-FFF2-40B4-BE49-F238E27FC236}">
                <a16:creationId xmlns:a16="http://schemas.microsoft.com/office/drawing/2014/main" id="{DF0D76B5-70ED-1348-8C16-2BDFEAE1A309}"/>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FF429385-853F-4F47-9F61-3AF8E9B01183}" type="datetime1">
              <a:rPr lang="sv-SE" noProof="0" smtClean="0"/>
              <a:t>2025-09-04</a:t>
            </a:fld>
            <a:endParaRPr lang="en-GB" noProof="0"/>
          </a:p>
        </p:txBody>
      </p:sp>
      <p:sp>
        <p:nvSpPr>
          <p:cNvPr id="33" name="Number">
            <a:extLst>
              <a:ext uri="{FF2B5EF4-FFF2-40B4-BE49-F238E27FC236}">
                <a16:creationId xmlns:a16="http://schemas.microsoft.com/office/drawing/2014/main" id="{988F092B-A42E-1446-B7CB-74A043F2D8EA}"/>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5" name="Footer">
            <a:extLst>
              <a:ext uri="{FF2B5EF4-FFF2-40B4-BE49-F238E27FC236}">
                <a16:creationId xmlns:a16="http://schemas.microsoft.com/office/drawing/2014/main" id="{E7CD3979-AE70-E348-8121-A449C6EA75CA}"/>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1963369310"/>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7 Mockup Computer">
    <p:bg>
      <p:bgPr>
        <a:solidFill>
          <a:srgbClr val="EBF2F3"/>
        </a:solidFill>
        <a:effectLst/>
      </p:bgPr>
    </p:bg>
    <p:spTree>
      <p:nvGrpSpPr>
        <p:cNvPr id="1" name=""/>
        <p:cNvGrpSpPr/>
        <p:nvPr/>
      </p:nvGrpSpPr>
      <p:grpSpPr>
        <a:xfrm>
          <a:off x="0" y="0"/>
          <a:ext cx="0" cy="0"/>
          <a:chOff x="0" y="0"/>
          <a:chExt cx="0" cy="0"/>
        </a:xfrm>
      </p:grpSpPr>
      <p:pic>
        <p:nvPicPr>
          <p:cNvPr id="9" name="Screen">
            <a:extLst>
              <a:ext uri="{FF2B5EF4-FFF2-40B4-BE49-F238E27FC236}">
                <a16:creationId xmlns:a16="http://schemas.microsoft.com/office/drawing/2014/main" id="{137F2073-042D-6544-88ED-5E6D429D6B0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853800" y="379902"/>
            <a:ext cx="5398300" cy="4344385"/>
          </a:xfrm>
          <a:prstGeom prst="rect">
            <a:avLst/>
          </a:prstGeom>
        </p:spPr>
      </p:pic>
      <p:sp>
        <p:nvSpPr>
          <p:cNvPr id="12" name="Image">
            <a:extLst>
              <a:ext uri="{FF2B5EF4-FFF2-40B4-BE49-F238E27FC236}">
                <a16:creationId xmlns:a16="http://schemas.microsoft.com/office/drawing/2014/main" id="{050DA14F-0160-BC46-A9E4-34119508B77D}"/>
              </a:ext>
            </a:extLst>
          </p:cNvPr>
          <p:cNvSpPr>
            <a:spLocks noGrp="1"/>
          </p:cNvSpPr>
          <p:nvPr>
            <p:ph type="pic" sz="quarter" idx="13" hasCustomPrompt="1"/>
          </p:nvPr>
        </p:nvSpPr>
        <p:spPr>
          <a:xfrm>
            <a:off x="2069377" y="600403"/>
            <a:ext cx="4975948" cy="2815483"/>
          </a:xfrm>
          <a:prstGeom prst="rect">
            <a:avLst/>
          </a:prstGeom>
          <a:blipFill>
            <a:blip r:embed="rId3"/>
            <a:tile tx="0" ty="0" sx="100000" sy="100000" flip="none" algn="tl"/>
          </a:blipFill>
        </p:spPr>
        <p:txBody>
          <a:bodyPr tIns="72000"/>
          <a:lstStyle>
            <a:lvl1pPr marL="4763" indent="-4763" algn="ctr">
              <a:buFont typeface="Arial" panose="020B0604020202020204" pitchFamily="34" charset="0"/>
              <a:buNone/>
              <a:tabLst/>
              <a:defRPr sz="800"/>
            </a:lvl1pPr>
          </a:lstStyle>
          <a:p>
            <a:r>
              <a:rPr lang="en-GB" noProof="0"/>
              <a:t>Click on the icon to add screenshot or image</a:t>
            </a:r>
          </a:p>
        </p:txBody>
      </p:sp>
      <p:sp>
        <p:nvSpPr>
          <p:cNvPr id="28" name="Date">
            <a:extLst>
              <a:ext uri="{FF2B5EF4-FFF2-40B4-BE49-F238E27FC236}">
                <a16:creationId xmlns:a16="http://schemas.microsoft.com/office/drawing/2014/main" id="{CE0F962E-4019-5544-9B35-C562B9C61B7A}"/>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E1C1637C-C088-4611-A485-D26630EA5FBE}" type="datetime1">
              <a:rPr lang="sv-SE" noProof="0" smtClean="0"/>
              <a:t>2025-09-04</a:t>
            </a:fld>
            <a:endParaRPr lang="en-GB" noProof="0"/>
          </a:p>
        </p:txBody>
      </p:sp>
      <p:sp>
        <p:nvSpPr>
          <p:cNvPr id="29" name="Slide">
            <a:extLst>
              <a:ext uri="{FF2B5EF4-FFF2-40B4-BE49-F238E27FC236}">
                <a16:creationId xmlns:a16="http://schemas.microsoft.com/office/drawing/2014/main" id="{BAB857CC-B70E-E249-8AC6-5136D617525E}"/>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8" name="Footer">
            <a:extLst>
              <a:ext uri="{FF2B5EF4-FFF2-40B4-BE49-F238E27FC236}">
                <a16:creationId xmlns:a16="http://schemas.microsoft.com/office/drawing/2014/main" id="{654484ED-3028-044E-B530-A3D199365A29}"/>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
        <p:nvSpPr>
          <p:cNvPr id="2" name="Title 2">
            <a:extLst>
              <a:ext uri="{FF2B5EF4-FFF2-40B4-BE49-F238E27FC236}">
                <a16:creationId xmlns:a16="http://schemas.microsoft.com/office/drawing/2014/main" id="{7CFFD843-07C6-3985-A7DC-AEAD61FA2959}"/>
              </a:ext>
            </a:extLst>
          </p:cNvPr>
          <p:cNvSpPr>
            <a:spLocks noGrp="1"/>
          </p:cNvSpPr>
          <p:nvPr>
            <p:ph type="title" hasCustomPrompt="1"/>
          </p:nvPr>
        </p:nvSpPr>
        <p:spPr>
          <a:xfrm>
            <a:off x="323850" y="-765589"/>
            <a:ext cx="8496300" cy="527051"/>
          </a:xfrm>
        </p:spPr>
        <p:txBody>
          <a:bodyPr/>
          <a:lstStyle>
            <a:lvl1pPr marL="0" marR="0" indent="0" algn="l" defTabSz="685800" rtl="0" eaLnBrk="1" fontAlgn="auto" latinLnBrk="0" hangingPunct="1">
              <a:lnSpc>
                <a:spcPct val="95000"/>
              </a:lnSpc>
              <a:spcBef>
                <a:spcPct val="0"/>
              </a:spcBef>
              <a:spcAft>
                <a:spcPts val="0"/>
              </a:spcAft>
              <a:buClrTx/>
              <a:buSzTx/>
              <a:buFontTx/>
              <a:buNone/>
              <a:tabLst/>
              <a:defRPr/>
            </a:lvl1pPr>
          </a:lstStyle>
          <a:p>
            <a:r>
              <a:rPr lang="en-GB"/>
              <a:t>Click to add hidden slide title for accessibility</a:t>
            </a:r>
          </a:p>
        </p:txBody>
      </p:sp>
    </p:spTree>
    <p:extLst>
      <p:ext uri="{BB962C8B-B14F-4D97-AF65-F5344CB8AC3E}">
        <p14:creationId xmlns:p14="http://schemas.microsoft.com/office/powerpoint/2010/main" val="3893317937"/>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7 Mockup Smartphone Video">
    <p:bg>
      <p:bgPr>
        <a:solidFill>
          <a:srgbClr val="EBF2F3"/>
        </a:solidFill>
        <a:effectLst/>
      </p:bgPr>
    </p:bg>
    <p:spTree>
      <p:nvGrpSpPr>
        <p:cNvPr id="1" name=""/>
        <p:cNvGrpSpPr/>
        <p:nvPr/>
      </p:nvGrpSpPr>
      <p:grpSpPr>
        <a:xfrm>
          <a:off x="0" y="0"/>
          <a:ext cx="0" cy="0"/>
          <a:chOff x="0" y="0"/>
          <a:chExt cx="0" cy="0"/>
        </a:xfrm>
      </p:grpSpPr>
      <p:sp>
        <p:nvSpPr>
          <p:cNvPr id="5" name="Video">
            <a:extLst>
              <a:ext uri="{FF2B5EF4-FFF2-40B4-BE49-F238E27FC236}">
                <a16:creationId xmlns:a16="http://schemas.microsoft.com/office/drawing/2014/main" id="{67CBEA9B-3BE9-E947-8B03-3DF0656F83BF}"/>
              </a:ext>
            </a:extLst>
          </p:cNvPr>
          <p:cNvSpPr>
            <a:spLocks noGrp="1"/>
          </p:cNvSpPr>
          <p:nvPr>
            <p:ph type="media" sz="quarter" idx="16" hasCustomPrompt="1"/>
          </p:nvPr>
        </p:nvSpPr>
        <p:spPr>
          <a:xfrm>
            <a:off x="5806742" y="448681"/>
            <a:ext cx="1872000" cy="4111200"/>
          </a:xfrm>
          <a:prstGeom prst="roundRect">
            <a:avLst>
              <a:gd name="adj" fmla="val 7961"/>
            </a:avLst>
          </a:prstGeom>
          <a:blipFill dpi="0" rotWithShape="1">
            <a:blip r:embed="rId2"/>
            <a:srcRect/>
            <a:tile tx="0" ty="0" sx="100000" sy="100000" flip="none" algn="tl"/>
          </a:blipFill>
        </p:spPr>
        <p:txBody>
          <a:bodyPr vert="horz" lIns="90000" tIns="45720" rIns="90000" bIns="45720" rtlCol="0">
            <a:noAutofit/>
          </a:bodyPr>
          <a:lstStyle>
            <a:lvl1pPr marL="0" indent="0" algn="ctr">
              <a:buNone/>
              <a:defRPr lang="en-GB" sz="800" dirty="0">
                <a:solidFill>
                  <a:schemeClr val="bg1">
                    <a:lumMod val="75000"/>
                  </a:schemeClr>
                </a:solidFill>
              </a:defRPr>
            </a:lvl1pPr>
          </a:lstStyle>
          <a:p>
            <a:pPr marL="171450" lvl="0" indent="-171450" algn="ctr"/>
            <a:r>
              <a:rPr lang="en-GB"/>
              <a:t>Click on the icon to add video</a:t>
            </a:r>
          </a:p>
        </p:txBody>
      </p:sp>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323850" y="525600"/>
            <a:ext cx="4176713" cy="1498314"/>
          </a:xfrm>
        </p:spPr>
        <p:txBody>
          <a:bodyPr rIns="144000"/>
          <a:lstStyle>
            <a:lvl1pPr>
              <a:defRPr sz="3000" spc="-50"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49" y="276226"/>
            <a:ext cx="4176077" cy="276999"/>
          </a:xfrm>
        </p:spPr>
        <p:txBody>
          <a:bodyPr lIns="111600" rIns="144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a:t>
            </a:r>
            <a:r>
              <a:rPr lang="en-GB" noProof="0" err="1"/>
              <a:t>subheader</a:t>
            </a:r>
            <a:endParaRPr lang="en-GB" noProof="0"/>
          </a:p>
        </p:txBody>
      </p:sp>
      <p:sp>
        <p:nvSpPr>
          <p:cNvPr id="12" name="Text">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323851" y="2103438"/>
            <a:ext cx="4176712" cy="2592387"/>
          </a:xfrm>
        </p:spPr>
        <p:txBody>
          <a:bodyPr rIns="144000"/>
          <a:lstStyle>
            <a:lvl1pPr>
              <a:defRPr sz="1400"/>
            </a:lvl1pPr>
            <a:lvl2pPr>
              <a:defRPr sz="1200"/>
            </a:lvl2pPr>
            <a:lvl3pPr>
              <a:defRPr sz="1200"/>
            </a:lvl3pPr>
            <a:lvl4pPr>
              <a:defRPr sz="1200"/>
            </a:lvl4pPr>
            <a:lvl5pPr>
              <a:defRPr sz="12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5" name="Date">
            <a:extLst>
              <a:ext uri="{FF2B5EF4-FFF2-40B4-BE49-F238E27FC236}">
                <a16:creationId xmlns:a16="http://schemas.microsoft.com/office/drawing/2014/main" id="{FED9A850-451C-994B-9CEF-A2B324B2852F}"/>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828C1F8C-876B-4D37-9CEC-C57A8F5FCD0D}" type="datetime1">
              <a:rPr lang="sv-SE" noProof="0" smtClean="0"/>
              <a:t>2025-09-04</a:t>
            </a:fld>
            <a:endParaRPr lang="en-GB" noProof="0"/>
          </a:p>
        </p:txBody>
      </p:sp>
      <p:sp>
        <p:nvSpPr>
          <p:cNvPr id="36" name="Number">
            <a:extLst>
              <a:ext uri="{FF2B5EF4-FFF2-40B4-BE49-F238E27FC236}">
                <a16:creationId xmlns:a16="http://schemas.microsoft.com/office/drawing/2014/main" id="{3D6301AA-5E2B-7F46-BF55-64A8320A6BF9}"/>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3" name="Footer">
            <a:extLst>
              <a:ext uri="{FF2B5EF4-FFF2-40B4-BE49-F238E27FC236}">
                <a16:creationId xmlns:a16="http://schemas.microsoft.com/office/drawing/2014/main" id="{DC643E75-61AD-CE44-8B9B-514A1A088DD3}"/>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
        <p:nvSpPr>
          <p:cNvPr id="2" name="Freeform 1">
            <a:extLst>
              <a:ext uri="{FF2B5EF4-FFF2-40B4-BE49-F238E27FC236}">
                <a16:creationId xmlns:a16="http://schemas.microsoft.com/office/drawing/2014/main" id="{9EFA168E-8779-B2B1-E0E9-6FE719DEEE5C}"/>
              </a:ext>
            </a:extLst>
          </p:cNvPr>
          <p:cNvSpPr/>
          <p:nvPr userDrawn="1"/>
        </p:nvSpPr>
        <p:spPr>
          <a:xfrm>
            <a:off x="5732735" y="364451"/>
            <a:ext cx="2030518" cy="4275202"/>
          </a:xfrm>
          <a:custGeom>
            <a:avLst/>
            <a:gdLst>
              <a:gd name="connsiteX0" fmla="*/ 1308395 w 1308394"/>
              <a:gd name="connsiteY0" fmla="*/ 1065750 h 2754789"/>
              <a:gd name="connsiteX1" fmla="*/ 1308395 w 1308394"/>
              <a:gd name="connsiteY1" fmla="*/ 702997 h 2754789"/>
              <a:gd name="connsiteX2" fmla="*/ 1301796 w 1308394"/>
              <a:gd name="connsiteY2" fmla="*/ 702997 h 2754789"/>
              <a:gd name="connsiteX3" fmla="*/ 1301796 w 1308394"/>
              <a:gd name="connsiteY3" fmla="*/ 157594 h 2754789"/>
              <a:gd name="connsiteX4" fmla="*/ 1144203 w 1308394"/>
              <a:gd name="connsiteY4" fmla="*/ 0 h 2754789"/>
              <a:gd name="connsiteX5" fmla="*/ 157593 w 1308394"/>
              <a:gd name="connsiteY5" fmla="*/ 0 h 2754789"/>
              <a:gd name="connsiteX6" fmla="*/ 0 w 1308394"/>
              <a:gd name="connsiteY6" fmla="*/ 157594 h 2754789"/>
              <a:gd name="connsiteX7" fmla="*/ 0 w 1308394"/>
              <a:gd name="connsiteY7" fmla="*/ 2597196 h 2754789"/>
              <a:gd name="connsiteX8" fmla="*/ 157593 w 1308394"/>
              <a:gd name="connsiteY8" fmla="*/ 2754790 h 2754789"/>
              <a:gd name="connsiteX9" fmla="*/ 1144203 w 1308394"/>
              <a:gd name="connsiteY9" fmla="*/ 2754790 h 2754789"/>
              <a:gd name="connsiteX10" fmla="*/ 1301796 w 1308394"/>
              <a:gd name="connsiteY10" fmla="*/ 2597196 h 2754789"/>
              <a:gd name="connsiteX11" fmla="*/ 1301796 w 1308394"/>
              <a:gd name="connsiteY11" fmla="*/ 1368631 h 2754789"/>
              <a:gd name="connsiteX12" fmla="*/ 1308395 w 1308394"/>
              <a:gd name="connsiteY12" fmla="*/ 1368631 h 2754789"/>
              <a:gd name="connsiteX13" fmla="*/ 1308395 w 1308394"/>
              <a:gd name="connsiteY13" fmla="*/ 1196019 h 2754789"/>
              <a:gd name="connsiteX14" fmla="*/ 1301796 w 1308394"/>
              <a:gd name="connsiteY14" fmla="*/ 1196019 h 2754789"/>
              <a:gd name="connsiteX15" fmla="*/ 1301796 w 1308394"/>
              <a:gd name="connsiteY15" fmla="*/ 1065709 h 2754789"/>
              <a:gd name="connsiteX16" fmla="*/ 1308395 w 1308394"/>
              <a:gd name="connsiteY16" fmla="*/ 1065709 h 2754789"/>
              <a:gd name="connsiteX17" fmla="*/ 1246580 w 1308394"/>
              <a:gd name="connsiteY17" fmla="*/ 2589424 h 2754789"/>
              <a:gd name="connsiteX18" fmla="*/ 1138495 w 1308394"/>
              <a:gd name="connsiteY18" fmla="*/ 2697509 h 2754789"/>
              <a:gd name="connsiteX19" fmla="*/ 163301 w 1308394"/>
              <a:gd name="connsiteY19" fmla="*/ 2697509 h 2754789"/>
              <a:gd name="connsiteX20" fmla="*/ 55216 w 1308394"/>
              <a:gd name="connsiteY20" fmla="*/ 2589424 h 2754789"/>
              <a:gd name="connsiteX21" fmla="*/ 55216 w 1308394"/>
              <a:gd name="connsiteY21" fmla="*/ 165447 h 2754789"/>
              <a:gd name="connsiteX22" fmla="*/ 163301 w 1308394"/>
              <a:gd name="connsiteY22" fmla="*/ 57362 h 2754789"/>
              <a:gd name="connsiteX23" fmla="*/ 1138495 w 1308394"/>
              <a:gd name="connsiteY23" fmla="*/ 57362 h 2754789"/>
              <a:gd name="connsiteX24" fmla="*/ 1246580 w 1308394"/>
              <a:gd name="connsiteY24" fmla="*/ 165447 h 2754789"/>
              <a:gd name="connsiteX25" fmla="*/ 1246580 w 1308394"/>
              <a:gd name="connsiteY25" fmla="*/ 2589383 h 275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08394" h="2754789">
                <a:moveTo>
                  <a:pt x="1308395" y="1065750"/>
                </a:moveTo>
                <a:lnTo>
                  <a:pt x="1308395" y="702997"/>
                </a:lnTo>
                <a:lnTo>
                  <a:pt x="1301796" y="702997"/>
                </a:lnTo>
                <a:lnTo>
                  <a:pt x="1301796" y="157594"/>
                </a:lnTo>
                <a:cubicBezTo>
                  <a:pt x="1301796" y="70680"/>
                  <a:pt x="1231075" y="0"/>
                  <a:pt x="1144203" y="0"/>
                </a:cubicBezTo>
                <a:lnTo>
                  <a:pt x="157593" y="0"/>
                </a:lnTo>
                <a:cubicBezTo>
                  <a:pt x="70680" y="0"/>
                  <a:pt x="0" y="70721"/>
                  <a:pt x="0" y="157594"/>
                </a:cubicBezTo>
                <a:lnTo>
                  <a:pt x="0" y="2597196"/>
                </a:lnTo>
                <a:cubicBezTo>
                  <a:pt x="0" y="2684109"/>
                  <a:pt x="70721" y="2754790"/>
                  <a:pt x="157593" y="2754790"/>
                </a:cubicBezTo>
                <a:lnTo>
                  <a:pt x="1144203" y="2754790"/>
                </a:lnTo>
                <a:cubicBezTo>
                  <a:pt x="1231116" y="2754790"/>
                  <a:pt x="1301796" y="2684069"/>
                  <a:pt x="1301796" y="2597196"/>
                </a:cubicBezTo>
                <a:lnTo>
                  <a:pt x="1301796" y="1368631"/>
                </a:lnTo>
                <a:lnTo>
                  <a:pt x="1308395" y="1368631"/>
                </a:lnTo>
                <a:lnTo>
                  <a:pt x="1308395" y="1196019"/>
                </a:lnTo>
                <a:lnTo>
                  <a:pt x="1301796" y="1196019"/>
                </a:lnTo>
                <a:lnTo>
                  <a:pt x="1301796" y="1065709"/>
                </a:lnTo>
                <a:lnTo>
                  <a:pt x="1308395" y="1065709"/>
                </a:lnTo>
                <a:close/>
                <a:moveTo>
                  <a:pt x="1246580" y="2589424"/>
                </a:moveTo>
                <a:cubicBezTo>
                  <a:pt x="1246580" y="2649012"/>
                  <a:pt x="1198083" y="2697509"/>
                  <a:pt x="1138495" y="2697509"/>
                </a:cubicBezTo>
                <a:lnTo>
                  <a:pt x="163301" y="2697509"/>
                </a:lnTo>
                <a:cubicBezTo>
                  <a:pt x="103672" y="2697509"/>
                  <a:pt x="55216" y="2649012"/>
                  <a:pt x="55216" y="2589424"/>
                </a:cubicBezTo>
                <a:lnTo>
                  <a:pt x="55216" y="165447"/>
                </a:lnTo>
                <a:cubicBezTo>
                  <a:pt x="55216" y="105818"/>
                  <a:pt x="103713" y="57362"/>
                  <a:pt x="163301" y="57362"/>
                </a:cubicBezTo>
                <a:lnTo>
                  <a:pt x="1138495" y="57362"/>
                </a:lnTo>
                <a:cubicBezTo>
                  <a:pt x="1198083" y="57362"/>
                  <a:pt x="1246580" y="105859"/>
                  <a:pt x="1246580" y="165447"/>
                </a:cubicBezTo>
                <a:lnTo>
                  <a:pt x="1246580" y="2589383"/>
                </a:lnTo>
                <a:close/>
              </a:path>
            </a:pathLst>
          </a:custGeom>
          <a:gradFill>
            <a:gsLst>
              <a:gs pos="0">
                <a:schemeClr val="tx1"/>
              </a:gs>
              <a:gs pos="78000">
                <a:schemeClr val="tx1">
                  <a:lumMod val="85000"/>
                  <a:lumOff val="15000"/>
                </a:schemeClr>
              </a:gs>
              <a:gs pos="87000">
                <a:schemeClr val="tx1">
                  <a:lumMod val="75000"/>
                  <a:lumOff val="25000"/>
                </a:schemeClr>
              </a:gs>
              <a:gs pos="100000">
                <a:schemeClr val="bg1">
                  <a:lumMod val="50000"/>
                </a:schemeClr>
              </a:gs>
            </a:gsLst>
            <a:lin ang="3600000" scaled="0"/>
          </a:gradFill>
          <a:ln w="4048" cap="flat">
            <a:noFill/>
            <a:prstDash val="solid"/>
            <a:miter/>
          </a:ln>
        </p:spPr>
        <p:txBody>
          <a:bodyPr rtlCol="0" anchor="ctr"/>
          <a:lstStyle/>
          <a:p>
            <a:endParaRPr lang="en-GB"/>
          </a:p>
        </p:txBody>
      </p:sp>
    </p:spTree>
    <p:extLst>
      <p:ext uri="{BB962C8B-B14F-4D97-AF65-F5344CB8AC3E}">
        <p14:creationId xmlns:p14="http://schemas.microsoft.com/office/powerpoint/2010/main" val="4282572743"/>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 Title Start">
    <p:spTree>
      <p:nvGrpSpPr>
        <p:cNvPr id="1" name=""/>
        <p:cNvGrpSpPr/>
        <p:nvPr/>
      </p:nvGrpSpPr>
      <p:grpSpPr>
        <a:xfrm>
          <a:off x="0" y="0"/>
          <a:ext cx="0" cy="0"/>
          <a:chOff x="0" y="0"/>
          <a:chExt cx="0" cy="0"/>
        </a:xfrm>
      </p:grpSpPr>
      <p:sp>
        <p:nvSpPr>
          <p:cNvPr id="3" name="Background image">
            <a:extLst>
              <a:ext uri="{FF2B5EF4-FFF2-40B4-BE49-F238E27FC236}">
                <a16:creationId xmlns:a16="http://schemas.microsoft.com/office/drawing/2014/main" id="{25798999-2A1E-2547-A8D5-4373B7132ADB}"/>
              </a:ext>
            </a:extLst>
          </p:cNvPr>
          <p:cNvSpPr>
            <a:spLocks noGrp="1"/>
          </p:cNvSpPr>
          <p:nvPr>
            <p:ph type="pic" sz="quarter" idx="10" hasCustomPrompt="1"/>
          </p:nvPr>
        </p:nvSpPr>
        <p:spPr>
          <a:xfrm>
            <a:off x="179388" y="158750"/>
            <a:ext cx="8785322" cy="4681538"/>
          </a:xfrm>
          <a:blipFill dpi="0" rotWithShape="1">
            <a:blip r:embed="rId2"/>
            <a:srcRect/>
            <a:tile tx="0" ty="0" sx="100000" sy="100000" flip="none" algn="tl"/>
          </a:blipFill>
        </p:spPr>
        <p:txBody>
          <a:bodyPr lIns="0" rIns="0"/>
          <a:lstStyle>
            <a:lvl1pPr algn="ctr">
              <a:buNone/>
              <a:defRPr sz="800">
                <a:solidFill>
                  <a:schemeClr val="bg1">
                    <a:lumMod val="75000"/>
                  </a:schemeClr>
                </a:solidFill>
              </a:defRPr>
            </a:lvl1pPr>
          </a:lstStyle>
          <a:p>
            <a:r>
              <a:rPr lang="en-GB" noProof="0"/>
              <a:t>Select placeholder and select Insert &gt; Pictures</a:t>
            </a:r>
          </a:p>
        </p:txBody>
      </p:sp>
      <p:sp>
        <p:nvSpPr>
          <p:cNvPr id="6" name="Title">
            <a:extLst>
              <a:ext uri="{FF2B5EF4-FFF2-40B4-BE49-F238E27FC236}">
                <a16:creationId xmlns:a16="http://schemas.microsoft.com/office/drawing/2014/main" id="{D70BF8E9-745F-E646-8ACE-EA0841D80D16}"/>
              </a:ext>
            </a:extLst>
          </p:cNvPr>
          <p:cNvSpPr>
            <a:spLocks noGrp="1"/>
          </p:cNvSpPr>
          <p:nvPr>
            <p:ph type="title" hasCustomPrompt="1"/>
          </p:nvPr>
        </p:nvSpPr>
        <p:spPr>
          <a:xfrm>
            <a:off x="324000" y="1719827"/>
            <a:ext cx="8496000" cy="1560972"/>
          </a:xfrm>
        </p:spPr>
        <p:txBody>
          <a:bodyPr lIns="216000" rIns="216000" anchor="ctr"/>
          <a:lstStyle>
            <a:lvl1pPr algn="ctr">
              <a:defRPr sz="4800" baseline="0">
                <a:solidFill>
                  <a:schemeClr val="bg1"/>
                </a:solidFill>
              </a:defRPr>
            </a:lvl1pPr>
          </a:lstStyle>
          <a:p>
            <a:r>
              <a:rPr lang="en-GB" noProof="0"/>
              <a:t>Click to add documentation title in two rows</a:t>
            </a:r>
          </a:p>
        </p:txBody>
      </p:sp>
      <p:sp>
        <p:nvSpPr>
          <p:cNvPr id="15" name="Text">
            <a:extLst>
              <a:ext uri="{FF2B5EF4-FFF2-40B4-BE49-F238E27FC236}">
                <a16:creationId xmlns:a16="http://schemas.microsoft.com/office/drawing/2014/main" id="{454F8E95-426A-F348-AA14-06D4E6F905A5}"/>
              </a:ext>
            </a:extLst>
          </p:cNvPr>
          <p:cNvSpPr>
            <a:spLocks noGrp="1"/>
          </p:cNvSpPr>
          <p:nvPr>
            <p:ph type="body" sz="quarter" idx="11" hasCustomPrompt="1"/>
          </p:nvPr>
        </p:nvSpPr>
        <p:spPr>
          <a:xfrm>
            <a:off x="3203575" y="3307557"/>
            <a:ext cx="2736850" cy="715803"/>
          </a:xfrm>
        </p:spPr>
        <p:txBody>
          <a:bodyPr lIns="144000" rIns="144000" anchor="t"/>
          <a:lstStyle>
            <a:lvl1pPr marL="0" indent="-12700" algn="ctr">
              <a:lnSpc>
                <a:spcPct val="95000"/>
              </a:lnSpc>
              <a:spcBef>
                <a:spcPts val="0"/>
              </a:spcBef>
              <a:buNone/>
              <a:tabLst/>
              <a:defRPr b="1">
                <a:solidFill>
                  <a:schemeClr val="bg1"/>
                </a:solidFill>
              </a:defRPr>
            </a:lvl1pPr>
          </a:lstStyle>
          <a:p>
            <a:pPr lvl="0"/>
            <a:r>
              <a:rPr lang="en-GB" noProof="0"/>
              <a:t>Click to add Name of presenter, job title and current date</a:t>
            </a:r>
          </a:p>
        </p:txBody>
      </p:sp>
      <p:sp>
        <p:nvSpPr>
          <p:cNvPr id="11" name="Date">
            <a:extLst>
              <a:ext uri="{FF2B5EF4-FFF2-40B4-BE49-F238E27FC236}">
                <a16:creationId xmlns:a16="http://schemas.microsoft.com/office/drawing/2014/main" id="{38CA3AD7-12F8-9F43-820D-33071C26D41A}"/>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90E2DF66-2D6D-4294-9A85-B42058B89A10}" type="datetime1">
              <a:rPr lang="sv-SE" noProof="0" smtClean="0"/>
              <a:t>2025-09-04</a:t>
            </a:fld>
            <a:endParaRPr lang="en-GB" noProof="0"/>
          </a:p>
        </p:txBody>
      </p:sp>
      <p:sp>
        <p:nvSpPr>
          <p:cNvPr id="12" name="Number">
            <a:extLst>
              <a:ext uri="{FF2B5EF4-FFF2-40B4-BE49-F238E27FC236}">
                <a16:creationId xmlns:a16="http://schemas.microsoft.com/office/drawing/2014/main" id="{DFED6C3B-4A73-344C-A9A5-F8224178884F}"/>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9" name="Footer">
            <a:extLst>
              <a:ext uri="{FF2B5EF4-FFF2-40B4-BE49-F238E27FC236}">
                <a16:creationId xmlns:a16="http://schemas.microsoft.com/office/drawing/2014/main" id="{305B99F1-F53B-3642-BB22-B83D0965B612}"/>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4076791995"/>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 Title Start Video">
    <p:spTree>
      <p:nvGrpSpPr>
        <p:cNvPr id="1" name=""/>
        <p:cNvGrpSpPr/>
        <p:nvPr/>
      </p:nvGrpSpPr>
      <p:grpSpPr>
        <a:xfrm>
          <a:off x="0" y="0"/>
          <a:ext cx="0" cy="0"/>
          <a:chOff x="0" y="0"/>
          <a:chExt cx="0" cy="0"/>
        </a:xfrm>
      </p:grpSpPr>
      <p:sp>
        <p:nvSpPr>
          <p:cNvPr id="2" name="Video placeholder">
            <a:extLst>
              <a:ext uri="{FF2B5EF4-FFF2-40B4-BE49-F238E27FC236}">
                <a16:creationId xmlns:a16="http://schemas.microsoft.com/office/drawing/2014/main" id="{F4897AD2-B1C3-0325-16FD-104E14561548}"/>
              </a:ext>
            </a:extLst>
          </p:cNvPr>
          <p:cNvSpPr>
            <a:spLocks noGrp="1"/>
          </p:cNvSpPr>
          <p:nvPr>
            <p:ph type="media" sz="quarter" idx="12" hasCustomPrompt="1"/>
          </p:nvPr>
        </p:nvSpPr>
        <p:spPr>
          <a:xfrm>
            <a:off x="-32951" y="-18535"/>
            <a:ext cx="9209902" cy="5180570"/>
          </a:xfrm>
          <a:custGeom>
            <a:avLst/>
            <a:gdLst>
              <a:gd name="connsiteX0" fmla="*/ 212339 w 9209902"/>
              <a:gd name="connsiteY0" fmla="*/ 177285 h 5180570"/>
              <a:gd name="connsiteX1" fmla="*/ 8997562 w 9209902"/>
              <a:gd name="connsiteY1" fmla="*/ 177285 h 5180570"/>
              <a:gd name="connsiteX2" fmla="*/ 8997562 w 9209902"/>
              <a:gd name="connsiteY2" fmla="*/ 4858824 h 5180570"/>
              <a:gd name="connsiteX3" fmla="*/ 212339 w 9209902"/>
              <a:gd name="connsiteY3" fmla="*/ 4858824 h 5180570"/>
              <a:gd name="connsiteX4" fmla="*/ 32951 w 9209902"/>
              <a:gd name="connsiteY4" fmla="*/ 18535 h 5180570"/>
              <a:gd name="connsiteX5" fmla="*/ 32951 w 9209902"/>
              <a:gd name="connsiteY5" fmla="*/ 5162034 h 5180570"/>
              <a:gd name="connsiteX6" fmla="*/ 143236 w 9209902"/>
              <a:gd name="connsiteY6" fmla="*/ 5162034 h 5180570"/>
              <a:gd name="connsiteX7" fmla="*/ 143236 w 9209902"/>
              <a:gd name="connsiteY7" fmla="*/ 5162035 h 5180570"/>
              <a:gd name="connsiteX8" fmla="*/ 9151553 w 9209902"/>
              <a:gd name="connsiteY8" fmla="*/ 5162035 h 5180570"/>
              <a:gd name="connsiteX9" fmla="*/ 9176951 w 9209902"/>
              <a:gd name="connsiteY9" fmla="*/ 5162035 h 5180570"/>
              <a:gd name="connsiteX10" fmla="*/ 9176951 w 9209902"/>
              <a:gd name="connsiteY10" fmla="*/ 18535 h 5180570"/>
              <a:gd name="connsiteX11" fmla="*/ 8997562 w 9209902"/>
              <a:gd name="connsiteY11" fmla="*/ 18535 h 5180570"/>
              <a:gd name="connsiteX12" fmla="*/ 143237 w 9209902"/>
              <a:gd name="connsiteY12" fmla="*/ 18535 h 5180570"/>
              <a:gd name="connsiteX13" fmla="*/ 0 w 9209902"/>
              <a:gd name="connsiteY13" fmla="*/ 0 h 5180570"/>
              <a:gd name="connsiteX14" fmla="*/ 9209902 w 9209902"/>
              <a:gd name="connsiteY14" fmla="*/ 0 h 5180570"/>
              <a:gd name="connsiteX15" fmla="*/ 9209902 w 9209902"/>
              <a:gd name="connsiteY15" fmla="*/ 5180570 h 5180570"/>
              <a:gd name="connsiteX16" fmla="*/ 0 w 9209902"/>
              <a:gd name="connsiteY16" fmla="*/ 5180570 h 518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209902" h="5180570">
                <a:moveTo>
                  <a:pt x="212339" y="177285"/>
                </a:moveTo>
                <a:lnTo>
                  <a:pt x="8997562" y="177285"/>
                </a:lnTo>
                <a:lnTo>
                  <a:pt x="8997562" y="4858824"/>
                </a:lnTo>
                <a:lnTo>
                  <a:pt x="212339" y="4858824"/>
                </a:lnTo>
                <a:close/>
                <a:moveTo>
                  <a:pt x="32951" y="18535"/>
                </a:moveTo>
                <a:lnTo>
                  <a:pt x="32951" y="5162034"/>
                </a:lnTo>
                <a:lnTo>
                  <a:pt x="143236" y="5162034"/>
                </a:lnTo>
                <a:lnTo>
                  <a:pt x="143236" y="5162035"/>
                </a:lnTo>
                <a:lnTo>
                  <a:pt x="9151553" y="5162035"/>
                </a:lnTo>
                <a:lnTo>
                  <a:pt x="9176951" y="5162035"/>
                </a:lnTo>
                <a:lnTo>
                  <a:pt x="9176951" y="18535"/>
                </a:lnTo>
                <a:lnTo>
                  <a:pt x="8997562" y="18535"/>
                </a:lnTo>
                <a:lnTo>
                  <a:pt x="143237" y="18535"/>
                </a:lnTo>
                <a:close/>
                <a:moveTo>
                  <a:pt x="0" y="0"/>
                </a:moveTo>
                <a:lnTo>
                  <a:pt x="9209902" y="0"/>
                </a:lnTo>
                <a:lnTo>
                  <a:pt x="9209902" y="5180570"/>
                </a:lnTo>
                <a:lnTo>
                  <a:pt x="0" y="5180570"/>
                </a:lnTo>
                <a:close/>
              </a:path>
            </a:pathLst>
          </a:custGeom>
          <a:blipFill dpi="0" rotWithShape="1">
            <a:blip r:embed="rId2"/>
            <a:srcRect/>
            <a:tile tx="0" ty="0" sx="100000" sy="100000" flip="none" algn="tl"/>
          </a:blipFill>
        </p:spPr>
        <p:txBody>
          <a:bodyPr vert="horz" wrap="square" lIns="90000" tIns="251999" rIns="90000" bIns="45720" rtlCol="0">
            <a:noAutofit/>
          </a:bodyPr>
          <a:lstStyle>
            <a:lvl1pPr marL="0" indent="0" algn="ctr">
              <a:buNone/>
              <a:defRPr lang="en-GB" sz="800" noProof="0" dirty="0">
                <a:solidFill>
                  <a:schemeClr val="bg1">
                    <a:lumMod val="75000"/>
                  </a:schemeClr>
                </a:solidFill>
              </a:defRPr>
            </a:lvl1pPr>
          </a:lstStyle>
          <a:p>
            <a:pPr marL="171450" lvl="0" indent="-171450" algn="ctr"/>
            <a:r>
              <a:rPr lang="en-GB" noProof="0"/>
              <a:t>Select placeholder and select Insert &gt; Insert Video from this device</a:t>
            </a:r>
          </a:p>
        </p:txBody>
      </p:sp>
      <p:sp>
        <p:nvSpPr>
          <p:cNvPr id="6" name="Title">
            <a:extLst>
              <a:ext uri="{FF2B5EF4-FFF2-40B4-BE49-F238E27FC236}">
                <a16:creationId xmlns:a16="http://schemas.microsoft.com/office/drawing/2014/main" id="{D70BF8E9-745F-E646-8ACE-EA0841D80D16}"/>
              </a:ext>
            </a:extLst>
          </p:cNvPr>
          <p:cNvSpPr>
            <a:spLocks noGrp="1"/>
          </p:cNvSpPr>
          <p:nvPr>
            <p:ph type="title" hasCustomPrompt="1"/>
          </p:nvPr>
        </p:nvSpPr>
        <p:spPr>
          <a:xfrm>
            <a:off x="323850" y="1719827"/>
            <a:ext cx="8496300" cy="1560972"/>
          </a:xfrm>
        </p:spPr>
        <p:txBody>
          <a:bodyPr lIns="216000" rIns="216000" anchor="ctr"/>
          <a:lstStyle>
            <a:lvl1pPr algn="ctr">
              <a:defRPr sz="4800">
                <a:solidFill>
                  <a:schemeClr val="bg1"/>
                </a:solidFill>
              </a:defRPr>
            </a:lvl1pPr>
          </a:lstStyle>
          <a:p>
            <a:r>
              <a:rPr lang="en-GB" noProof="0"/>
              <a:t>Click to add presentation title in two rows</a:t>
            </a:r>
          </a:p>
        </p:txBody>
      </p:sp>
      <p:sp>
        <p:nvSpPr>
          <p:cNvPr id="15" name="Text">
            <a:extLst>
              <a:ext uri="{FF2B5EF4-FFF2-40B4-BE49-F238E27FC236}">
                <a16:creationId xmlns:a16="http://schemas.microsoft.com/office/drawing/2014/main" id="{454F8E95-426A-F348-AA14-06D4E6F905A5}"/>
              </a:ext>
            </a:extLst>
          </p:cNvPr>
          <p:cNvSpPr>
            <a:spLocks noGrp="1"/>
          </p:cNvSpPr>
          <p:nvPr>
            <p:ph type="body" sz="quarter" idx="11" hasCustomPrompt="1"/>
          </p:nvPr>
        </p:nvSpPr>
        <p:spPr>
          <a:xfrm>
            <a:off x="3203575" y="3307557"/>
            <a:ext cx="2736850" cy="715803"/>
          </a:xfrm>
        </p:spPr>
        <p:txBody>
          <a:bodyPr lIns="216000" rIns="216000" anchor="t"/>
          <a:lstStyle>
            <a:lvl1pPr marL="0" indent="-12700" algn="ctr">
              <a:lnSpc>
                <a:spcPct val="95000"/>
              </a:lnSpc>
              <a:spcBef>
                <a:spcPts val="0"/>
              </a:spcBef>
              <a:buNone/>
              <a:tabLst/>
              <a:defRPr b="1" baseline="0">
                <a:solidFill>
                  <a:schemeClr val="bg1"/>
                </a:solidFill>
              </a:defRPr>
            </a:lvl1pPr>
          </a:lstStyle>
          <a:p>
            <a:pPr lvl="0"/>
            <a:r>
              <a:rPr lang="en-GB" noProof="0"/>
              <a:t>Click to add Name of presenter and</a:t>
            </a:r>
            <a:br>
              <a:rPr lang="en-GB" noProof="0"/>
            </a:br>
            <a:r>
              <a:rPr lang="en-GB" noProof="0"/>
              <a:t>Job title</a:t>
            </a:r>
          </a:p>
        </p:txBody>
      </p:sp>
      <p:sp>
        <p:nvSpPr>
          <p:cNvPr id="11" name="Date">
            <a:extLst>
              <a:ext uri="{FF2B5EF4-FFF2-40B4-BE49-F238E27FC236}">
                <a16:creationId xmlns:a16="http://schemas.microsoft.com/office/drawing/2014/main" id="{38CA3AD7-12F8-9F43-820D-33071C26D41A}"/>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622C5876-CB69-42B8-AC77-8B5739E4A94A}" type="datetime1">
              <a:rPr lang="sv-SE" noProof="0" smtClean="0"/>
              <a:t>2025-09-04</a:t>
            </a:fld>
            <a:endParaRPr lang="en-GB" noProof="0"/>
          </a:p>
        </p:txBody>
      </p:sp>
      <p:sp>
        <p:nvSpPr>
          <p:cNvPr id="12" name="Number">
            <a:extLst>
              <a:ext uri="{FF2B5EF4-FFF2-40B4-BE49-F238E27FC236}">
                <a16:creationId xmlns:a16="http://schemas.microsoft.com/office/drawing/2014/main" id="{DFED6C3B-4A73-344C-A9A5-F8224178884F}"/>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3" name="Footer">
            <a:extLst>
              <a:ext uri="{FF2B5EF4-FFF2-40B4-BE49-F238E27FC236}">
                <a16:creationId xmlns:a16="http://schemas.microsoft.com/office/drawing/2014/main" id="{3B9E93E1-A5C6-AE48-99D5-A7A443E60A82}"/>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err="1"/>
          </a:p>
        </p:txBody>
      </p:sp>
    </p:spTree>
    <p:extLst>
      <p:ext uri="{BB962C8B-B14F-4D97-AF65-F5344CB8AC3E}">
        <p14:creationId xmlns:p14="http://schemas.microsoft.com/office/powerpoint/2010/main" val="2597876902"/>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 Simple Bullets and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6457004-687C-451E-B46B-3E497B25A19E}"/>
              </a:ext>
            </a:extLst>
          </p:cNvPr>
          <p:cNvSpPr/>
          <p:nvPr userDrawn="1"/>
        </p:nvSpPr>
        <p:spPr>
          <a:xfrm>
            <a:off x="5940425" y="158750"/>
            <a:ext cx="144462" cy="4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Image">
            <a:extLst>
              <a:ext uri="{FF2B5EF4-FFF2-40B4-BE49-F238E27FC236}">
                <a16:creationId xmlns:a16="http://schemas.microsoft.com/office/drawing/2014/main" id="{F5C3C095-2530-E045-81C5-702F3F64FC3B}"/>
              </a:ext>
            </a:extLst>
          </p:cNvPr>
          <p:cNvSpPr>
            <a:spLocks noGrp="1"/>
          </p:cNvSpPr>
          <p:nvPr>
            <p:ph type="pic" sz="quarter" idx="16" hasCustomPrompt="1"/>
          </p:nvPr>
        </p:nvSpPr>
        <p:spPr>
          <a:xfrm>
            <a:off x="6084887" y="158750"/>
            <a:ext cx="2879725" cy="4681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16" name="Title">
            <a:extLst>
              <a:ext uri="{FF2B5EF4-FFF2-40B4-BE49-F238E27FC236}">
                <a16:creationId xmlns:a16="http://schemas.microsoft.com/office/drawing/2014/main" id="{29C1BAB5-302C-E24B-AF46-F5810100CE40}"/>
              </a:ext>
            </a:extLst>
          </p:cNvPr>
          <p:cNvSpPr>
            <a:spLocks noGrp="1"/>
          </p:cNvSpPr>
          <p:nvPr>
            <p:ph type="title" hasCustomPrompt="1"/>
          </p:nvPr>
        </p:nvSpPr>
        <p:spPr>
          <a:xfrm>
            <a:off x="323851" y="545326"/>
            <a:ext cx="5616572" cy="741454"/>
          </a:xfrm>
        </p:spPr>
        <p:txBody>
          <a:bodyPr rIns="216000"/>
          <a:lstStyle>
            <a:lvl1pPr>
              <a:defRPr spc="-30" baseline="0"/>
            </a:lvl1pPr>
          </a:lstStyle>
          <a:p>
            <a:r>
              <a:rPr lang="en-GB" noProof="0"/>
              <a:t>Click to add a headline of maximum two lines</a:t>
            </a:r>
          </a:p>
        </p:txBody>
      </p:sp>
      <p:sp>
        <p:nvSpPr>
          <p:cNvPr id="9" name="Navigation">
            <a:extLst>
              <a:ext uri="{FF2B5EF4-FFF2-40B4-BE49-F238E27FC236}">
                <a16:creationId xmlns:a16="http://schemas.microsoft.com/office/drawing/2014/main" id="{03424855-B277-8744-9C85-9975925B8200}"/>
              </a:ext>
            </a:extLst>
          </p:cNvPr>
          <p:cNvSpPr>
            <a:spLocks noGrp="1"/>
          </p:cNvSpPr>
          <p:nvPr>
            <p:ph type="body" sz="quarter" idx="14" hasCustomPrompt="1"/>
          </p:nvPr>
        </p:nvSpPr>
        <p:spPr>
          <a:xfrm>
            <a:off x="323850" y="277200"/>
            <a:ext cx="5616572" cy="276999"/>
          </a:xfrm>
        </p:spPr>
        <p:txBody>
          <a:bodyPr lIns="111600" rIns="216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a:t>
            </a:r>
            <a:r>
              <a:rPr lang="en-GB" noProof="0" err="1"/>
              <a:t>subheader</a:t>
            </a:r>
            <a:endParaRPr lang="en-GB" noProof="0"/>
          </a:p>
        </p:txBody>
      </p:sp>
      <p:sp>
        <p:nvSpPr>
          <p:cNvPr id="2" name="Notes">
            <a:extLst>
              <a:ext uri="{FF2B5EF4-FFF2-40B4-BE49-F238E27FC236}">
                <a16:creationId xmlns:a16="http://schemas.microsoft.com/office/drawing/2014/main" id="{9DB05081-2AB4-A86F-9819-23F04E7D58DC}"/>
              </a:ext>
            </a:extLst>
          </p:cNvPr>
          <p:cNvSpPr>
            <a:spLocks noGrp="1"/>
          </p:cNvSpPr>
          <p:nvPr>
            <p:ph type="body" sz="quarter" idx="19" hasCustomPrompt="1"/>
          </p:nvPr>
        </p:nvSpPr>
        <p:spPr>
          <a:xfrm>
            <a:off x="323850" y="4695825"/>
            <a:ext cx="4176715" cy="144463"/>
          </a:xfrm>
        </p:spPr>
        <p:txBody>
          <a:bodyPr lIns="111600" tIns="0" rIns="216000" bIns="18000" anchor="b"/>
          <a:lstStyle>
            <a:lvl1pPr marL="0" indent="0">
              <a:spcBef>
                <a:spcPts val="0"/>
              </a:spcBef>
              <a:buNone/>
              <a:tabLst/>
              <a:defRPr sz="600"/>
            </a:lvl1pPr>
            <a:lvl2pPr>
              <a:buNone/>
              <a:defRPr sz="800"/>
            </a:lvl2pPr>
            <a:lvl3pPr>
              <a:buNone/>
              <a:defRPr sz="800"/>
            </a:lvl3pPr>
            <a:lvl4pPr>
              <a:buNone/>
              <a:defRPr sz="800"/>
            </a:lvl4pPr>
            <a:lvl5pPr>
              <a:buNone/>
              <a:defRPr sz="800"/>
            </a:lvl5pPr>
          </a:lstStyle>
          <a:p>
            <a:pPr lvl="0"/>
            <a:r>
              <a:rPr lang="en-GB" noProof="0"/>
              <a:t>*Click to add footnotes</a:t>
            </a:r>
          </a:p>
        </p:txBody>
      </p:sp>
      <p:sp>
        <p:nvSpPr>
          <p:cNvPr id="3" name="Date">
            <a:extLst>
              <a:ext uri="{FF2B5EF4-FFF2-40B4-BE49-F238E27FC236}">
                <a16:creationId xmlns:a16="http://schemas.microsoft.com/office/drawing/2014/main" id="{C57FF860-80C4-F544-9349-277B28F447FB}"/>
              </a:ext>
            </a:extLst>
          </p:cNvPr>
          <p:cNvSpPr>
            <a:spLocks noGrp="1"/>
          </p:cNvSpPr>
          <p:nvPr>
            <p:ph type="dt" sz="half" idx="10"/>
          </p:nvPr>
        </p:nvSpPr>
        <p:spPr/>
        <p:txBody>
          <a:bodyPr/>
          <a:lstStyle/>
          <a:p>
            <a:fld id="{D31825F5-F127-4667-B3D4-C2239C6A0276}" type="datetime1">
              <a:rPr lang="sv-SE" noProof="0" smtClean="0"/>
              <a:t>2025-09-04</a:t>
            </a:fld>
            <a:endParaRPr lang="en-GB" noProof="0"/>
          </a:p>
        </p:txBody>
      </p:sp>
      <p:sp>
        <p:nvSpPr>
          <p:cNvPr id="4" name="Number">
            <a:extLst>
              <a:ext uri="{FF2B5EF4-FFF2-40B4-BE49-F238E27FC236}">
                <a16:creationId xmlns:a16="http://schemas.microsoft.com/office/drawing/2014/main" id="{61938E86-6CF5-9C42-AB2F-96E9B547A11F}"/>
              </a:ext>
            </a:extLst>
          </p:cNvPr>
          <p:cNvSpPr>
            <a:spLocks noGrp="1"/>
          </p:cNvSpPr>
          <p:nvPr>
            <p:ph type="sldNum" sz="quarter" idx="11"/>
          </p:nvPr>
        </p:nvSpPr>
        <p:spPr/>
        <p:txBody>
          <a:bodyPr/>
          <a:lstStyle/>
          <a:p>
            <a:fld id="{17CD396C-6A52-4D5A-BAE3-92A1CC3BBDE0}" type="slidenum">
              <a:rPr lang="en-GB" noProof="0" smtClean="0"/>
              <a:pPr/>
              <a:t>‹nr.›</a:t>
            </a:fld>
            <a:endParaRPr lang="en-GB" noProof="0"/>
          </a:p>
        </p:txBody>
      </p:sp>
      <p:sp>
        <p:nvSpPr>
          <p:cNvPr id="11" name="Footer">
            <a:extLst>
              <a:ext uri="{FF2B5EF4-FFF2-40B4-BE49-F238E27FC236}">
                <a16:creationId xmlns:a16="http://schemas.microsoft.com/office/drawing/2014/main" id="{247D01AC-24E0-DC4E-B377-A91A85961AC4}"/>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
        <p:nvSpPr>
          <p:cNvPr id="6" name="Text Placeholder 4">
            <a:extLst>
              <a:ext uri="{FF2B5EF4-FFF2-40B4-BE49-F238E27FC236}">
                <a16:creationId xmlns:a16="http://schemas.microsoft.com/office/drawing/2014/main" id="{4F3E2A7B-9D59-DC2D-353B-9B99BE518960}"/>
              </a:ext>
            </a:extLst>
          </p:cNvPr>
          <p:cNvSpPr>
            <a:spLocks noGrp="1"/>
          </p:cNvSpPr>
          <p:nvPr>
            <p:ph type="body" sz="quarter" idx="20"/>
          </p:nvPr>
        </p:nvSpPr>
        <p:spPr>
          <a:xfrm>
            <a:off x="323849" y="1433590"/>
            <a:ext cx="5616575" cy="3189210"/>
          </a:xfrm>
        </p:spPr>
        <p:txBody>
          <a:bodyPr rIns="216000"/>
          <a:lstStyle>
            <a:lvl1pPr marL="342000" indent="-342000">
              <a:lnSpc>
                <a:spcPct val="95000"/>
              </a:lnSpc>
              <a:spcBef>
                <a:spcPts val="1000"/>
              </a:spcBef>
              <a:buFontTx/>
              <a:buBlip>
                <a:blip r:embed="rId3">
                  <a:extLst>
                    <a:ext uri="{96DAC541-7B7A-43D3-8B79-37D633B846F1}">
                      <asvg:svgBlip xmlns:asvg="http://schemas.microsoft.com/office/drawing/2016/SVG/main" r:embed="rId4"/>
                    </a:ext>
                  </a:extLst>
                </a:blip>
              </a:buBlip>
              <a:defRPr sz="1600" b="1"/>
            </a:lvl1pPr>
            <a:lvl2pPr marL="342000" indent="-342000">
              <a:spcBef>
                <a:spcPts val="0"/>
              </a:spcBef>
              <a:buFontTx/>
              <a:buBlip>
                <a:blip r:embed="rId5"/>
              </a:buBlip>
              <a:defRPr sz="1200"/>
            </a:lvl2pPr>
            <a:lvl3pPr marL="342000" indent="-342000">
              <a:spcBef>
                <a:spcPts val="200"/>
              </a:spcBef>
              <a:spcAft>
                <a:spcPts val="0"/>
              </a:spcAft>
              <a:buFontTx/>
              <a:buBlip>
                <a:blip r:embed="rId5"/>
              </a:buBlip>
              <a:defRPr sz="1050">
                <a:solidFill>
                  <a:schemeClr val="tx1"/>
                </a:solidFill>
              </a:defRPr>
            </a:lvl3pPr>
          </a:lstStyle>
          <a:p>
            <a:pPr lvl="0"/>
            <a:r>
              <a:rPr lang="en-GB"/>
              <a:t>Click to edit Master text styles</a:t>
            </a:r>
          </a:p>
          <a:p>
            <a:pPr lvl="1"/>
            <a:r>
              <a:rPr lang="en-GB"/>
              <a:t>Use Tab key to add second level</a:t>
            </a:r>
          </a:p>
          <a:p>
            <a:pPr lvl="2"/>
            <a:r>
              <a:rPr lang="en-GB"/>
              <a:t>Use Tab key to add third level</a:t>
            </a:r>
          </a:p>
        </p:txBody>
      </p:sp>
    </p:spTree>
    <p:extLst>
      <p:ext uri="{BB962C8B-B14F-4D97-AF65-F5344CB8AC3E}">
        <p14:creationId xmlns:p14="http://schemas.microsoft.com/office/powerpoint/2010/main" val="2663095012"/>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Text and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AAED842-965F-2781-C568-DE64B77E59D1}"/>
              </a:ext>
            </a:extLst>
          </p:cNvPr>
          <p:cNvSpPr/>
          <p:nvPr userDrawn="1"/>
        </p:nvSpPr>
        <p:spPr>
          <a:xfrm>
            <a:off x="4499769" y="158750"/>
            <a:ext cx="144462" cy="4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Image">
            <a:extLst>
              <a:ext uri="{FF2B5EF4-FFF2-40B4-BE49-F238E27FC236}">
                <a16:creationId xmlns:a16="http://schemas.microsoft.com/office/drawing/2014/main" id="{F782635C-88D6-3E42-BB72-11F54CF9C37E}"/>
              </a:ext>
            </a:extLst>
          </p:cNvPr>
          <p:cNvSpPr>
            <a:spLocks noGrp="1"/>
          </p:cNvSpPr>
          <p:nvPr>
            <p:ph type="pic" sz="quarter" idx="16" hasCustomPrompt="1"/>
          </p:nvPr>
        </p:nvSpPr>
        <p:spPr>
          <a:xfrm>
            <a:off x="4643439" y="158750"/>
            <a:ext cx="4321174" cy="4681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2" name="Title">
            <a:extLst>
              <a:ext uri="{FF2B5EF4-FFF2-40B4-BE49-F238E27FC236}">
                <a16:creationId xmlns:a16="http://schemas.microsoft.com/office/drawing/2014/main" id="{38A7CF33-452A-714F-A2F4-CE6178190432}"/>
              </a:ext>
            </a:extLst>
          </p:cNvPr>
          <p:cNvSpPr>
            <a:spLocks noGrp="1"/>
          </p:cNvSpPr>
          <p:nvPr>
            <p:ph type="title" hasCustomPrompt="1"/>
          </p:nvPr>
        </p:nvSpPr>
        <p:spPr>
          <a:xfrm>
            <a:off x="323851" y="545325"/>
            <a:ext cx="4177035" cy="802463"/>
          </a:xfrm>
        </p:spPr>
        <p:txBody>
          <a:bodyPr rIns="216000"/>
          <a:lstStyle>
            <a:lvl1pPr>
              <a:defRPr spc="-30" baseline="0"/>
            </a:lvl1pPr>
          </a:lstStyle>
          <a:p>
            <a:r>
              <a:rPr lang="en-GB" noProof="0"/>
              <a:t>Click to add a headline of maximum two lines</a:t>
            </a:r>
          </a:p>
        </p:txBody>
      </p:sp>
      <p:sp>
        <p:nvSpPr>
          <p:cNvPr id="9" name="Navigation">
            <a:extLst>
              <a:ext uri="{FF2B5EF4-FFF2-40B4-BE49-F238E27FC236}">
                <a16:creationId xmlns:a16="http://schemas.microsoft.com/office/drawing/2014/main" id="{03424855-B277-8744-9C85-9975925B8200}"/>
              </a:ext>
            </a:extLst>
          </p:cNvPr>
          <p:cNvSpPr>
            <a:spLocks noGrp="1"/>
          </p:cNvSpPr>
          <p:nvPr>
            <p:ph type="body" sz="quarter" idx="14" hasCustomPrompt="1"/>
          </p:nvPr>
        </p:nvSpPr>
        <p:spPr>
          <a:xfrm>
            <a:off x="323850" y="276226"/>
            <a:ext cx="4177035" cy="276999"/>
          </a:xfrm>
        </p:spPr>
        <p:txBody>
          <a:bodyPr lIns="111600" rIns="216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a:t>
            </a:r>
            <a:r>
              <a:rPr lang="en-GB" noProof="0" err="1"/>
              <a:t>subheader</a:t>
            </a:r>
            <a:endParaRPr lang="en-GB" noProof="0"/>
          </a:p>
        </p:txBody>
      </p:sp>
      <p:sp>
        <p:nvSpPr>
          <p:cNvPr id="14" name="Text">
            <a:extLst>
              <a:ext uri="{FF2B5EF4-FFF2-40B4-BE49-F238E27FC236}">
                <a16:creationId xmlns:a16="http://schemas.microsoft.com/office/drawing/2014/main" id="{F6397471-EE5D-4845-BB05-47F7C699E3B2}"/>
              </a:ext>
            </a:extLst>
          </p:cNvPr>
          <p:cNvSpPr>
            <a:spLocks noGrp="1"/>
          </p:cNvSpPr>
          <p:nvPr>
            <p:ph type="body" sz="quarter" idx="20" hasCustomPrompt="1"/>
          </p:nvPr>
        </p:nvSpPr>
        <p:spPr>
          <a:xfrm>
            <a:off x="323849" y="1447200"/>
            <a:ext cx="4176713" cy="3250325"/>
          </a:xfrm>
        </p:spPr>
        <p:txBody>
          <a:bodyPr rIns="216000"/>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 name="Date">
            <a:extLst>
              <a:ext uri="{FF2B5EF4-FFF2-40B4-BE49-F238E27FC236}">
                <a16:creationId xmlns:a16="http://schemas.microsoft.com/office/drawing/2014/main" id="{C57FF860-80C4-F544-9349-277B28F447FB}"/>
              </a:ext>
            </a:extLst>
          </p:cNvPr>
          <p:cNvSpPr>
            <a:spLocks noGrp="1"/>
          </p:cNvSpPr>
          <p:nvPr>
            <p:ph type="dt" sz="half" idx="10"/>
          </p:nvPr>
        </p:nvSpPr>
        <p:spPr/>
        <p:txBody>
          <a:bodyPr/>
          <a:lstStyle/>
          <a:p>
            <a:fld id="{E0BD3B44-2BEA-4841-94E3-7A6651DE17AB}" type="datetime1">
              <a:rPr lang="sv-SE" noProof="0" smtClean="0"/>
              <a:t>2025-09-04</a:t>
            </a:fld>
            <a:endParaRPr lang="en-GB" noProof="0"/>
          </a:p>
        </p:txBody>
      </p:sp>
      <p:sp>
        <p:nvSpPr>
          <p:cNvPr id="4" name="Number">
            <a:extLst>
              <a:ext uri="{FF2B5EF4-FFF2-40B4-BE49-F238E27FC236}">
                <a16:creationId xmlns:a16="http://schemas.microsoft.com/office/drawing/2014/main" id="{61938E86-6CF5-9C42-AB2F-96E9B547A11F}"/>
              </a:ext>
            </a:extLst>
          </p:cNvPr>
          <p:cNvSpPr>
            <a:spLocks noGrp="1"/>
          </p:cNvSpPr>
          <p:nvPr>
            <p:ph type="sldNum" sz="quarter" idx="11"/>
          </p:nvPr>
        </p:nvSpPr>
        <p:spPr/>
        <p:txBody>
          <a:bodyPr/>
          <a:lstStyle/>
          <a:p>
            <a:fld id="{17CD396C-6A52-4D5A-BAE3-92A1CC3BBDE0}" type="slidenum">
              <a:rPr lang="en-GB" noProof="0" smtClean="0"/>
              <a:pPr/>
              <a:t>‹nr.›</a:t>
            </a:fld>
            <a:endParaRPr lang="en-GB" noProof="0"/>
          </a:p>
        </p:txBody>
      </p:sp>
      <p:sp>
        <p:nvSpPr>
          <p:cNvPr id="11" name="Footer">
            <a:extLst>
              <a:ext uri="{FF2B5EF4-FFF2-40B4-BE49-F238E27FC236}">
                <a16:creationId xmlns:a16="http://schemas.microsoft.com/office/drawing/2014/main" id="{6877E28E-D1BC-1C4D-A177-A9E75F247F1D}"/>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1869823666"/>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 Text and Image three column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D931186-BCA0-2E4E-BC37-573200ED625E}"/>
              </a:ext>
            </a:extLst>
          </p:cNvPr>
          <p:cNvSpPr/>
          <p:nvPr userDrawn="1"/>
        </p:nvSpPr>
        <p:spPr>
          <a:xfrm>
            <a:off x="5940425" y="158750"/>
            <a:ext cx="144462" cy="4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Image">
            <a:extLst>
              <a:ext uri="{FF2B5EF4-FFF2-40B4-BE49-F238E27FC236}">
                <a16:creationId xmlns:a16="http://schemas.microsoft.com/office/drawing/2014/main" id="{F782635C-88D6-3E42-BB72-11F54CF9C37E}"/>
              </a:ext>
            </a:extLst>
          </p:cNvPr>
          <p:cNvSpPr>
            <a:spLocks noGrp="1"/>
          </p:cNvSpPr>
          <p:nvPr>
            <p:ph type="pic" sz="quarter" idx="16" hasCustomPrompt="1"/>
          </p:nvPr>
        </p:nvSpPr>
        <p:spPr>
          <a:xfrm>
            <a:off x="6084887" y="158750"/>
            <a:ext cx="2879725" cy="4681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2" name="Title">
            <a:extLst>
              <a:ext uri="{FF2B5EF4-FFF2-40B4-BE49-F238E27FC236}">
                <a16:creationId xmlns:a16="http://schemas.microsoft.com/office/drawing/2014/main" id="{38A7CF33-452A-714F-A2F4-CE6178190432}"/>
              </a:ext>
            </a:extLst>
          </p:cNvPr>
          <p:cNvSpPr>
            <a:spLocks noGrp="1"/>
          </p:cNvSpPr>
          <p:nvPr>
            <p:ph type="title" hasCustomPrompt="1"/>
          </p:nvPr>
        </p:nvSpPr>
        <p:spPr>
          <a:xfrm>
            <a:off x="323849" y="545325"/>
            <a:ext cx="5616575" cy="802463"/>
          </a:xfrm>
        </p:spPr>
        <p:txBody>
          <a:bodyPr rIns="216000"/>
          <a:lstStyle>
            <a:lvl1pPr>
              <a:defRPr spc="-30" baseline="0"/>
            </a:lvl1pPr>
          </a:lstStyle>
          <a:p>
            <a:r>
              <a:rPr lang="en-GB" noProof="0"/>
              <a:t>Click to add a headline of maximum two lines</a:t>
            </a:r>
            <a:br>
              <a:rPr lang="en-GB" noProof="0"/>
            </a:br>
            <a:endParaRPr lang="en-GB" noProof="0"/>
          </a:p>
        </p:txBody>
      </p:sp>
      <p:sp>
        <p:nvSpPr>
          <p:cNvPr id="9" name="Navigation">
            <a:extLst>
              <a:ext uri="{FF2B5EF4-FFF2-40B4-BE49-F238E27FC236}">
                <a16:creationId xmlns:a16="http://schemas.microsoft.com/office/drawing/2014/main" id="{03424855-B277-8744-9C85-9975925B8200}"/>
              </a:ext>
            </a:extLst>
          </p:cNvPr>
          <p:cNvSpPr>
            <a:spLocks noGrp="1"/>
          </p:cNvSpPr>
          <p:nvPr>
            <p:ph type="body" sz="quarter" idx="14" hasCustomPrompt="1"/>
          </p:nvPr>
        </p:nvSpPr>
        <p:spPr>
          <a:xfrm>
            <a:off x="323848" y="276226"/>
            <a:ext cx="5616575" cy="276999"/>
          </a:xfrm>
        </p:spPr>
        <p:txBody>
          <a:bodyPr lIns="111600" rIns="216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a:t>
            </a:r>
            <a:r>
              <a:rPr lang="en-GB" noProof="0" err="1"/>
              <a:t>subheader</a:t>
            </a:r>
            <a:endParaRPr lang="en-GB" noProof="0"/>
          </a:p>
        </p:txBody>
      </p:sp>
      <p:sp>
        <p:nvSpPr>
          <p:cNvPr id="14" name="Text 1">
            <a:extLst>
              <a:ext uri="{FF2B5EF4-FFF2-40B4-BE49-F238E27FC236}">
                <a16:creationId xmlns:a16="http://schemas.microsoft.com/office/drawing/2014/main" id="{F6397471-EE5D-4845-BB05-47F7C699E3B2}"/>
              </a:ext>
            </a:extLst>
          </p:cNvPr>
          <p:cNvSpPr>
            <a:spLocks noGrp="1"/>
          </p:cNvSpPr>
          <p:nvPr>
            <p:ph type="body" sz="quarter" idx="20" hasCustomPrompt="1"/>
          </p:nvPr>
        </p:nvSpPr>
        <p:spPr>
          <a:xfrm>
            <a:off x="323850" y="1445500"/>
            <a:ext cx="2736850" cy="3250325"/>
          </a:xfrm>
        </p:spPr>
        <p:txBody>
          <a:bodyPr rIns="216000"/>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Text 2">
            <a:extLst>
              <a:ext uri="{FF2B5EF4-FFF2-40B4-BE49-F238E27FC236}">
                <a16:creationId xmlns:a16="http://schemas.microsoft.com/office/drawing/2014/main" id="{C54E6412-F416-B54F-8039-31E518204B4E}"/>
              </a:ext>
            </a:extLst>
          </p:cNvPr>
          <p:cNvSpPr>
            <a:spLocks noGrp="1"/>
          </p:cNvSpPr>
          <p:nvPr>
            <p:ph type="body" sz="quarter" idx="21" hasCustomPrompt="1"/>
          </p:nvPr>
        </p:nvSpPr>
        <p:spPr>
          <a:xfrm>
            <a:off x="3203575" y="1445500"/>
            <a:ext cx="2736850" cy="3250325"/>
          </a:xfrm>
        </p:spPr>
        <p:txBody>
          <a:bodyPr rIns="216000"/>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 name="Date">
            <a:extLst>
              <a:ext uri="{FF2B5EF4-FFF2-40B4-BE49-F238E27FC236}">
                <a16:creationId xmlns:a16="http://schemas.microsoft.com/office/drawing/2014/main" id="{C57FF860-80C4-F544-9349-277B28F447FB}"/>
              </a:ext>
            </a:extLst>
          </p:cNvPr>
          <p:cNvSpPr>
            <a:spLocks noGrp="1"/>
          </p:cNvSpPr>
          <p:nvPr>
            <p:ph type="dt" sz="half" idx="10"/>
          </p:nvPr>
        </p:nvSpPr>
        <p:spPr/>
        <p:txBody>
          <a:bodyPr/>
          <a:lstStyle/>
          <a:p>
            <a:fld id="{1C279229-8C89-4E17-AE52-BD6DCA5CA660}" type="datetime1">
              <a:rPr lang="sv-SE" noProof="0" smtClean="0"/>
              <a:t>2025-09-04</a:t>
            </a:fld>
            <a:endParaRPr lang="en-GB" noProof="0"/>
          </a:p>
        </p:txBody>
      </p:sp>
      <p:sp>
        <p:nvSpPr>
          <p:cNvPr id="4" name="Number">
            <a:extLst>
              <a:ext uri="{FF2B5EF4-FFF2-40B4-BE49-F238E27FC236}">
                <a16:creationId xmlns:a16="http://schemas.microsoft.com/office/drawing/2014/main" id="{61938E86-6CF5-9C42-AB2F-96E9B547A11F}"/>
              </a:ext>
            </a:extLst>
          </p:cNvPr>
          <p:cNvSpPr>
            <a:spLocks noGrp="1"/>
          </p:cNvSpPr>
          <p:nvPr>
            <p:ph type="sldNum" sz="quarter" idx="11"/>
          </p:nvPr>
        </p:nvSpPr>
        <p:spPr/>
        <p:txBody>
          <a:bodyPr/>
          <a:lstStyle/>
          <a:p>
            <a:fld id="{17CD396C-6A52-4D5A-BAE3-92A1CC3BBDE0}" type="slidenum">
              <a:rPr lang="en-GB" noProof="0" smtClean="0"/>
              <a:pPr/>
              <a:t>‹nr.›</a:t>
            </a:fld>
            <a:endParaRPr lang="en-GB" noProof="0"/>
          </a:p>
        </p:txBody>
      </p:sp>
      <p:sp>
        <p:nvSpPr>
          <p:cNvPr id="12" name="Footer">
            <a:extLst>
              <a:ext uri="{FF2B5EF4-FFF2-40B4-BE49-F238E27FC236}">
                <a16:creationId xmlns:a16="http://schemas.microsoft.com/office/drawing/2014/main" id="{069A7DAD-056B-3C43-ADEE-4DC11BE3247D}"/>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218861034"/>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 Text and Chart">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BFC9456A-AC97-4548-90B9-837374C5AA8F}"/>
              </a:ext>
            </a:extLst>
          </p:cNvPr>
          <p:cNvSpPr/>
          <p:nvPr userDrawn="1"/>
        </p:nvSpPr>
        <p:spPr>
          <a:xfrm>
            <a:off x="179388" y="158750"/>
            <a:ext cx="8785225" cy="46815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 name="Title">
            <a:extLst>
              <a:ext uri="{FF2B5EF4-FFF2-40B4-BE49-F238E27FC236}">
                <a16:creationId xmlns:a16="http://schemas.microsoft.com/office/drawing/2014/main" id="{38A7CF33-452A-714F-A2F4-CE6178190432}"/>
              </a:ext>
            </a:extLst>
          </p:cNvPr>
          <p:cNvSpPr>
            <a:spLocks noGrp="1"/>
          </p:cNvSpPr>
          <p:nvPr>
            <p:ph type="title" hasCustomPrompt="1"/>
          </p:nvPr>
        </p:nvSpPr>
        <p:spPr>
          <a:xfrm>
            <a:off x="323849" y="545325"/>
            <a:ext cx="8496301" cy="802463"/>
          </a:xfrm>
        </p:spPr>
        <p:txBody>
          <a:bodyPr rIns="216000"/>
          <a:lstStyle>
            <a:lvl1pPr>
              <a:defRPr spc="-30" baseline="0"/>
            </a:lvl1pPr>
          </a:lstStyle>
          <a:p>
            <a:r>
              <a:rPr lang="en-GB" noProof="0"/>
              <a:t>Click to add a headline of maximum two lines</a:t>
            </a:r>
            <a:br>
              <a:rPr lang="en-GB" noProof="0"/>
            </a:br>
            <a:endParaRPr lang="en-GB" noProof="0"/>
          </a:p>
        </p:txBody>
      </p:sp>
      <p:sp>
        <p:nvSpPr>
          <p:cNvPr id="9" name="Navigation">
            <a:extLst>
              <a:ext uri="{FF2B5EF4-FFF2-40B4-BE49-F238E27FC236}">
                <a16:creationId xmlns:a16="http://schemas.microsoft.com/office/drawing/2014/main" id="{03424855-B277-8744-9C85-9975925B8200}"/>
              </a:ext>
            </a:extLst>
          </p:cNvPr>
          <p:cNvSpPr>
            <a:spLocks noGrp="1"/>
          </p:cNvSpPr>
          <p:nvPr>
            <p:ph type="body" sz="quarter" idx="14" hasCustomPrompt="1"/>
          </p:nvPr>
        </p:nvSpPr>
        <p:spPr>
          <a:xfrm>
            <a:off x="323848" y="276226"/>
            <a:ext cx="5616575" cy="276999"/>
          </a:xfrm>
        </p:spPr>
        <p:txBody>
          <a:bodyPr lIns="111600" rIns="216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a:t>
            </a:r>
            <a:r>
              <a:rPr lang="en-GB" noProof="0" err="1"/>
              <a:t>subheader</a:t>
            </a:r>
            <a:endParaRPr lang="en-GB" noProof="0"/>
          </a:p>
        </p:txBody>
      </p:sp>
      <p:sp>
        <p:nvSpPr>
          <p:cNvPr id="14" name="Text 1">
            <a:extLst>
              <a:ext uri="{FF2B5EF4-FFF2-40B4-BE49-F238E27FC236}">
                <a16:creationId xmlns:a16="http://schemas.microsoft.com/office/drawing/2014/main" id="{F6397471-EE5D-4845-BB05-47F7C699E3B2}"/>
              </a:ext>
            </a:extLst>
          </p:cNvPr>
          <p:cNvSpPr>
            <a:spLocks noGrp="1"/>
          </p:cNvSpPr>
          <p:nvPr>
            <p:ph type="body" sz="quarter" idx="20" hasCustomPrompt="1"/>
          </p:nvPr>
        </p:nvSpPr>
        <p:spPr>
          <a:xfrm>
            <a:off x="323850" y="1716712"/>
            <a:ext cx="2736850" cy="2979113"/>
          </a:xfrm>
        </p:spPr>
        <p:txBody>
          <a:bodyPr rIns="216000"/>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 name="Date">
            <a:extLst>
              <a:ext uri="{FF2B5EF4-FFF2-40B4-BE49-F238E27FC236}">
                <a16:creationId xmlns:a16="http://schemas.microsoft.com/office/drawing/2014/main" id="{C57FF860-80C4-F544-9349-277B28F447FB}"/>
              </a:ext>
            </a:extLst>
          </p:cNvPr>
          <p:cNvSpPr>
            <a:spLocks noGrp="1"/>
          </p:cNvSpPr>
          <p:nvPr>
            <p:ph type="dt" sz="half" idx="10"/>
          </p:nvPr>
        </p:nvSpPr>
        <p:spPr/>
        <p:txBody>
          <a:bodyPr/>
          <a:lstStyle/>
          <a:p>
            <a:fld id="{ABBFDCFC-CFE6-4E69-A918-26B1F98CA912}" type="datetime1">
              <a:rPr lang="sv-SE" noProof="0" smtClean="0"/>
              <a:t>2025-09-04</a:t>
            </a:fld>
            <a:endParaRPr lang="en-GB" noProof="0"/>
          </a:p>
        </p:txBody>
      </p:sp>
      <p:sp>
        <p:nvSpPr>
          <p:cNvPr id="4" name="Number">
            <a:extLst>
              <a:ext uri="{FF2B5EF4-FFF2-40B4-BE49-F238E27FC236}">
                <a16:creationId xmlns:a16="http://schemas.microsoft.com/office/drawing/2014/main" id="{61938E86-6CF5-9C42-AB2F-96E9B547A11F}"/>
              </a:ext>
            </a:extLst>
          </p:cNvPr>
          <p:cNvSpPr>
            <a:spLocks noGrp="1"/>
          </p:cNvSpPr>
          <p:nvPr>
            <p:ph type="sldNum" sz="quarter" idx="11"/>
          </p:nvPr>
        </p:nvSpPr>
        <p:spPr/>
        <p:txBody>
          <a:bodyPr/>
          <a:lstStyle/>
          <a:p>
            <a:fld id="{17CD396C-6A52-4D5A-BAE3-92A1CC3BBDE0}" type="slidenum">
              <a:rPr lang="en-GB" noProof="0" smtClean="0"/>
              <a:pPr/>
              <a:t>‹nr.›</a:t>
            </a:fld>
            <a:endParaRPr lang="en-GB" noProof="0"/>
          </a:p>
        </p:txBody>
      </p:sp>
      <p:sp>
        <p:nvSpPr>
          <p:cNvPr id="12" name="Footer">
            <a:extLst>
              <a:ext uri="{FF2B5EF4-FFF2-40B4-BE49-F238E27FC236}">
                <a16:creationId xmlns:a16="http://schemas.microsoft.com/office/drawing/2014/main" id="{069A7DAD-056B-3C43-ADEE-4DC11BE3247D}"/>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
        <p:nvSpPr>
          <p:cNvPr id="6" name="Subheader 1">
            <a:extLst>
              <a:ext uri="{FF2B5EF4-FFF2-40B4-BE49-F238E27FC236}">
                <a16:creationId xmlns:a16="http://schemas.microsoft.com/office/drawing/2014/main" id="{A6649F5A-5540-7659-8FC0-B90933FD2DD4}"/>
              </a:ext>
            </a:extLst>
          </p:cNvPr>
          <p:cNvSpPr>
            <a:spLocks noGrp="1"/>
          </p:cNvSpPr>
          <p:nvPr>
            <p:ph type="body" sz="quarter" idx="18" hasCustomPrompt="1"/>
          </p:nvPr>
        </p:nvSpPr>
        <p:spPr>
          <a:xfrm>
            <a:off x="323848" y="1360488"/>
            <a:ext cx="2735265" cy="307568"/>
          </a:xfrm>
        </p:spPr>
        <p:txBody>
          <a:bodyPr lIns="97200" rIns="216000"/>
          <a:lstStyle>
            <a:lvl1pPr marL="0" indent="0" algn="l">
              <a:lnSpc>
                <a:spcPct val="95000"/>
              </a:lnSpc>
              <a:spcBef>
                <a:spcPts val="0"/>
              </a:spcBef>
              <a:buNone/>
              <a:tabLst/>
              <a:defRPr sz="1200" b="1" spc="0" baseline="0"/>
            </a:lvl1pPr>
            <a:lvl2pPr marL="14288" indent="0" algn="ctr">
              <a:tabLst/>
              <a:defRPr/>
            </a:lvl2pPr>
            <a:lvl3pPr marL="14288" indent="0" algn="ctr">
              <a:tabLst/>
              <a:defRPr/>
            </a:lvl3pPr>
            <a:lvl4pPr marL="14288" indent="0" algn="ctr">
              <a:tabLst/>
              <a:defRPr/>
            </a:lvl4pPr>
            <a:lvl5pPr marL="14288" indent="0" algn="ctr">
              <a:tabLst/>
              <a:defRPr/>
            </a:lvl5pPr>
          </a:lstStyle>
          <a:p>
            <a:pPr lvl="0"/>
            <a:r>
              <a:rPr lang="en-GB" noProof="0"/>
              <a:t>Click to add </a:t>
            </a:r>
            <a:r>
              <a:rPr lang="en-GB" noProof="0" err="1"/>
              <a:t>subheader</a:t>
            </a:r>
            <a:endParaRPr lang="en-GB" noProof="0"/>
          </a:p>
        </p:txBody>
      </p:sp>
      <p:sp>
        <p:nvSpPr>
          <p:cNvPr id="8" name="Chart 1">
            <a:extLst>
              <a:ext uri="{FF2B5EF4-FFF2-40B4-BE49-F238E27FC236}">
                <a16:creationId xmlns:a16="http://schemas.microsoft.com/office/drawing/2014/main" id="{0CB36BDD-BE37-BD36-288A-CC14BE58B0A5}"/>
              </a:ext>
            </a:extLst>
          </p:cNvPr>
          <p:cNvSpPr>
            <a:spLocks noGrp="1"/>
          </p:cNvSpPr>
          <p:nvPr>
            <p:ph type="chart" sz="quarter" idx="15" hasCustomPrompt="1"/>
          </p:nvPr>
        </p:nvSpPr>
        <p:spPr>
          <a:xfrm>
            <a:off x="3205163" y="1716712"/>
            <a:ext cx="5614988" cy="2881463"/>
          </a:xfrm>
        </p:spPr>
        <p:txBody>
          <a:bodyPr/>
          <a:lstStyle>
            <a:lvl1pPr algn="ctr">
              <a:buNone/>
              <a:defRPr sz="800"/>
            </a:lvl1pPr>
          </a:lstStyle>
          <a:p>
            <a:r>
              <a:rPr lang="en-GB" noProof="0"/>
              <a:t>Click on the icon to add chart</a:t>
            </a:r>
          </a:p>
        </p:txBody>
      </p:sp>
      <p:sp>
        <p:nvSpPr>
          <p:cNvPr id="11" name="Notes">
            <a:extLst>
              <a:ext uri="{FF2B5EF4-FFF2-40B4-BE49-F238E27FC236}">
                <a16:creationId xmlns:a16="http://schemas.microsoft.com/office/drawing/2014/main" id="{5D364A9C-C0B9-55B8-8F25-1A9B487CE31D}"/>
              </a:ext>
            </a:extLst>
          </p:cNvPr>
          <p:cNvSpPr>
            <a:spLocks noGrp="1"/>
          </p:cNvSpPr>
          <p:nvPr>
            <p:ph type="body" sz="quarter" idx="19" hasCustomPrompt="1"/>
          </p:nvPr>
        </p:nvSpPr>
        <p:spPr>
          <a:xfrm>
            <a:off x="323850" y="4695825"/>
            <a:ext cx="4176715" cy="144463"/>
          </a:xfrm>
        </p:spPr>
        <p:txBody>
          <a:bodyPr lIns="111600" tIns="0" rIns="216000" bIns="18000" anchor="b"/>
          <a:lstStyle>
            <a:lvl1pPr marL="0" indent="0">
              <a:spcBef>
                <a:spcPts val="0"/>
              </a:spcBef>
              <a:buNone/>
              <a:tabLst/>
              <a:defRPr sz="600"/>
            </a:lvl1pPr>
            <a:lvl2pPr>
              <a:buNone/>
              <a:defRPr sz="800"/>
            </a:lvl2pPr>
            <a:lvl3pPr>
              <a:buNone/>
              <a:defRPr sz="800"/>
            </a:lvl3pPr>
            <a:lvl4pPr>
              <a:buNone/>
              <a:defRPr sz="800"/>
            </a:lvl4pPr>
            <a:lvl5pPr>
              <a:buNone/>
              <a:defRPr sz="800"/>
            </a:lvl5pPr>
          </a:lstStyle>
          <a:p>
            <a:pPr lvl="0"/>
            <a:r>
              <a:rPr lang="en-GB" noProof="0"/>
              <a:t>*Click to add footnotes</a:t>
            </a:r>
          </a:p>
        </p:txBody>
      </p:sp>
      <p:sp>
        <p:nvSpPr>
          <p:cNvPr id="13" name="Subheader 1">
            <a:extLst>
              <a:ext uri="{FF2B5EF4-FFF2-40B4-BE49-F238E27FC236}">
                <a16:creationId xmlns:a16="http://schemas.microsoft.com/office/drawing/2014/main" id="{31B12DFD-0F14-6863-7D33-DC8C4A7FA164}"/>
              </a:ext>
            </a:extLst>
          </p:cNvPr>
          <p:cNvSpPr>
            <a:spLocks noGrp="1"/>
          </p:cNvSpPr>
          <p:nvPr>
            <p:ph type="body" sz="quarter" idx="21" hasCustomPrompt="1"/>
          </p:nvPr>
        </p:nvSpPr>
        <p:spPr>
          <a:xfrm>
            <a:off x="3205160" y="1360488"/>
            <a:ext cx="5614990" cy="307568"/>
          </a:xfrm>
        </p:spPr>
        <p:txBody>
          <a:bodyPr lIns="97200" rIns="216000"/>
          <a:lstStyle>
            <a:lvl1pPr marL="0" indent="0" algn="l">
              <a:lnSpc>
                <a:spcPct val="95000"/>
              </a:lnSpc>
              <a:spcBef>
                <a:spcPts val="0"/>
              </a:spcBef>
              <a:buNone/>
              <a:tabLst/>
              <a:defRPr sz="1200" b="1" spc="0" baseline="0"/>
            </a:lvl1pPr>
            <a:lvl2pPr marL="14288" indent="0" algn="ctr">
              <a:tabLst/>
              <a:defRPr/>
            </a:lvl2pPr>
            <a:lvl3pPr marL="14288" indent="0" algn="ctr">
              <a:tabLst/>
              <a:defRPr/>
            </a:lvl3pPr>
            <a:lvl4pPr marL="14288" indent="0" algn="ctr">
              <a:tabLst/>
              <a:defRPr/>
            </a:lvl4pPr>
            <a:lvl5pPr marL="14288" indent="0" algn="ctr">
              <a:tabLst/>
              <a:defRPr/>
            </a:lvl5pPr>
          </a:lstStyle>
          <a:p>
            <a:pPr lvl="0"/>
            <a:r>
              <a:rPr lang="en-GB" noProof="0"/>
              <a:t>Click to add </a:t>
            </a:r>
            <a:r>
              <a:rPr lang="en-GB" noProof="0" err="1"/>
              <a:t>subheader</a:t>
            </a:r>
            <a:endParaRPr lang="en-GB" noProof="0"/>
          </a:p>
        </p:txBody>
      </p:sp>
    </p:spTree>
    <p:extLst>
      <p:ext uri="{BB962C8B-B14F-4D97-AF65-F5344CB8AC3E}">
        <p14:creationId xmlns:p14="http://schemas.microsoft.com/office/powerpoint/2010/main" val="3579271712"/>
      </p:ext>
    </p:extLst>
  </p:cSld>
  <p:clrMapOvr>
    <a:masterClrMapping/>
  </p:clrMapOvr>
  <p:extLst>
    <p:ext uri="{DCECCB84-F9BA-43D5-87BE-67443E8EF086}">
      <p15:sldGuideLst xmlns:p15="http://schemas.microsoft.com/office/powerpoint/2012/main">
        <p15:guide id="1" orient="horz" pos="971"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 Text and Tabl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BFC9456A-AC97-4548-90B9-837374C5AA8F}"/>
              </a:ext>
            </a:extLst>
          </p:cNvPr>
          <p:cNvSpPr/>
          <p:nvPr userDrawn="1"/>
        </p:nvSpPr>
        <p:spPr>
          <a:xfrm>
            <a:off x="179388" y="158750"/>
            <a:ext cx="8785225" cy="46815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 name="Title">
            <a:extLst>
              <a:ext uri="{FF2B5EF4-FFF2-40B4-BE49-F238E27FC236}">
                <a16:creationId xmlns:a16="http://schemas.microsoft.com/office/drawing/2014/main" id="{38A7CF33-452A-714F-A2F4-CE6178190432}"/>
              </a:ext>
            </a:extLst>
          </p:cNvPr>
          <p:cNvSpPr>
            <a:spLocks noGrp="1"/>
          </p:cNvSpPr>
          <p:nvPr>
            <p:ph type="title" hasCustomPrompt="1"/>
          </p:nvPr>
        </p:nvSpPr>
        <p:spPr>
          <a:xfrm>
            <a:off x="323849" y="545325"/>
            <a:ext cx="8496301" cy="802463"/>
          </a:xfrm>
        </p:spPr>
        <p:txBody>
          <a:bodyPr rIns="216000"/>
          <a:lstStyle>
            <a:lvl1pPr>
              <a:defRPr spc="-30" baseline="0"/>
            </a:lvl1pPr>
          </a:lstStyle>
          <a:p>
            <a:r>
              <a:rPr lang="en-GB" noProof="0"/>
              <a:t>Click to add a headline of maximum two lines</a:t>
            </a:r>
            <a:br>
              <a:rPr lang="en-GB" noProof="0"/>
            </a:br>
            <a:endParaRPr lang="en-GB" noProof="0"/>
          </a:p>
        </p:txBody>
      </p:sp>
      <p:sp>
        <p:nvSpPr>
          <p:cNvPr id="9" name="Navigation">
            <a:extLst>
              <a:ext uri="{FF2B5EF4-FFF2-40B4-BE49-F238E27FC236}">
                <a16:creationId xmlns:a16="http://schemas.microsoft.com/office/drawing/2014/main" id="{03424855-B277-8744-9C85-9975925B8200}"/>
              </a:ext>
            </a:extLst>
          </p:cNvPr>
          <p:cNvSpPr>
            <a:spLocks noGrp="1"/>
          </p:cNvSpPr>
          <p:nvPr>
            <p:ph type="body" sz="quarter" idx="14" hasCustomPrompt="1"/>
          </p:nvPr>
        </p:nvSpPr>
        <p:spPr>
          <a:xfrm>
            <a:off x="323848" y="276226"/>
            <a:ext cx="5616575" cy="276999"/>
          </a:xfrm>
        </p:spPr>
        <p:txBody>
          <a:bodyPr lIns="111600" rIns="216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a:t>
            </a:r>
            <a:r>
              <a:rPr lang="en-GB" noProof="0" err="1"/>
              <a:t>subheader</a:t>
            </a:r>
            <a:endParaRPr lang="en-GB" noProof="0"/>
          </a:p>
        </p:txBody>
      </p:sp>
      <p:sp>
        <p:nvSpPr>
          <p:cNvPr id="14" name="Text 1">
            <a:extLst>
              <a:ext uri="{FF2B5EF4-FFF2-40B4-BE49-F238E27FC236}">
                <a16:creationId xmlns:a16="http://schemas.microsoft.com/office/drawing/2014/main" id="{F6397471-EE5D-4845-BB05-47F7C699E3B2}"/>
              </a:ext>
            </a:extLst>
          </p:cNvPr>
          <p:cNvSpPr>
            <a:spLocks noGrp="1"/>
          </p:cNvSpPr>
          <p:nvPr>
            <p:ph type="body" sz="quarter" idx="20" hasCustomPrompt="1"/>
          </p:nvPr>
        </p:nvSpPr>
        <p:spPr>
          <a:xfrm>
            <a:off x="323850" y="1716712"/>
            <a:ext cx="2736850" cy="2979113"/>
          </a:xfrm>
        </p:spPr>
        <p:txBody>
          <a:bodyPr rIns="216000"/>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 name="Date">
            <a:extLst>
              <a:ext uri="{FF2B5EF4-FFF2-40B4-BE49-F238E27FC236}">
                <a16:creationId xmlns:a16="http://schemas.microsoft.com/office/drawing/2014/main" id="{C57FF860-80C4-F544-9349-277B28F447FB}"/>
              </a:ext>
            </a:extLst>
          </p:cNvPr>
          <p:cNvSpPr>
            <a:spLocks noGrp="1"/>
          </p:cNvSpPr>
          <p:nvPr>
            <p:ph type="dt" sz="half" idx="10"/>
          </p:nvPr>
        </p:nvSpPr>
        <p:spPr/>
        <p:txBody>
          <a:bodyPr/>
          <a:lstStyle/>
          <a:p>
            <a:fld id="{ECC78A04-17E0-4DAA-BA48-A3A158EEE51B}" type="datetime1">
              <a:rPr lang="sv-SE" noProof="0" smtClean="0"/>
              <a:t>2025-09-04</a:t>
            </a:fld>
            <a:endParaRPr lang="en-GB" noProof="0"/>
          </a:p>
        </p:txBody>
      </p:sp>
      <p:sp>
        <p:nvSpPr>
          <p:cNvPr id="4" name="Number">
            <a:extLst>
              <a:ext uri="{FF2B5EF4-FFF2-40B4-BE49-F238E27FC236}">
                <a16:creationId xmlns:a16="http://schemas.microsoft.com/office/drawing/2014/main" id="{61938E86-6CF5-9C42-AB2F-96E9B547A11F}"/>
              </a:ext>
            </a:extLst>
          </p:cNvPr>
          <p:cNvSpPr>
            <a:spLocks noGrp="1"/>
          </p:cNvSpPr>
          <p:nvPr>
            <p:ph type="sldNum" sz="quarter" idx="11"/>
          </p:nvPr>
        </p:nvSpPr>
        <p:spPr/>
        <p:txBody>
          <a:bodyPr/>
          <a:lstStyle/>
          <a:p>
            <a:fld id="{17CD396C-6A52-4D5A-BAE3-92A1CC3BBDE0}" type="slidenum">
              <a:rPr lang="en-GB" noProof="0" smtClean="0"/>
              <a:pPr/>
              <a:t>‹nr.›</a:t>
            </a:fld>
            <a:endParaRPr lang="en-GB" noProof="0"/>
          </a:p>
        </p:txBody>
      </p:sp>
      <p:sp>
        <p:nvSpPr>
          <p:cNvPr id="12" name="Footer">
            <a:extLst>
              <a:ext uri="{FF2B5EF4-FFF2-40B4-BE49-F238E27FC236}">
                <a16:creationId xmlns:a16="http://schemas.microsoft.com/office/drawing/2014/main" id="{069A7DAD-056B-3C43-ADEE-4DC11BE3247D}"/>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
        <p:nvSpPr>
          <p:cNvPr id="6" name="Subheader 1">
            <a:extLst>
              <a:ext uri="{FF2B5EF4-FFF2-40B4-BE49-F238E27FC236}">
                <a16:creationId xmlns:a16="http://schemas.microsoft.com/office/drawing/2014/main" id="{A6649F5A-5540-7659-8FC0-B90933FD2DD4}"/>
              </a:ext>
            </a:extLst>
          </p:cNvPr>
          <p:cNvSpPr>
            <a:spLocks noGrp="1"/>
          </p:cNvSpPr>
          <p:nvPr>
            <p:ph type="body" sz="quarter" idx="18" hasCustomPrompt="1"/>
          </p:nvPr>
        </p:nvSpPr>
        <p:spPr>
          <a:xfrm>
            <a:off x="323850" y="1360488"/>
            <a:ext cx="2735263" cy="307568"/>
          </a:xfrm>
        </p:spPr>
        <p:txBody>
          <a:bodyPr lIns="97200" rIns="216000"/>
          <a:lstStyle>
            <a:lvl1pPr marL="0" indent="0" algn="l">
              <a:lnSpc>
                <a:spcPct val="95000"/>
              </a:lnSpc>
              <a:spcBef>
                <a:spcPts val="0"/>
              </a:spcBef>
              <a:buNone/>
              <a:tabLst/>
              <a:defRPr sz="1200" b="1" spc="0" baseline="0"/>
            </a:lvl1pPr>
            <a:lvl2pPr marL="14288" indent="0" algn="ctr">
              <a:tabLst/>
              <a:defRPr/>
            </a:lvl2pPr>
            <a:lvl3pPr marL="14288" indent="0" algn="ctr">
              <a:tabLst/>
              <a:defRPr/>
            </a:lvl3pPr>
            <a:lvl4pPr marL="14288" indent="0" algn="ctr">
              <a:tabLst/>
              <a:defRPr/>
            </a:lvl4pPr>
            <a:lvl5pPr marL="14288" indent="0" algn="ctr">
              <a:tabLst/>
              <a:defRPr/>
            </a:lvl5pPr>
          </a:lstStyle>
          <a:p>
            <a:pPr lvl="0"/>
            <a:r>
              <a:rPr lang="en-GB" noProof="0"/>
              <a:t>Click to add </a:t>
            </a:r>
            <a:r>
              <a:rPr lang="en-GB" noProof="0" err="1"/>
              <a:t>subheader</a:t>
            </a:r>
            <a:endParaRPr lang="en-GB" noProof="0"/>
          </a:p>
        </p:txBody>
      </p:sp>
      <p:sp>
        <p:nvSpPr>
          <p:cNvPr id="11" name="Notes">
            <a:extLst>
              <a:ext uri="{FF2B5EF4-FFF2-40B4-BE49-F238E27FC236}">
                <a16:creationId xmlns:a16="http://schemas.microsoft.com/office/drawing/2014/main" id="{5D364A9C-C0B9-55B8-8F25-1A9B487CE31D}"/>
              </a:ext>
            </a:extLst>
          </p:cNvPr>
          <p:cNvSpPr>
            <a:spLocks noGrp="1"/>
          </p:cNvSpPr>
          <p:nvPr>
            <p:ph type="body" sz="quarter" idx="19" hasCustomPrompt="1"/>
          </p:nvPr>
        </p:nvSpPr>
        <p:spPr>
          <a:xfrm>
            <a:off x="323850" y="4695825"/>
            <a:ext cx="4176715" cy="144463"/>
          </a:xfrm>
        </p:spPr>
        <p:txBody>
          <a:bodyPr lIns="111600" tIns="0" rIns="216000" bIns="18000" anchor="b"/>
          <a:lstStyle>
            <a:lvl1pPr marL="0" indent="0">
              <a:spcBef>
                <a:spcPts val="0"/>
              </a:spcBef>
              <a:buNone/>
              <a:tabLst/>
              <a:defRPr sz="600"/>
            </a:lvl1pPr>
            <a:lvl2pPr>
              <a:buNone/>
              <a:defRPr sz="800"/>
            </a:lvl2pPr>
            <a:lvl3pPr>
              <a:buNone/>
              <a:defRPr sz="800"/>
            </a:lvl3pPr>
            <a:lvl4pPr>
              <a:buNone/>
              <a:defRPr sz="800"/>
            </a:lvl4pPr>
            <a:lvl5pPr>
              <a:buNone/>
              <a:defRPr sz="800"/>
            </a:lvl5pPr>
          </a:lstStyle>
          <a:p>
            <a:pPr lvl="0"/>
            <a:r>
              <a:rPr lang="en-GB" noProof="0"/>
              <a:t>*Click to add footnotes</a:t>
            </a:r>
          </a:p>
        </p:txBody>
      </p:sp>
      <p:sp>
        <p:nvSpPr>
          <p:cNvPr id="5" name="Table">
            <a:extLst>
              <a:ext uri="{FF2B5EF4-FFF2-40B4-BE49-F238E27FC236}">
                <a16:creationId xmlns:a16="http://schemas.microsoft.com/office/drawing/2014/main" id="{21911EA2-34F7-7EE8-7BE3-AD2F045043C2}"/>
              </a:ext>
            </a:extLst>
          </p:cNvPr>
          <p:cNvSpPr>
            <a:spLocks noGrp="1"/>
          </p:cNvSpPr>
          <p:nvPr>
            <p:ph type="tbl" sz="quarter" idx="23" hasCustomPrompt="1"/>
          </p:nvPr>
        </p:nvSpPr>
        <p:spPr>
          <a:xfrm>
            <a:off x="3205162" y="1718175"/>
            <a:ext cx="5614988" cy="2808499"/>
          </a:xfrm>
        </p:spPr>
        <p:txBody>
          <a:bodyPr/>
          <a:lstStyle>
            <a:lvl1pPr marL="14288" indent="-14288" algn="ctr">
              <a:buNone/>
              <a:tabLst/>
              <a:defRPr sz="800"/>
            </a:lvl1pPr>
          </a:lstStyle>
          <a:p>
            <a:r>
              <a:rPr lang="en-GB" sz="800" noProof="0"/>
              <a:t>Click on the icon to add table</a:t>
            </a:r>
            <a:endParaRPr lang="en-GB" noProof="0"/>
          </a:p>
        </p:txBody>
      </p:sp>
      <p:sp>
        <p:nvSpPr>
          <p:cNvPr id="10" name="Subheader 1">
            <a:extLst>
              <a:ext uri="{FF2B5EF4-FFF2-40B4-BE49-F238E27FC236}">
                <a16:creationId xmlns:a16="http://schemas.microsoft.com/office/drawing/2014/main" id="{4F0516F7-155B-D7A0-E29F-3B7099C46A25}"/>
              </a:ext>
            </a:extLst>
          </p:cNvPr>
          <p:cNvSpPr>
            <a:spLocks noGrp="1"/>
          </p:cNvSpPr>
          <p:nvPr>
            <p:ph type="body" sz="quarter" idx="24" hasCustomPrompt="1"/>
          </p:nvPr>
        </p:nvSpPr>
        <p:spPr>
          <a:xfrm>
            <a:off x="3205162" y="1360488"/>
            <a:ext cx="5614988" cy="307568"/>
          </a:xfrm>
        </p:spPr>
        <p:txBody>
          <a:bodyPr lIns="97200" rIns="216000"/>
          <a:lstStyle>
            <a:lvl1pPr marL="0" indent="0" algn="l">
              <a:lnSpc>
                <a:spcPct val="95000"/>
              </a:lnSpc>
              <a:spcBef>
                <a:spcPts val="0"/>
              </a:spcBef>
              <a:buNone/>
              <a:tabLst/>
              <a:defRPr sz="1200" b="1" spc="0" baseline="0"/>
            </a:lvl1pPr>
            <a:lvl2pPr marL="14288" indent="0" algn="ctr">
              <a:tabLst/>
              <a:defRPr/>
            </a:lvl2pPr>
            <a:lvl3pPr marL="14288" indent="0" algn="ctr">
              <a:tabLst/>
              <a:defRPr/>
            </a:lvl3pPr>
            <a:lvl4pPr marL="14288" indent="0" algn="ctr">
              <a:tabLst/>
              <a:defRPr/>
            </a:lvl4pPr>
            <a:lvl5pPr marL="14288" indent="0" algn="ctr">
              <a:tabLst/>
              <a:defRPr/>
            </a:lvl5pPr>
          </a:lstStyle>
          <a:p>
            <a:pPr lvl="0"/>
            <a:r>
              <a:rPr lang="en-GB" noProof="0"/>
              <a:t>Click to add </a:t>
            </a:r>
            <a:r>
              <a:rPr lang="en-GB" noProof="0" err="1"/>
              <a:t>subheader</a:t>
            </a:r>
            <a:endParaRPr lang="en-GB" noProof="0"/>
          </a:p>
        </p:txBody>
      </p:sp>
    </p:spTree>
    <p:extLst>
      <p:ext uri="{BB962C8B-B14F-4D97-AF65-F5344CB8AC3E}">
        <p14:creationId xmlns:p14="http://schemas.microsoft.com/office/powerpoint/2010/main" val="830235634"/>
      </p:ext>
    </p:extLst>
  </p:cSld>
  <p:clrMapOvr>
    <a:masterClrMapping/>
  </p:clrMapOvr>
  <p:extLst>
    <p:ext uri="{DCECCB84-F9BA-43D5-87BE-67443E8EF086}">
      <p15:sldGuideLst xmlns:p15="http://schemas.microsoft.com/office/powerpoint/2012/main">
        <p15:guide id="1" orient="horz" pos="97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 Table and Image">
    <p:bg>
      <p:bgPr>
        <a:solidFill>
          <a:schemeClr val="bg2"/>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80B993F-174C-C316-D678-59DF43C0D1AC}"/>
              </a:ext>
            </a:extLst>
          </p:cNvPr>
          <p:cNvSpPr/>
          <p:nvPr userDrawn="1"/>
        </p:nvSpPr>
        <p:spPr>
          <a:xfrm>
            <a:off x="4499769" y="158750"/>
            <a:ext cx="144462" cy="4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Image">
            <a:extLst>
              <a:ext uri="{FF2B5EF4-FFF2-40B4-BE49-F238E27FC236}">
                <a16:creationId xmlns:a16="http://schemas.microsoft.com/office/drawing/2014/main" id="{F782635C-88D6-3E42-BB72-11F54CF9C37E}"/>
              </a:ext>
            </a:extLst>
          </p:cNvPr>
          <p:cNvSpPr>
            <a:spLocks noGrp="1"/>
          </p:cNvSpPr>
          <p:nvPr>
            <p:ph type="pic" sz="quarter" idx="16" hasCustomPrompt="1"/>
          </p:nvPr>
        </p:nvSpPr>
        <p:spPr>
          <a:xfrm>
            <a:off x="4643439" y="158750"/>
            <a:ext cx="4321174" cy="4681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2" name="Title">
            <a:extLst>
              <a:ext uri="{FF2B5EF4-FFF2-40B4-BE49-F238E27FC236}">
                <a16:creationId xmlns:a16="http://schemas.microsoft.com/office/drawing/2014/main" id="{38A7CF33-452A-714F-A2F4-CE6178190432}"/>
              </a:ext>
            </a:extLst>
          </p:cNvPr>
          <p:cNvSpPr>
            <a:spLocks noGrp="1"/>
          </p:cNvSpPr>
          <p:nvPr>
            <p:ph type="title" hasCustomPrompt="1"/>
          </p:nvPr>
        </p:nvSpPr>
        <p:spPr>
          <a:xfrm>
            <a:off x="323851" y="545326"/>
            <a:ext cx="4176711" cy="737102"/>
          </a:xfrm>
        </p:spPr>
        <p:txBody>
          <a:bodyPr rIns="216000"/>
          <a:lstStyle>
            <a:lvl1pPr>
              <a:defRPr spc="-30" baseline="0"/>
            </a:lvl1pPr>
          </a:lstStyle>
          <a:p>
            <a:r>
              <a:rPr lang="en-GB" noProof="0"/>
              <a:t>Click to add a headline of maximum two lines</a:t>
            </a:r>
          </a:p>
        </p:txBody>
      </p:sp>
      <p:sp>
        <p:nvSpPr>
          <p:cNvPr id="9" name="Navigation">
            <a:extLst>
              <a:ext uri="{FF2B5EF4-FFF2-40B4-BE49-F238E27FC236}">
                <a16:creationId xmlns:a16="http://schemas.microsoft.com/office/drawing/2014/main" id="{03424855-B277-8744-9C85-9975925B8200}"/>
              </a:ext>
            </a:extLst>
          </p:cNvPr>
          <p:cNvSpPr>
            <a:spLocks noGrp="1"/>
          </p:cNvSpPr>
          <p:nvPr>
            <p:ph type="body" sz="quarter" idx="14" hasCustomPrompt="1"/>
          </p:nvPr>
        </p:nvSpPr>
        <p:spPr>
          <a:xfrm>
            <a:off x="323850" y="276226"/>
            <a:ext cx="4176711" cy="276999"/>
          </a:xfrm>
        </p:spPr>
        <p:txBody>
          <a:bodyPr lIns="111600" rIns="216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a:t>
            </a:r>
            <a:r>
              <a:rPr lang="en-GB" noProof="0" err="1"/>
              <a:t>subheader</a:t>
            </a:r>
            <a:endParaRPr lang="en-GB" noProof="0"/>
          </a:p>
        </p:txBody>
      </p:sp>
      <p:sp>
        <p:nvSpPr>
          <p:cNvPr id="23" name="Subheader">
            <a:extLst>
              <a:ext uri="{FF2B5EF4-FFF2-40B4-BE49-F238E27FC236}">
                <a16:creationId xmlns:a16="http://schemas.microsoft.com/office/drawing/2014/main" id="{50F743A5-5C51-9245-9EAE-DDCB7C8FD65E}"/>
              </a:ext>
            </a:extLst>
          </p:cNvPr>
          <p:cNvSpPr>
            <a:spLocks noGrp="1"/>
          </p:cNvSpPr>
          <p:nvPr>
            <p:ph type="body" sz="quarter" idx="18" hasCustomPrompt="1"/>
          </p:nvPr>
        </p:nvSpPr>
        <p:spPr>
          <a:xfrm>
            <a:off x="323850" y="1360488"/>
            <a:ext cx="4176710" cy="307568"/>
          </a:xfrm>
        </p:spPr>
        <p:txBody>
          <a:bodyPr lIns="97200" rIns="216000"/>
          <a:lstStyle>
            <a:lvl1pPr marL="0" indent="0" algn="l">
              <a:lnSpc>
                <a:spcPct val="95000"/>
              </a:lnSpc>
              <a:spcBef>
                <a:spcPts val="0"/>
              </a:spcBef>
              <a:buNone/>
              <a:tabLst/>
              <a:defRPr sz="1200" b="1" spc="0" baseline="0"/>
            </a:lvl1pPr>
            <a:lvl2pPr marL="14288" indent="0" algn="ctr">
              <a:tabLst/>
              <a:defRPr/>
            </a:lvl2pPr>
            <a:lvl3pPr marL="14288" indent="0" algn="ctr">
              <a:tabLst/>
              <a:defRPr/>
            </a:lvl3pPr>
            <a:lvl4pPr marL="14288" indent="0" algn="ctr">
              <a:tabLst/>
              <a:defRPr/>
            </a:lvl4pPr>
            <a:lvl5pPr marL="14288" indent="0" algn="ctr">
              <a:tabLst/>
              <a:defRPr/>
            </a:lvl5pPr>
          </a:lstStyle>
          <a:p>
            <a:pPr lvl="0"/>
            <a:r>
              <a:rPr lang="en-GB" noProof="0"/>
              <a:t>Click to add </a:t>
            </a:r>
            <a:r>
              <a:rPr lang="en-GB" noProof="0" err="1"/>
              <a:t>subheader</a:t>
            </a:r>
            <a:endParaRPr lang="en-GB" noProof="0"/>
          </a:p>
        </p:txBody>
      </p:sp>
      <p:sp>
        <p:nvSpPr>
          <p:cNvPr id="21" name="Table">
            <a:extLst>
              <a:ext uri="{FF2B5EF4-FFF2-40B4-BE49-F238E27FC236}">
                <a16:creationId xmlns:a16="http://schemas.microsoft.com/office/drawing/2014/main" id="{5303F358-E8FC-AF49-89C9-2DAF8C0EF0E6}"/>
              </a:ext>
            </a:extLst>
          </p:cNvPr>
          <p:cNvSpPr>
            <a:spLocks noGrp="1"/>
          </p:cNvSpPr>
          <p:nvPr>
            <p:ph type="tbl" sz="quarter" idx="23" hasCustomPrompt="1"/>
          </p:nvPr>
        </p:nvSpPr>
        <p:spPr>
          <a:xfrm>
            <a:off x="323851" y="1718175"/>
            <a:ext cx="4061112" cy="2808499"/>
          </a:xfrm>
        </p:spPr>
        <p:txBody>
          <a:bodyPr/>
          <a:lstStyle>
            <a:lvl1pPr marL="14288" indent="-14288" algn="ctr">
              <a:buNone/>
              <a:tabLst/>
              <a:defRPr sz="800"/>
            </a:lvl1pPr>
          </a:lstStyle>
          <a:p>
            <a:r>
              <a:rPr lang="en-GB" sz="800" noProof="0"/>
              <a:t>Click on the icon to add table</a:t>
            </a:r>
            <a:endParaRPr lang="en-GB" noProof="0"/>
          </a:p>
        </p:txBody>
      </p:sp>
      <p:sp>
        <p:nvSpPr>
          <p:cNvPr id="5" name="Notes">
            <a:extLst>
              <a:ext uri="{FF2B5EF4-FFF2-40B4-BE49-F238E27FC236}">
                <a16:creationId xmlns:a16="http://schemas.microsoft.com/office/drawing/2014/main" id="{4EDA2A09-70C4-0614-CA69-8BE463ED67E9}"/>
              </a:ext>
            </a:extLst>
          </p:cNvPr>
          <p:cNvSpPr>
            <a:spLocks noGrp="1"/>
          </p:cNvSpPr>
          <p:nvPr>
            <p:ph type="body" sz="quarter" idx="19" hasCustomPrompt="1"/>
          </p:nvPr>
        </p:nvSpPr>
        <p:spPr>
          <a:xfrm>
            <a:off x="323850" y="4695825"/>
            <a:ext cx="4176715" cy="144463"/>
          </a:xfrm>
        </p:spPr>
        <p:txBody>
          <a:bodyPr lIns="111600" tIns="0" rIns="216000" bIns="18000" anchor="b"/>
          <a:lstStyle>
            <a:lvl1pPr marL="0" indent="0">
              <a:spcBef>
                <a:spcPts val="0"/>
              </a:spcBef>
              <a:buNone/>
              <a:tabLst/>
              <a:defRPr sz="600"/>
            </a:lvl1pPr>
            <a:lvl2pPr>
              <a:buNone/>
              <a:defRPr sz="800"/>
            </a:lvl2pPr>
            <a:lvl3pPr>
              <a:buNone/>
              <a:defRPr sz="800"/>
            </a:lvl3pPr>
            <a:lvl4pPr>
              <a:buNone/>
              <a:defRPr sz="800"/>
            </a:lvl4pPr>
            <a:lvl5pPr>
              <a:buNone/>
              <a:defRPr sz="800"/>
            </a:lvl5pPr>
          </a:lstStyle>
          <a:p>
            <a:pPr lvl="0"/>
            <a:r>
              <a:rPr lang="en-GB" noProof="0"/>
              <a:t>*Click to add footnotes</a:t>
            </a:r>
          </a:p>
        </p:txBody>
      </p:sp>
      <p:sp>
        <p:nvSpPr>
          <p:cNvPr id="3" name="Date">
            <a:extLst>
              <a:ext uri="{FF2B5EF4-FFF2-40B4-BE49-F238E27FC236}">
                <a16:creationId xmlns:a16="http://schemas.microsoft.com/office/drawing/2014/main" id="{C57FF860-80C4-F544-9349-277B28F447FB}"/>
              </a:ext>
            </a:extLst>
          </p:cNvPr>
          <p:cNvSpPr>
            <a:spLocks noGrp="1"/>
          </p:cNvSpPr>
          <p:nvPr>
            <p:ph type="dt" sz="half" idx="10"/>
          </p:nvPr>
        </p:nvSpPr>
        <p:spPr/>
        <p:txBody>
          <a:bodyPr/>
          <a:lstStyle/>
          <a:p>
            <a:fld id="{238D4353-4F6B-4E24-B834-3E28633ABBD0}" type="datetime1">
              <a:rPr lang="sv-SE" noProof="0" smtClean="0"/>
              <a:t>2025-09-04</a:t>
            </a:fld>
            <a:endParaRPr lang="en-GB" noProof="0"/>
          </a:p>
        </p:txBody>
      </p:sp>
      <p:sp>
        <p:nvSpPr>
          <p:cNvPr id="4" name="Number">
            <a:extLst>
              <a:ext uri="{FF2B5EF4-FFF2-40B4-BE49-F238E27FC236}">
                <a16:creationId xmlns:a16="http://schemas.microsoft.com/office/drawing/2014/main" id="{61938E86-6CF5-9C42-AB2F-96E9B547A11F}"/>
              </a:ext>
            </a:extLst>
          </p:cNvPr>
          <p:cNvSpPr>
            <a:spLocks noGrp="1"/>
          </p:cNvSpPr>
          <p:nvPr>
            <p:ph type="sldNum" sz="quarter" idx="11"/>
          </p:nvPr>
        </p:nvSpPr>
        <p:spPr/>
        <p:txBody>
          <a:bodyPr/>
          <a:lstStyle/>
          <a:p>
            <a:fld id="{17CD396C-6A52-4D5A-BAE3-92A1CC3BBDE0}" type="slidenum">
              <a:rPr lang="en-GB" noProof="0" smtClean="0"/>
              <a:pPr/>
              <a:t>‹nr.›</a:t>
            </a:fld>
            <a:endParaRPr lang="en-GB" noProof="0"/>
          </a:p>
        </p:txBody>
      </p:sp>
      <p:sp>
        <p:nvSpPr>
          <p:cNvPr id="13" name="Footer">
            <a:extLst>
              <a:ext uri="{FF2B5EF4-FFF2-40B4-BE49-F238E27FC236}">
                <a16:creationId xmlns:a16="http://schemas.microsoft.com/office/drawing/2014/main" id="{4B96F3CE-6E2A-694C-81D4-04890DECF659}"/>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2965940726"/>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 Two Tables">
    <p:bg>
      <p:bgPr>
        <a:solidFill>
          <a:schemeClr val="bg2"/>
        </a:solidFill>
        <a:effectLst/>
      </p:bgPr>
    </p:bg>
    <p:spTree>
      <p:nvGrpSpPr>
        <p:cNvPr id="1" name=""/>
        <p:cNvGrpSpPr/>
        <p:nvPr/>
      </p:nvGrpSpPr>
      <p:grpSpPr>
        <a:xfrm>
          <a:off x="0" y="0"/>
          <a:ext cx="0" cy="0"/>
          <a:chOff x="0" y="0"/>
          <a:chExt cx="0" cy="0"/>
        </a:xfrm>
      </p:grpSpPr>
      <p:sp>
        <p:nvSpPr>
          <p:cNvPr id="8" name="Rectangle">
            <a:extLst>
              <a:ext uri="{FF2B5EF4-FFF2-40B4-BE49-F238E27FC236}">
                <a16:creationId xmlns:a16="http://schemas.microsoft.com/office/drawing/2014/main" id="{92B4C5D6-E0B0-CFCB-CABE-E27AFA65CD3F}"/>
              </a:ext>
            </a:extLst>
          </p:cNvPr>
          <p:cNvSpPr/>
          <p:nvPr userDrawn="1"/>
        </p:nvSpPr>
        <p:spPr>
          <a:xfrm>
            <a:off x="4499769" y="158750"/>
            <a:ext cx="144462" cy="4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a:extLst>
              <a:ext uri="{FF2B5EF4-FFF2-40B4-BE49-F238E27FC236}">
                <a16:creationId xmlns:a16="http://schemas.microsoft.com/office/drawing/2014/main" id="{38A7CF33-452A-714F-A2F4-CE6178190432}"/>
              </a:ext>
            </a:extLst>
          </p:cNvPr>
          <p:cNvSpPr>
            <a:spLocks noGrp="1"/>
          </p:cNvSpPr>
          <p:nvPr>
            <p:ph type="title" hasCustomPrompt="1"/>
          </p:nvPr>
        </p:nvSpPr>
        <p:spPr>
          <a:xfrm>
            <a:off x="323851" y="545326"/>
            <a:ext cx="4176712" cy="737102"/>
          </a:xfrm>
        </p:spPr>
        <p:txBody>
          <a:bodyPr rIns="216000"/>
          <a:lstStyle>
            <a:lvl1pPr>
              <a:defRPr spc="-30" baseline="0"/>
            </a:lvl1pPr>
          </a:lstStyle>
          <a:p>
            <a:r>
              <a:rPr lang="en-GB" noProof="0"/>
              <a:t>Click to add a headline of maximum two lines</a:t>
            </a:r>
          </a:p>
        </p:txBody>
      </p:sp>
      <p:sp>
        <p:nvSpPr>
          <p:cNvPr id="9" name="Navigation">
            <a:extLst>
              <a:ext uri="{FF2B5EF4-FFF2-40B4-BE49-F238E27FC236}">
                <a16:creationId xmlns:a16="http://schemas.microsoft.com/office/drawing/2014/main" id="{03424855-B277-8744-9C85-9975925B8200}"/>
              </a:ext>
            </a:extLst>
          </p:cNvPr>
          <p:cNvSpPr>
            <a:spLocks noGrp="1"/>
          </p:cNvSpPr>
          <p:nvPr>
            <p:ph type="body" sz="quarter" idx="14" hasCustomPrompt="1"/>
          </p:nvPr>
        </p:nvSpPr>
        <p:spPr>
          <a:xfrm>
            <a:off x="323850" y="276226"/>
            <a:ext cx="4176712" cy="276999"/>
          </a:xfrm>
        </p:spPr>
        <p:txBody>
          <a:bodyPr lIns="111600" rIns="216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a:t>
            </a:r>
            <a:r>
              <a:rPr lang="en-GB" noProof="0" err="1"/>
              <a:t>subheader</a:t>
            </a:r>
            <a:endParaRPr lang="en-GB" noProof="0"/>
          </a:p>
        </p:txBody>
      </p:sp>
      <p:sp>
        <p:nvSpPr>
          <p:cNvPr id="23" name="Subheader 1">
            <a:extLst>
              <a:ext uri="{FF2B5EF4-FFF2-40B4-BE49-F238E27FC236}">
                <a16:creationId xmlns:a16="http://schemas.microsoft.com/office/drawing/2014/main" id="{50F743A5-5C51-9245-9EAE-DDCB7C8FD65E}"/>
              </a:ext>
            </a:extLst>
          </p:cNvPr>
          <p:cNvSpPr>
            <a:spLocks noGrp="1"/>
          </p:cNvSpPr>
          <p:nvPr>
            <p:ph type="body" sz="quarter" idx="18" hasCustomPrompt="1"/>
          </p:nvPr>
        </p:nvSpPr>
        <p:spPr>
          <a:xfrm>
            <a:off x="323849" y="1360488"/>
            <a:ext cx="4176711" cy="307568"/>
          </a:xfrm>
        </p:spPr>
        <p:txBody>
          <a:bodyPr lIns="97200" rIns="216000"/>
          <a:lstStyle>
            <a:lvl1pPr marL="0" indent="0" algn="l">
              <a:lnSpc>
                <a:spcPct val="95000"/>
              </a:lnSpc>
              <a:spcBef>
                <a:spcPts val="0"/>
              </a:spcBef>
              <a:buNone/>
              <a:tabLst/>
              <a:defRPr sz="1200" b="1" spc="0" baseline="0"/>
            </a:lvl1pPr>
            <a:lvl2pPr marL="14288" indent="0" algn="ctr">
              <a:tabLst/>
              <a:defRPr/>
            </a:lvl2pPr>
            <a:lvl3pPr marL="14288" indent="0" algn="ctr">
              <a:tabLst/>
              <a:defRPr/>
            </a:lvl3pPr>
            <a:lvl4pPr marL="14288" indent="0" algn="ctr">
              <a:tabLst/>
              <a:defRPr/>
            </a:lvl4pPr>
            <a:lvl5pPr marL="14288" indent="0" algn="ctr">
              <a:tabLst/>
              <a:defRPr/>
            </a:lvl5pPr>
          </a:lstStyle>
          <a:p>
            <a:pPr lvl="0"/>
            <a:r>
              <a:rPr lang="en-GB" noProof="0"/>
              <a:t>Click to add </a:t>
            </a:r>
            <a:r>
              <a:rPr lang="en-GB" noProof="0" err="1"/>
              <a:t>subheader</a:t>
            </a:r>
            <a:endParaRPr lang="en-GB" noProof="0"/>
          </a:p>
        </p:txBody>
      </p:sp>
      <p:sp>
        <p:nvSpPr>
          <p:cNvPr id="21" name="Table 1">
            <a:extLst>
              <a:ext uri="{FF2B5EF4-FFF2-40B4-BE49-F238E27FC236}">
                <a16:creationId xmlns:a16="http://schemas.microsoft.com/office/drawing/2014/main" id="{5303F358-E8FC-AF49-89C9-2DAF8C0EF0E6}"/>
              </a:ext>
            </a:extLst>
          </p:cNvPr>
          <p:cNvSpPr>
            <a:spLocks noGrp="1"/>
          </p:cNvSpPr>
          <p:nvPr>
            <p:ph type="tbl" sz="quarter" idx="23" hasCustomPrompt="1"/>
          </p:nvPr>
        </p:nvSpPr>
        <p:spPr>
          <a:xfrm>
            <a:off x="323851" y="1718175"/>
            <a:ext cx="4061112" cy="2808499"/>
          </a:xfrm>
        </p:spPr>
        <p:txBody>
          <a:bodyPr/>
          <a:lstStyle>
            <a:lvl1pPr marL="14288" indent="-14288" algn="ctr">
              <a:buNone/>
              <a:tabLst/>
              <a:defRPr sz="800"/>
            </a:lvl1pPr>
          </a:lstStyle>
          <a:p>
            <a:r>
              <a:rPr lang="en-GB" sz="800" noProof="0"/>
              <a:t>Click on the icon to add table</a:t>
            </a:r>
            <a:endParaRPr lang="en-GB" noProof="0"/>
          </a:p>
        </p:txBody>
      </p:sp>
      <p:sp>
        <p:nvSpPr>
          <p:cNvPr id="20" name="Subheader 2">
            <a:extLst>
              <a:ext uri="{FF2B5EF4-FFF2-40B4-BE49-F238E27FC236}">
                <a16:creationId xmlns:a16="http://schemas.microsoft.com/office/drawing/2014/main" id="{E1517231-41C6-AF48-91E9-89342815BF65}"/>
              </a:ext>
            </a:extLst>
          </p:cNvPr>
          <p:cNvSpPr>
            <a:spLocks noGrp="1"/>
          </p:cNvSpPr>
          <p:nvPr>
            <p:ph type="body" sz="quarter" idx="20" hasCustomPrompt="1"/>
          </p:nvPr>
        </p:nvSpPr>
        <p:spPr>
          <a:xfrm>
            <a:off x="4643439" y="1360488"/>
            <a:ext cx="4176712" cy="305634"/>
          </a:xfrm>
        </p:spPr>
        <p:txBody>
          <a:bodyPr lIns="216000" rIns="216000"/>
          <a:lstStyle>
            <a:lvl1pPr marL="0" indent="0" algn="l">
              <a:lnSpc>
                <a:spcPct val="95000"/>
              </a:lnSpc>
              <a:spcBef>
                <a:spcPts val="0"/>
              </a:spcBef>
              <a:buNone/>
              <a:tabLst/>
              <a:defRPr sz="1200" b="1" spc="0" baseline="0"/>
            </a:lvl1pPr>
            <a:lvl2pPr marL="14288" indent="0" algn="ctr">
              <a:tabLst/>
              <a:defRPr/>
            </a:lvl2pPr>
            <a:lvl3pPr marL="14288" indent="0" algn="ctr">
              <a:tabLst/>
              <a:defRPr/>
            </a:lvl3pPr>
            <a:lvl4pPr marL="14288" indent="0" algn="ctr">
              <a:tabLst/>
              <a:defRPr/>
            </a:lvl4pPr>
            <a:lvl5pPr marL="14288" indent="0" algn="ctr">
              <a:tabLst/>
              <a:defRPr/>
            </a:lvl5pPr>
          </a:lstStyle>
          <a:p>
            <a:pPr lvl="0"/>
            <a:r>
              <a:rPr lang="en-GB" noProof="0"/>
              <a:t>Click to add </a:t>
            </a:r>
            <a:r>
              <a:rPr lang="en-GB" noProof="0" err="1"/>
              <a:t>subheader</a:t>
            </a:r>
            <a:endParaRPr lang="en-GB" noProof="0"/>
          </a:p>
        </p:txBody>
      </p:sp>
      <p:sp>
        <p:nvSpPr>
          <p:cNvPr id="22" name="Table 2">
            <a:extLst>
              <a:ext uri="{FF2B5EF4-FFF2-40B4-BE49-F238E27FC236}">
                <a16:creationId xmlns:a16="http://schemas.microsoft.com/office/drawing/2014/main" id="{2742DE3F-FB80-1F4A-A200-34E875236096}"/>
              </a:ext>
            </a:extLst>
          </p:cNvPr>
          <p:cNvSpPr>
            <a:spLocks noGrp="1"/>
          </p:cNvSpPr>
          <p:nvPr>
            <p:ph type="tbl" sz="quarter" idx="24" hasCustomPrompt="1"/>
          </p:nvPr>
        </p:nvSpPr>
        <p:spPr>
          <a:xfrm>
            <a:off x="4786193" y="1718175"/>
            <a:ext cx="3910915" cy="2808499"/>
          </a:xfrm>
        </p:spPr>
        <p:txBody>
          <a:bodyPr/>
          <a:lstStyle>
            <a:lvl1pPr marL="14288" indent="-14288" algn="ctr">
              <a:buNone/>
              <a:tabLst/>
              <a:defRPr sz="800"/>
            </a:lvl1pPr>
          </a:lstStyle>
          <a:p>
            <a:r>
              <a:rPr lang="en-GB" sz="800" noProof="0"/>
              <a:t>Click on the icon to add table</a:t>
            </a:r>
            <a:endParaRPr lang="en-GB" noProof="0"/>
          </a:p>
        </p:txBody>
      </p:sp>
      <p:sp>
        <p:nvSpPr>
          <p:cNvPr id="6" name="Notes">
            <a:extLst>
              <a:ext uri="{FF2B5EF4-FFF2-40B4-BE49-F238E27FC236}">
                <a16:creationId xmlns:a16="http://schemas.microsoft.com/office/drawing/2014/main" id="{AB36959C-2EF7-03AE-6A16-A2F43D47044A}"/>
              </a:ext>
            </a:extLst>
          </p:cNvPr>
          <p:cNvSpPr>
            <a:spLocks noGrp="1"/>
          </p:cNvSpPr>
          <p:nvPr>
            <p:ph type="body" sz="quarter" idx="25" hasCustomPrompt="1"/>
          </p:nvPr>
        </p:nvSpPr>
        <p:spPr>
          <a:xfrm>
            <a:off x="4786193" y="4695825"/>
            <a:ext cx="3910915" cy="144463"/>
          </a:xfrm>
        </p:spPr>
        <p:txBody>
          <a:bodyPr lIns="111600" tIns="0" rIns="216000" bIns="18000" anchor="b"/>
          <a:lstStyle>
            <a:lvl1pPr marL="0" indent="0">
              <a:spcBef>
                <a:spcPts val="0"/>
              </a:spcBef>
              <a:buNone/>
              <a:tabLst/>
              <a:defRPr sz="600"/>
            </a:lvl1pPr>
            <a:lvl2pPr>
              <a:buNone/>
              <a:defRPr sz="800"/>
            </a:lvl2pPr>
            <a:lvl3pPr>
              <a:buNone/>
              <a:defRPr sz="800"/>
            </a:lvl3pPr>
            <a:lvl4pPr>
              <a:buNone/>
              <a:defRPr sz="800"/>
            </a:lvl4pPr>
            <a:lvl5pPr>
              <a:buNone/>
              <a:defRPr sz="800"/>
            </a:lvl5pPr>
          </a:lstStyle>
          <a:p>
            <a:pPr lvl="0"/>
            <a:r>
              <a:rPr lang="en-GB" noProof="0"/>
              <a:t>*Click to add footnotes</a:t>
            </a:r>
          </a:p>
        </p:txBody>
      </p:sp>
      <p:sp>
        <p:nvSpPr>
          <p:cNvPr id="5" name="Notes">
            <a:extLst>
              <a:ext uri="{FF2B5EF4-FFF2-40B4-BE49-F238E27FC236}">
                <a16:creationId xmlns:a16="http://schemas.microsoft.com/office/drawing/2014/main" id="{508400DD-E501-EE38-77E0-DAF805AC2C44}"/>
              </a:ext>
            </a:extLst>
          </p:cNvPr>
          <p:cNvSpPr>
            <a:spLocks noGrp="1"/>
          </p:cNvSpPr>
          <p:nvPr>
            <p:ph type="body" sz="quarter" idx="19" hasCustomPrompt="1"/>
          </p:nvPr>
        </p:nvSpPr>
        <p:spPr>
          <a:xfrm>
            <a:off x="323850" y="4695825"/>
            <a:ext cx="4176715" cy="144463"/>
          </a:xfrm>
        </p:spPr>
        <p:txBody>
          <a:bodyPr lIns="111600" tIns="0" rIns="216000" bIns="18000" anchor="b"/>
          <a:lstStyle>
            <a:lvl1pPr marL="0" indent="0">
              <a:spcBef>
                <a:spcPts val="0"/>
              </a:spcBef>
              <a:buNone/>
              <a:tabLst/>
              <a:defRPr sz="600"/>
            </a:lvl1pPr>
            <a:lvl2pPr>
              <a:buNone/>
              <a:defRPr sz="800"/>
            </a:lvl2pPr>
            <a:lvl3pPr>
              <a:buNone/>
              <a:defRPr sz="800"/>
            </a:lvl3pPr>
            <a:lvl4pPr>
              <a:buNone/>
              <a:defRPr sz="800"/>
            </a:lvl4pPr>
            <a:lvl5pPr>
              <a:buNone/>
              <a:defRPr sz="800"/>
            </a:lvl5pPr>
          </a:lstStyle>
          <a:p>
            <a:pPr lvl="0"/>
            <a:r>
              <a:rPr lang="en-GB" noProof="0"/>
              <a:t>*Click to add footnotes</a:t>
            </a:r>
          </a:p>
        </p:txBody>
      </p:sp>
      <p:sp>
        <p:nvSpPr>
          <p:cNvPr id="3" name="Date">
            <a:extLst>
              <a:ext uri="{FF2B5EF4-FFF2-40B4-BE49-F238E27FC236}">
                <a16:creationId xmlns:a16="http://schemas.microsoft.com/office/drawing/2014/main" id="{C57FF860-80C4-F544-9349-277B28F447FB}"/>
              </a:ext>
            </a:extLst>
          </p:cNvPr>
          <p:cNvSpPr>
            <a:spLocks noGrp="1"/>
          </p:cNvSpPr>
          <p:nvPr>
            <p:ph type="dt" sz="half" idx="10"/>
          </p:nvPr>
        </p:nvSpPr>
        <p:spPr/>
        <p:txBody>
          <a:bodyPr/>
          <a:lstStyle/>
          <a:p>
            <a:fld id="{A96552FF-B3AB-417F-9B1D-C424025874DF}" type="datetime1">
              <a:rPr lang="sv-SE" noProof="0" smtClean="0"/>
              <a:t>2025-09-04</a:t>
            </a:fld>
            <a:endParaRPr lang="en-GB" noProof="0"/>
          </a:p>
        </p:txBody>
      </p:sp>
      <p:sp>
        <p:nvSpPr>
          <p:cNvPr id="4" name="Number">
            <a:extLst>
              <a:ext uri="{FF2B5EF4-FFF2-40B4-BE49-F238E27FC236}">
                <a16:creationId xmlns:a16="http://schemas.microsoft.com/office/drawing/2014/main" id="{61938E86-6CF5-9C42-AB2F-96E9B547A11F}"/>
              </a:ext>
            </a:extLst>
          </p:cNvPr>
          <p:cNvSpPr>
            <a:spLocks noGrp="1"/>
          </p:cNvSpPr>
          <p:nvPr>
            <p:ph type="sldNum" sz="quarter" idx="11"/>
          </p:nvPr>
        </p:nvSpPr>
        <p:spPr/>
        <p:txBody>
          <a:bodyPr/>
          <a:lstStyle/>
          <a:p>
            <a:fld id="{17CD396C-6A52-4D5A-BAE3-92A1CC3BBDE0}" type="slidenum">
              <a:rPr lang="en-GB" noProof="0" smtClean="0"/>
              <a:pPr/>
              <a:t>‹nr.›</a:t>
            </a:fld>
            <a:endParaRPr lang="en-GB" noProof="0"/>
          </a:p>
        </p:txBody>
      </p:sp>
      <p:sp>
        <p:nvSpPr>
          <p:cNvPr id="15" name="Footer">
            <a:extLst>
              <a:ext uri="{FF2B5EF4-FFF2-40B4-BE49-F238E27FC236}">
                <a16:creationId xmlns:a16="http://schemas.microsoft.com/office/drawing/2014/main" id="{F63257F7-5107-964D-B8AA-BAFC1CD3ED82}"/>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1911518199"/>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 Chart and Image">
    <p:bg>
      <p:bgPr>
        <a:solidFill>
          <a:schemeClr val="bg2"/>
        </a:solidFill>
        <a:effectLst/>
      </p:bgPr>
    </p:bg>
    <p:spTree>
      <p:nvGrpSpPr>
        <p:cNvPr id="1" name=""/>
        <p:cNvGrpSpPr/>
        <p:nvPr/>
      </p:nvGrpSpPr>
      <p:grpSpPr>
        <a:xfrm>
          <a:off x="0" y="0"/>
          <a:ext cx="0" cy="0"/>
          <a:chOff x="0" y="0"/>
          <a:chExt cx="0" cy="0"/>
        </a:xfrm>
      </p:grpSpPr>
      <p:sp>
        <p:nvSpPr>
          <p:cNvPr id="6" name="Rectangle">
            <a:extLst>
              <a:ext uri="{FF2B5EF4-FFF2-40B4-BE49-F238E27FC236}">
                <a16:creationId xmlns:a16="http://schemas.microsoft.com/office/drawing/2014/main" id="{31DEC3D1-B573-9353-8DCE-FCF9B6736382}"/>
              </a:ext>
            </a:extLst>
          </p:cNvPr>
          <p:cNvSpPr/>
          <p:nvPr userDrawn="1"/>
        </p:nvSpPr>
        <p:spPr>
          <a:xfrm>
            <a:off x="4499769" y="158750"/>
            <a:ext cx="144462" cy="4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Image">
            <a:extLst>
              <a:ext uri="{FF2B5EF4-FFF2-40B4-BE49-F238E27FC236}">
                <a16:creationId xmlns:a16="http://schemas.microsoft.com/office/drawing/2014/main" id="{F29AB92E-C679-0F42-AB24-CFF5D35D9B9D}"/>
              </a:ext>
            </a:extLst>
          </p:cNvPr>
          <p:cNvSpPr>
            <a:spLocks noGrp="1"/>
          </p:cNvSpPr>
          <p:nvPr>
            <p:ph type="pic" sz="quarter" idx="16" hasCustomPrompt="1"/>
          </p:nvPr>
        </p:nvSpPr>
        <p:spPr>
          <a:xfrm>
            <a:off x="4643439" y="158750"/>
            <a:ext cx="4321174" cy="4681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2" name="Title">
            <a:extLst>
              <a:ext uri="{FF2B5EF4-FFF2-40B4-BE49-F238E27FC236}">
                <a16:creationId xmlns:a16="http://schemas.microsoft.com/office/drawing/2014/main" id="{38A7CF33-452A-714F-A2F4-CE6178190432}"/>
              </a:ext>
            </a:extLst>
          </p:cNvPr>
          <p:cNvSpPr>
            <a:spLocks noGrp="1"/>
          </p:cNvSpPr>
          <p:nvPr>
            <p:ph type="title" hasCustomPrompt="1"/>
          </p:nvPr>
        </p:nvSpPr>
        <p:spPr>
          <a:xfrm>
            <a:off x="323851" y="545326"/>
            <a:ext cx="4176712" cy="737102"/>
          </a:xfrm>
        </p:spPr>
        <p:txBody>
          <a:bodyPr rIns="216000"/>
          <a:lstStyle>
            <a:lvl1pPr>
              <a:defRPr spc="-30" baseline="0"/>
            </a:lvl1pPr>
          </a:lstStyle>
          <a:p>
            <a:r>
              <a:rPr lang="en-GB" noProof="0"/>
              <a:t>Click to add a headline of maximum two lines</a:t>
            </a:r>
          </a:p>
        </p:txBody>
      </p:sp>
      <p:sp>
        <p:nvSpPr>
          <p:cNvPr id="9" name="Navigation">
            <a:extLst>
              <a:ext uri="{FF2B5EF4-FFF2-40B4-BE49-F238E27FC236}">
                <a16:creationId xmlns:a16="http://schemas.microsoft.com/office/drawing/2014/main" id="{03424855-B277-8744-9C85-9975925B8200}"/>
              </a:ext>
            </a:extLst>
          </p:cNvPr>
          <p:cNvSpPr>
            <a:spLocks noGrp="1"/>
          </p:cNvSpPr>
          <p:nvPr>
            <p:ph type="body" sz="quarter" idx="14" hasCustomPrompt="1"/>
          </p:nvPr>
        </p:nvSpPr>
        <p:spPr>
          <a:xfrm>
            <a:off x="323850" y="276226"/>
            <a:ext cx="4176712" cy="276999"/>
          </a:xfrm>
        </p:spPr>
        <p:txBody>
          <a:bodyPr lIns="111600" rIns="216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a:t>
            </a:r>
            <a:r>
              <a:rPr lang="en-GB" noProof="0" err="1"/>
              <a:t>subheader</a:t>
            </a:r>
            <a:endParaRPr lang="en-GB" noProof="0"/>
          </a:p>
        </p:txBody>
      </p:sp>
      <p:sp>
        <p:nvSpPr>
          <p:cNvPr id="23" name="Subheader">
            <a:extLst>
              <a:ext uri="{FF2B5EF4-FFF2-40B4-BE49-F238E27FC236}">
                <a16:creationId xmlns:a16="http://schemas.microsoft.com/office/drawing/2014/main" id="{50F743A5-5C51-9245-9EAE-DDCB7C8FD65E}"/>
              </a:ext>
            </a:extLst>
          </p:cNvPr>
          <p:cNvSpPr>
            <a:spLocks noGrp="1"/>
          </p:cNvSpPr>
          <p:nvPr>
            <p:ph type="body" sz="quarter" idx="18" hasCustomPrompt="1"/>
          </p:nvPr>
        </p:nvSpPr>
        <p:spPr>
          <a:xfrm>
            <a:off x="323849" y="1360488"/>
            <a:ext cx="4176711" cy="307568"/>
          </a:xfrm>
        </p:spPr>
        <p:txBody>
          <a:bodyPr lIns="97200" rIns="216000"/>
          <a:lstStyle>
            <a:lvl1pPr marL="0" indent="0" algn="l">
              <a:lnSpc>
                <a:spcPct val="95000"/>
              </a:lnSpc>
              <a:spcBef>
                <a:spcPts val="0"/>
              </a:spcBef>
              <a:buNone/>
              <a:tabLst/>
              <a:defRPr sz="1200" b="1" spc="0" baseline="0"/>
            </a:lvl1pPr>
            <a:lvl2pPr marL="14288" indent="0" algn="ctr">
              <a:tabLst/>
              <a:defRPr/>
            </a:lvl2pPr>
            <a:lvl3pPr marL="14288" indent="0" algn="ctr">
              <a:tabLst/>
              <a:defRPr/>
            </a:lvl3pPr>
            <a:lvl4pPr marL="14288" indent="0" algn="ctr">
              <a:tabLst/>
              <a:defRPr/>
            </a:lvl4pPr>
            <a:lvl5pPr marL="14288" indent="0" algn="ctr">
              <a:tabLst/>
              <a:defRPr/>
            </a:lvl5pPr>
          </a:lstStyle>
          <a:p>
            <a:pPr lvl="0"/>
            <a:r>
              <a:rPr lang="en-GB" noProof="0"/>
              <a:t>Click to add </a:t>
            </a:r>
            <a:r>
              <a:rPr lang="en-GB" noProof="0" err="1"/>
              <a:t>subheader</a:t>
            </a:r>
            <a:endParaRPr lang="en-GB" noProof="0"/>
          </a:p>
        </p:txBody>
      </p:sp>
      <p:sp>
        <p:nvSpPr>
          <p:cNvPr id="15" name="Chart">
            <a:extLst>
              <a:ext uri="{FF2B5EF4-FFF2-40B4-BE49-F238E27FC236}">
                <a16:creationId xmlns:a16="http://schemas.microsoft.com/office/drawing/2014/main" id="{BC097026-6010-794E-84C7-E4D861D386E1}"/>
              </a:ext>
            </a:extLst>
          </p:cNvPr>
          <p:cNvSpPr>
            <a:spLocks noGrp="1"/>
          </p:cNvSpPr>
          <p:nvPr>
            <p:ph type="chart" sz="quarter" idx="15" hasCustomPrompt="1"/>
          </p:nvPr>
        </p:nvSpPr>
        <p:spPr>
          <a:xfrm>
            <a:off x="323849" y="1716712"/>
            <a:ext cx="4061113" cy="2881463"/>
          </a:xfrm>
        </p:spPr>
        <p:txBody>
          <a:bodyPr/>
          <a:lstStyle>
            <a:lvl1pPr algn="ctr">
              <a:buNone/>
              <a:defRPr sz="800"/>
            </a:lvl1pPr>
          </a:lstStyle>
          <a:p>
            <a:r>
              <a:rPr lang="en-GB" noProof="0"/>
              <a:t>Click on the icon to add chart</a:t>
            </a:r>
          </a:p>
        </p:txBody>
      </p:sp>
      <p:sp>
        <p:nvSpPr>
          <p:cNvPr id="5" name="Notes">
            <a:extLst>
              <a:ext uri="{FF2B5EF4-FFF2-40B4-BE49-F238E27FC236}">
                <a16:creationId xmlns:a16="http://schemas.microsoft.com/office/drawing/2014/main" id="{0AD58BD6-CF61-9539-130D-E0D64DE787BC}"/>
              </a:ext>
            </a:extLst>
          </p:cNvPr>
          <p:cNvSpPr>
            <a:spLocks noGrp="1"/>
          </p:cNvSpPr>
          <p:nvPr>
            <p:ph type="body" sz="quarter" idx="19" hasCustomPrompt="1"/>
          </p:nvPr>
        </p:nvSpPr>
        <p:spPr>
          <a:xfrm>
            <a:off x="323850" y="4695825"/>
            <a:ext cx="4176715" cy="144463"/>
          </a:xfrm>
        </p:spPr>
        <p:txBody>
          <a:bodyPr lIns="111600" tIns="0" rIns="216000" bIns="18000" anchor="b"/>
          <a:lstStyle>
            <a:lvl1pPr marL="0" indent="0">
              <a:spcBef>
                <a:spcPts val="0"/>
              </a:spcBef>
              <a:buNone/>
              <a:tabLst/>
              <a:defRPr sz="600"/>
            </a:lvl1pPr>
            <a:lvl2pPr>
              <a:buNone/>
              <a:defRPr sz="800"/>
            </a:lvl2pPr>
            <a:lvl3pPr>
              <a:buNone/>
              <a:defRPr sz="800"/>
            </a:lvl3pPr>
            <a:lvl4pPr>
              <a:buNone/>
              <a:defRPr sz="800"/>
            </a:lvl4pPr>
            <a:lvl5pPr>
              <a:buNone/>
              <a:defRPr sz="800"/>
            </a:lvl5pPr>
          </a:lstStyle>
          <a:p>
            <a:pPr lvl="0"/>
            <a:r>
              <a:rPr lang="en-GB" noProof="0"/>
              <a:t>*Click to add footnotes</a:t>
            </a:r>
          </a:p>
        </p:txBody>
      </p:sp>
      <p:sp>
        <p:nvSpPr>
          <p:cNvPr id="3" name="Date">
            <a:extLst>
              <a:ext uri="{FF2B5EF4-FFF2-40B4-BE49-F238E27FC236}">
                <a16:creationId xmlns:a16="http://schemas.microsoft.com/office/drawing/2014/main" id="{C57FF860-80C4-F544-9349-277B28F447FB}"/>
              </a:ext>
            </a:extLst>
          </p:cNvPr>
          <p:cNvSpPr>
            <a:spLocks noGrp="1"/>
          </p:cNvSpPr>
          <p:nvPr>
            <p:ph type="dt" sz="half" idx="10"/>
          </p:nvPr>
        </p:nvSpPr>
        <p:spPr/>
        <p:txBody>
          <a:bodyPr/>
          <a:lstStyle/>
          <a:p>
            <a:fld id="{026AF6C4-62E8-4AF5-A707-F52490285A4E}" type="datetime1">
              <a:rPr lang="sv-SE" noProof="0" smtClean="0"/>
              <a:t>2025-09-04</a:t>
            </a:fld>
            <a:endParaRPr lang="en-GB" noProof="0"/>
          </a:p>
        </p:txBody>
      </p:sp>
      <p:sp>
        <p:nvSpPr>
          <p:cNvPr id="4" name="Number">
            <a:extLst>
              <a:ext uri="{FF2B5EF4-FFF2-40B4-BE49-F238E27FC236}">
                <a16:creationId xmlns:a16="http://schemas.microsoft.com/office/drawing/2014/main" id="{61938E86-6CF5-9C42-AB2F-96E9B547A11F}"/>
              </a:ext>
            </a:extLst>
          </p:cNvPr>
          <p:cNvSpPr>
            <a:spLocks noGrp="1"/>
          </p:cNvSpPr>
          <p:nvPr>
            <p:ph type="sldNum" sz="quarter" idx="11"/>
          </p:nvPr>
        </p:nvSpPr>
        <p:spPr/>
        <p:txBody>
          <a:bodyPr/>
          <a:lstStyle/>
          <a:p>
            <a:fld id="{17CD396C-6A52-4D5A-BAE3-92A1CC3BBDE0}" type="slidenum">
              <a:rPr lang="en-GB" noProof="0" smtClean="0"/>
              <a:pPr/>
              <a:t>‹nr.›</a:t>
            </a:fld>
            <a:endParaRPr lang="en-GB" noProof="0"/>
          </a:p>
        </p:txBody>
      </p:sp>
      <p:sp>
        <p:nvSpPr>
          <p:cNvPr id="13" name="Footer">
            <a:extLst>
              <a:ext uri="{FF2B5EF4-FFF2-40B4-BE49-F238E27FC236}">
                <a16:creationId xmlns:a16="http://schemas.microsoft.com/office/drawing/2014/main" id="{A9DD7A81-9CDC-EE41-B2A7-373110E215DE}"/>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4165387575"/>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 Two Charts">
    <p:bg>
      <p:bgPr>
        <a:solidFill>
          <a:schemeClr val="bg2"/>
        </a:solidFill>
        <a:effectLst/>
      </p:bgPr>
    </p:bg>
    <p:spTree>
      <p:nvGrpSpPr>
        <p:cNvPr id="1" name=""/>
        <p:cNvGrpSpPr/>
        <p:nvPr/>
      </p:nvGrpSpPr>
      <p:grpSpPr>
        <a:xfrm>
          <a:off x="0" y="0"/>
          <a:ext cx="0" cy="0"/>
          <a:chOff x="0" y="0"/>
          <a:chExt cx="0" cy="0"/>
        </a:xfrm>
      </p:grpSpPr>
      <p:sp>
        <p:nvSpPr>
          <p:cNvPr id="6" name="Rectangle">
            <a:extLst>
              <a:ext uri="{FF2B5EF4-FFF2-40B4-BE49-F238E27FC236}">
                <a16:creationId xmlns:a16="http://schemas.microsoft.com/office/drawing/2014/main" id="{9F9607B8-8174-41FC-99A7-3FF736A19BA9}"/>
              </a:ext>
            </a:extLst>
          </p:cNvPr>
          <p:cNvSpPr/>
          <p:nvPr userDrawn="1"/>
        </p:nvSpPr>
        <p:spPr>
          <a:xfrm>
            <a:off x="4499769" y="158750"/>
            <a:ext cx="144462" cy="4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a:extLst>
              <a:ext uri="{FF2B5EF4-FFF2-40B4-BE49-F238E27FC236}">
                <a16:creationId xmlns:a16="http://schemas.microsoft.com/office/drawing/2014/main" id="{38A7CF33-452A-714F-A2F4-CE6178190432}"/>
              </a:ext>
            </a:extLst>
          </p:cNvPr>
          <p:cNvSpPr>
            <a:spLocks noGrp="1"/>
          </p:cNvSpPr>
          <p:nvPr>
            <p:ph type="title" hasCustomPrompt="1"/>
          </p:nvPr>
        </p:nvSpPr>
        <p:spPr>
          <a:xfrm>
            <a:off x="323851" y="545326"/>
            <a:ext cx="4176712" cy="737102"/>
          </a:xfrm>
        </p:spPr>
        <p:txBody>
          <a:bodyPr rIns="216000"/>
          <a:lstStyle>
            <a:lvl1pPr>
              <a:defRPr spc="-30" baseline="0"/>
            </a:lvl1pPr>
          </a:lstStyle>
          <a:p>
            <a:r>
              <a:rPr lang="en-GB" noProof="0"/>
              <a:t>Click to add a headline of maximum two lines</a:t>
            </a:r>
          </a:p>
        </p:txBody>
      </p:sp>
      <p:sp>
        <p:nvSpPr>
          <p:cNvPr id="9" name="Navigation">
            <a:extLst>
              <a:ext uri="{FF2B5EF4-FFF2-40B4-BE49-F238E27FC236}">
                <a16:creationId xmlns:a16="http://schemas.microsoft.com/office/drawing/2014/main" id="{03424855-B277-8744-9C85-9975925B8200}"/>
              </a:ext>
            </a:extLst>
          </p:cNvPr>
          <p:cNvSpPr>
            <a:spLocks noGrp="1"/>
          </p:cNvSpPr>
          <p:nvPr>
            <p:ph type="body" sz="quarter" idx="14" hasCustomPrompt="1"/>
          </p:nvPr>
        </p:nvSpPr>
        <p:spPr>
          <a:xfrm>
            <a:off x="323850" y="276226"/>
            <a:ext cx="4176712" cy="276999"/>
          </a:xfrm>
        </p:spPr>
        <p:txBody>
          <a:bodyPr lIns="111600" rIns="216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a:t>
            </a:r>
            <a:r>
              <a:rPr lang="en-GB" noProof="0" err="1"/>
              <a:t>subheader</a:t>
            </a:r>
            <a:endParaRPr lang="en-GB" noProof="0"/>
          </a:p>
        </p:txBody>
      </p:sp>
      <p:sp>
        <p:nvSpPr>
          <p:cNvPr id="23" name="Subheader 1">
            <a:extLst>
              <a:ext uri="{FF2B5EF4-FFF2-40B4-BE49-F238E27FC236}">
                <a16:creationId xmlns:a16="http://schemas.microsoft.com/office/drawing/2014/main" id="{50F743A5-5C51-9245-9EAE-DDCB7C8FD65E}"/>
              </a:ext>
            </a:extLst>
          </p:cNvPr>
          <p:cNvSpPr>
            <a:spLocks noGrp="1"/>
          </p:cNvSpPr>
          <p:nvPr>
            <p:ph type="body" sz="quarter" idx="18" hasCustomPrompt="1"/>
          </p:nvPr>
        </p:nvSpPr>
        <p:spPr>
          <a:xfrm>
            <a:off x="323849" y="1360488"/>
            <a:ext cx="4176711" cy="307568"/>
          </a:xfrm>
        </p:spPr>
        <p:txBody>
          <a:bodyPr lIns="97200" rIns="216000"/>
          <a:lstStyle>
            <a:lvl1pPr marL="0" indent="0" algn="l">
              <a:lnSpc>
                <a:spcPct val="95000"/>
              </a:lnSpc>
              <a:spcBef>
                <a:spcPts val="0"/>
              </a:spcBef>
              <a:buNone/>
              <a:tabLst/>
              <a:defRPr sz="1200" b="1" spc="0" baseline="0"/>
            </a:lvl1pPr>
            <a:lvl2pPr marL="14288" indent="0" algn="ctr">
              <a:tabLst/>
              <a:defRPr/>
            </a:lvl2pPr>
            <a:lvl3pPr marL="14288" indent="0" algn="ctr">
              <a:tabLst/>
              <a:defRPr/>
            </a:lvl3pPr>
            <a:lvl4pPr marL="14288" indent="0" algn="ctr">
              <a:tabLst/>
              <a:defRPr/>
            </a:lvl4pPr>
            <a:lvl5pPr marL="14288" indent="0" algn="ctr">
              <a:tabLst/>
              <a:defRPr/>
            </a:lvl5pPr>
          </a:lstStyle>
          <a:p>
            <a:pPr lvl="0"/>
            <a:r>
              <a:rPr lang="en-GB" noProof="0"/>
              <a:t>Click to add </a:t>
            </a:r>
            <a:r>
              <a:rPr lang="en-GB" noProof="0" err="1"/>
              <a:t>subheader</a:t>
            </a:r>
            <a:endParaRPr lang="en-GB" noProof="0"/>
          </a:p>
        </p:txBody>
      </p:sp>
      <p:sp>
        <p:nvSpPr>
          <p:cNvPr id="15" name="Chart 1">
            <a:extLst>
              <a:ext uri="{FF2B5EF4-FFF2-40B4-BE49-F238E27FC236}">
                <a16:creationId xmlns:a16="http://schemas.microsoft.com/office/drawing/2014/main" id="{BC097026-6010-794E-84C7-E4D861D386E1}"/>
              </a:ext>
            </a:extLst>
          </p:cNvPr>
          <p:cNvSpPr>
            <a:spLocks noGrp="1"/>
          </p:cNvSpPr>
          <p:nvPr>
            <p:ph type="chart" sz="quarter" idx="15" hasCustomPrompt="1"/>
          </p:nvPr>
        </p:nvSpPr>
        <p:spPr>
          <a:xfrm>
            <a:off x="323849" y="1716712"/>
            <a:ext cx="4061113" cy="2881463"/>
          </a:xfrm>
        </p:spPr>
        <p:txBody>
          <a:bodyPr/>
          <a:lstStyle>
            <a:lvl1pPr algn="ctr">
              <a:buNone/>
              <a:defRPr sz="800"/>
            </a:lvl1pPr>
          </a:lstStyle>
          <a:p>
            <a:r>
              <a:rPr lang="en-GB" noProof="0"/>
              <a:t>Click on the icon to add chart</a:t>
            </a:r>
          </a:p>
        </p:txBody>
      </p:sp>
      <p:sp>
        <p:nvSpPr>
          <p:cNvPr id="20" name="Subheader 2">
            <a:extLst>
              <a:ext uri="{FF2B5EF4-FFF2-40B4-BE49-F238E27FC236}">
                <a16:creationId xmlns:a16="http://schemas.microsoft.com/office/drawing/2014/main" id="{E1517231-41C6-AF48-91E9-89342815BF65}"/>
              </a:ext>
            </a:extLst>
          </p:cNvPr>
          <p:cNvSpPr>
            <a:spLocks noGrp="1"/>
          </p:cNvSpPr>
          <p:nvPr>
            <p:ph type="body" sz="quarter" idx="20" hasCustomPrompt="1"/>
          </p:nvPr>
        </p:nvSpPr>
        <p:spPr>
          <a:xfrm>
            <a:off x="4789365" y="1360488"/>
            <a:ext cx="3910915" cy="305634"/>
          </a:xfrm>
        </p:spPr>
        <p:txBody>
          <a:bodyPr/>
          <a:lstStyle>
            <a:lvl1pPr marL="0" indent="0" algn="l">
              <a:lnSpc>
                <a:spcPct val="95000"/>
              </a:lnSpc>
              <a:spcBef>
                <a:spcPts val="0"/>
              </a:spcBef>
              <a:buNone/>
              <a:tabLst/>
              <a:defRPr sz="1200" b="1" spc="0" baseline="0"/>
            </a:lvl1pPr>
            <a:lvl2pPr marL="14288" indent="0" algn="ctr">
              <a:tabLst/>
              <a:defRPr/>
            </a:lvl2pPr>
            <a:lvl3pPr marL="14288" indent="0" algn="ctr">
              <a:tabLst/>
              <a:defRPr/>
            </a:lvl3pPr>
            <a:lvl4pPr marL="14288" indent="0" algn="ctr">
              <a:tabLst/>
              <a:defRPr/>
            </a:lvl4pPr>
            <a:lvl5pPr marL="14288" indent="0" algn="ctr">
              <a:tabLst/>
              <a:defRPr/>
            </a:lvl5pPr>
          </a:lstStyle>
          <a:p>
            <a:pPr lvl="0"/>
            <a:r>
              <a:rPr lang="en-GB" noProof="0"/>
              <a:t>Click to add </a:t>
            </a:r>
            <a:r>
              <a:rPr lang="en-GB" noProof="0" err="1"/>
              <a:t>subheader</a:t>
            </a:r>
            <a:endParaRPr lang="en-GB" noProof="0"/>
          </a:p>
        </p:txBody>
      </p:sp>
      <p:sp>
        <p:nvSpPr>
          <p:cNvPr id="16" name="Chart 2">
            <a:extLst>
              <a:ext uri="{FF2B5EF4-FFF2-40B4-BE49-F238E27FC236}">
                <a16:creationId xmlns:a16="http://schemas.microsoft.com/office/drawing/2014/main" id="{911A539F-0F08-C546-AB78-D6C09FB0F8C2}"/>
              </a:ext>
            </a:extLst>
          </p:cNvPr>
          <p:cNvSpPr>
            <a:spLocks noGrp="1"/>
          </p:cNvSpPr>
          <p:nvPr>
            <p:ph type="chart" sz="quarter" idx="26" hasCustomPrompt="1"/>
          </p:nvPr>
        </p:nvSpPr>
        <p:spPr>
          <a:xfrm>
            <a:off x="4789366" y="1716712"/>
            <a:ext cx="3907745" cy="2881463"/>
          </a:xfrm>
        </p:spPr>
        <p:txBody>
          <a:bodyPr/>
          <a:lstStyle>
            <a:lvl1pPr algn="ctr">
              <a:buNone/>
              <a:defRPr sz="800"/>
            </a:lvl1pPr>
          </a:lstStyle>
          <a:p>
            <a:r>
              <a:rPr lang="en-GB" noProof="0"/>
              <a:t>Click on the icon to add chart</a:t>
            </a:r>
          </a:p>
        </p:txBody>
      </p:sp>
      <p:sp>
        <p:nvSpPr>
          <p:cNvPr id="24" name="Notes 2">
            <a:extLst>
              <a:ext uri="{FF2B5EF4-FFF2-40B4-BE49-F238E27FC236}">
                <a16:creationId xmlns:a16="http://schemas.microsoft.com/office/drawing/2014/main" id="{224243C5-096F-734D-868D-6CEA739698B8}"/>
              </a:ext>
            </a:extLst>
          </p:cNvPr>
          <p:cNvSpPr>
            <a:spLocks noGrp="1"/>
          </p:cNvSpPr>
          <p:nvPr>
            <p:ph type="body" sz="quarter" idx="25" hasCustomPrompt="1"/>
          </p:nvPr>
        </p:nvSpPr>
        <p:spPr>
          <a:xfrm>
            <a:off x="4786193" y="4697402"/>
            <a:ext cx="3910918" cy="142886"/>
          </a:xfrm>
        </p:spPr>
        <p:txBody>
          <a:bodyPr lIns="111600" tIns="0" bIns="0" anchor="ctr"/>
          <a:lstStyle>
            <a:lvl1pPr>
              <a:buNone/>
              <a:defRPr sz="600"/>
            </a:lvl1pPr>
            <a:lvl2pPr>
              <a:buNone/>
              <a:defRPr sz="800"/>
            </a:lvl2pPr>
            <a:lvl3pPr>
              <a:buNone/>
              <a:defRPr sz="800"/>
            </a:lvl3pPr>
            <a:lvl4pPr>
              <a:buNone/>
              <a:defRPr sz="800"/>
            </a:lvl4pPr>
            <a:lvl5pPr>
              <a:buNone/>
              <a:defRPr sz="800"/>
            </a:lvl5pPr>
          </a:lstStyle>
          <a:p>
            <a:pPr lvl="0"/>
            <a:r>
              <a:rPr lang="en-GB" noProof="0"/>
              <a:t>*Click to add footnotes</a:t>
            </a:r>
          </a:p>
        </p:txBody>
      </p:sp>
      <p:sp>
        <p:nvSpPr>
          <p:cNvPr id="5" name="Notes">
            <a:extLst>
              <a:ext uri="{FF2B5EF4-FFF2-40B4-BE49-F238E27FC236}">
                <a16:creationId xmlns:a16="http://schemas.microsoft.com/office/drawing/2014/main" id="{1DEFF4C9-EBD2-1B6C-E90B-8263E7595BE7}"/>
              </a:ext>
            </a:extLst>
          </p:cNvPr>
          <p:cNvSpPr>
            <a:spLocks noGrp="1"/>
          </p:cNvSpPr>
          <p:nvPr>
            <p:ph type="body" sz="quarter" idx="19" hasCustomPrompt="1"/>
          </p:nvPr>
        </p:nvSpPr>
        <p:spPr>
          <a:xfrm>
            <a:off x="323850" y="4695825"/>
            <a:ext cx="4176715" cy="144463"/>
          </a:xfrm>
        </p:spPr>
        <p:txBody>
          <a:bodyPr lIns="111600" tIns="0" rIns="216000" bIns="18000" anchor="b"/>
          <a:lstStyle>
            <a:lvl1pPr marL="0" indent="0">
              <a:spcBef>
                <a:spcPts val="0"/>
              </a:spcBef>
              <a:buNone/>
              <a:tabLst/>
              <a:defRPr sz="600"/>
            </a:lvl1pPr>
            <a:lvl2pPr>
              <a:buNone/>
              <a:defRPr sz="800"/>
            </a:lvl2pPr>
            <a:lvl3pPr>
              <a:buNone/>
              <a:defRPr sz="800"/>
            </a:lvl3pPr>
            <a:lvl4pPr>
              <a:buNone/>
              <a:defRPr sz="800"/>
            </a:lvl4pPr>
            <a:lvl5pPr>
              <a:buNone/>
              <a:defRPr sz="800"/>
            </a:lvl5pPr>
          </a:lstStyle>
          <a:p>
            <a:pPr lvl="0"/>
            <a:r>
              <a:rPr lang="en-GB" noProof="0"/>
              <a:t>*Click to add footnotes</a:t>
            </a:r>
          </a:p>
        </p:txBody>
      </p:sp>
      <p:sp>
        <p:nvSpPr>
          <p:cNvPr id="3" name="Date">
            <a:extLst>
              <a:ext uri="{FF2B5EF4-FFF2-40B4-BE49-F238E27FC236}">
                <a16:creationId xmlns:a16="http://schemas.microsoft.com/office/drawing/2014/main" id="{C57FF860-80C4-F544-9349-277B28F447FB}"/>
              </a:ext>
            </a:extLst>
          </p:cNvPr>
          <p:cNvSpPr>
            <a:spLocks noGrp="1"/>
          </p:cNvSpPr>
          <p:nvPr>
            <p:ph type="dt" sz="half" idx="10"/>
          </p:nvPr>
        </p:nvSpPr>
        <p:spPr/>
        <p:txBody>
          <a:bodyPr/>
          <a:lstStyle/>
          <a:p>
            <a:fld id="{1D6943E3-5954-43D7-82ED-894133C686F9}" type="datetime1">
              <a:rPr lang="sv-SE" noProof="0" smtClean="0"/>
              <a:t>2025-09-04</a:t>
            </a:fld>
            <a:endParaRPr lang="en-GB" noProof="0"/>
          </a:p>
        </p:txBody>
      </p:sp>
      <p:sp>
        <p:nvSpPr>
          <p:cNvPr id="4" name="Number">
            <a:extLst>
              <a:ext uri="{FF2B5EF4-FFF2-40B4-BE49-F238E27FC236}">
                <a16:creationId xmlns:a16="http://schemas.microsoft.com/office/drawing/2014/main" id="{61938E86-6CF5-9C42-AB2F-96E9B547A11F}"/>
              </a:ext>
            </a:extLst>
          </p:cNvPr>
          <p:cNvSpPr>
            <a:spLocks noGrp="1"/>
          </p:cNvSpPr>
          <p:nvPr>
            <p:ph type="sldNum" sz="quarter" idx="11"/>
          </p:nvPr>
        </p:nvSpPr>
        <p:spPr/>
        <p:txBody>
          <a:bodyPr/>
          <a:lstStyle/>
          <a:p>
            <a:fld id="{17CD396C-6A52-4D5A-BAE3-92A1CC3BBDE0}" type="slidenum">
              <a:rPr lang="en-GB" noProof="0" smtClean="0"/>
              <a:pPr/>
              <a:t>‹nr.›</a:t>
            </a:fld>
            <a:endParaRPr lang="en-GB" noProof="0"/>
          </a:p>
        </p:txBody>
      </p:sp>
      <p:sp>
        <p:nvSpPr>
          <p:cNvPr id="17" name="Footer">
            <a:extLst>
              <a:ext uri="{FF2B5EF4-FFF2-40B4-BE49-F238E27FC236}">
                <a16:creationId xmlns:a16="http://schemas.microsoft.com/office/drawing/2014/main" id="{CD7C8291-DE5B-F34B-9F73-19645F51AED4}"/>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58073294"/>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Chart and Highligh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1E39E9F-05C8-8E2A-021F-B0B31EA033BD}"/>
              </a:ext>
            </a:extLst>
          </p:cNvPr>
          <p:cNvSpPr/>
          <p:nvPr userDrawn="1"/>
        </p:nvSpPr>
        <p:spPr>
          <a:xfrm>
            <a:off x="5940425" y="158750"/>
            <a:ext cx="144462" cy="4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ktangel 6">
            <a:extLst>
              <a:ext uri="{FF2B5EF4-FFF2-40B4-BE49-F238E27FC236}">
                <a16:creationId xmlns:a16="http://schemas.microsoft.com/office/drawing/2014/main" id="{BFC9456A-AC97-4548-90B9-837374C5AA8F}"/>
              </a:ext>
            </a:extLst>
          </p:cNvPr>
          <p:cNvSpPr/>
          <p:nvPr userDrawn="1"/>
        </p:nvSpPr>
        <p:spPr>
          <a:xfrm>
            <a:off x="179388" y="158750"/>
            <a:ext cx="5761037" cy="46815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 name="Title">
            <a:extLst>
              <a:ext uri="{FF2B5EF4-FFF2-40B4-BE49-F238E27FC236}">
                <a16:creationId xmlns:a16="http://schemas.microsoft.com/office/drawing/2014/main" id="{38A7CF33-452A-714F-A2F4-CE6178190432}"/>
              </a:ext>
            </a:extLst>
          </p:cNvPr>
          <p:cNvSpPr>
            <a:spLocks noGrp="1"/>
          </p:cNvSpPr>
          <p:nvPr>
            <p:ph type="title" hasCustomPrompt="1"/>
          </p:nvPr>
        </p:nvSpPr>
        <p:spPr>
          <a:xfrm>
            <a:off x="323851" y="545326"/>
            <a:ext cx="5616574" cy="737102"/>
          </a:xfrm>
        </p:spPr>
        <p:txBody>
          <a:bodyPr rIns="216000"/>
          <a:lstStyle>
            <a:lvl1pPr>
              <a:defRPr spc="-30" baseline="0"/>
            </a:lvl1pPr>
          </a:lstStyle>
          <a:p>
            <a:r>
              <a:rPr lang="en-GB" noProof="0"/>
              <a:t>Click to add a headline of maximum two lines</a:t>
            </a:r>
          </a:p>
        </p:txBody>
      </p:sp>
      <p:sp>
        <p:nvSpPr>
          <p:cNvPr id="9" name="Navigation">
            <a:extLst>
              <a:ext uri="{FF2B5EF4-FFF2-40B4-BE49-F238E27FC236}">
                <a16:creationId xmlns:a16="http://schemas.microsoft.com/office/drawing/2014/main" id="{03424855-B277-8744-9C85-9975925B8200}"/>
              </a:ext>
            </a:extLst>
          </p:cNvPr>
          <p:cNvSpPr>
            <a:spLocks noGrp="1"/>
          </p:cNvSpPr>
          <p:nvPr>
            <p:ph type="body" sz="quarter" idx="14" hasCustomPrompt="1"/>
          </p:nvPr>
        </p:nvSpPr>
        <p:spPr>
          <a:xfrm>
            <a:off x="323850" y="276226"/>
            <a:ext cx="5616574" cy="276999"/>
          </a:xfrm>
        </p:spPr>
        <p:txBody>
          <a:bodyPr lIns="111600" rIns="216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a:t>
            </a:r>
            <a:r>
              <a:rPr lang="en-GB" noProof="0" err="1"/>
              <a:t>subheader</a:t>
            </a:r>
            <a:endParaRPr lang="en-GB" noProof="0"/>
          </a:p>
        </p:txBody>
      </p:sp>
      <p:sp>
        <p:nvSpPr>
          <p:cNvPr id="23" name="Subheader">
            <a:extLst>
              <a:ext uri="{FF2B5EF4-FFF2-40B4-BE49-F238E27FC236}">
                <a16:creationId xmlns:a16="http://schemas.microsoft.com/office/drawing/2014/main" id="{50F743A5-5C51-9245-9EAE-DDCB7C8FD65E}"/>
              </a:ext>
            </a:extLst>
          </p:cNvPr>
          <p:cNvSpPr>
            <a:spLocks noGrp="1"/>
          </p:cNvSpPr>
          <p:nvPr>
            <p:ph type="body" sz="quarter" idx="18" hasCustomPrompt="1"/>
          </p:nvPr>
        </p:nvSpPr>
        <p:spPr>
          <a:xfrm>
            <a:off x="323849" y="1360488"/>
            <a:ext cx="5616574" cy="307568"/>
          </a:xfrm>
        </p:spPr>
        <p:txBody>
          <a:bodyPr lIns="97200" rIns="216000"/>
          <a:lstStyle>
            <a:lvl1pPr marL="0" indent="0" algn="l">
              <a:lnSpc>
                <a:spcPct val="95000"/>
              </a:lnSpc>
              <a:spcBef>
                <a:spcPts val="0"/>
              </a:spcBef>
              <a:buNone/>
              <a:tabLst/>
              <a:defRPr sz="1200" b="1" spc="0" baseline="0"/>
            </a:lvl1pPr>
            <a:lvl2pPr marL="14288" indent="0" algn="ctr">
              <a:tabLst/>
              <a:defRPr/>
            </a:lvl2pPr>
            <a:lvl3pPr marL="14288" indent="0" algn="ctr">
              <a:tabLst/>
              <a:defRPr/>
            </a:lvl3pPr>
            <a:lvl4pPr marL="14288" indent="0" algn="ctr">
              <a:tabLst/>
              <a:defRPr/>
            </a:lvl4pPr>
            <a:lvl5pPr marL="14288" indent="0" algn="ctr">
              <a:tabLst/>
              <a:defRPr/>
            </a:lvl5pPr>
          </a:lstStyle>
          <a:p>
            <a:pPr lvl="0"/>
            <a:r>
              <a:rPr lang="en-GB" noProof="0"/>
              <a:t>Click to add </a:t>
            </a:r>
            <a:r>
              <a:rPr lang="en-GB" noProof="0" err="1"/>
              <a:t>subheader</a:t>
            </a:r>
            <a:endParaRPr lang="en-GB" noProof="0"/>
          </a:p>
        </p:txBody>
      </p:sp>
      <p:sp>
        <p:nvSpPr>
          <p:cNvPr id="22" name="Chart">
            <a:extLst>
              <a:ext uri="{FF2B5EF4-FFF2-40B4-BE49-F238E27FC236}">
                <a16:creationId xmlns:a16="http://schemas.microsoft.com/office/drawing/2014/main" id="{C416A6EE-D97D-0D43-917F-3B0293FCF6E8}"/>
              </a:ext>
            </a:extLst>
          </p:cNvPr>
          <p:cNvSpPr>
            <a:spLocks noGrp="1"/>
          </p:cNvSpPr>
          <p:nvPr>
            <p:ph type="chart" sz="quarter" idx="15" hasCustomPrompt="1"/>
          </p:nvPr>
        </p:nvSpPr>
        <p:spPr>
          <a:xfrm>
            <a:off x="323849" y="1718174"/>
            <a:ext cx="5616575" cy="2880000"/>
          </a:xfrm>
        </p:spPr>
        <p:txBody>
          <a:bodyPr/>
          <a:lstStyle>
            <a:lvl1pPr algn="ctr">
              <a:buNone/>
              <a:defRPr sz="800"/>
            </a:lvl1pPr>
          </a:lstStyle>
          <a:p>
            <a:r>
              <a:rPr lang="en-GB" noProof="0"/>
              <a:t>Click on the icon to add chart</a:t>
            </a:r>
          </a:p>
        </p:txBody>
      </p:sp>
      <p:sp>
        <p:nvSpPr>
          <p:cNvPr id="11" name="Subheader 2">
            <a:extLst>
              <a:ext uri="{FF2B5EF4-FFF2-40B4-BE49-F238E27FC236}">
                <a16:creationId xmlns:a16="http://schemas.microsoft.com/office/drawing/2014/main" id="{78C11A51-69E9-4844-9E08-A1854CBA41FD}"/>
              </a:ext>
            </a:extLst>
          </p:cNvPr>
          <p:cNvSpPr>
            <a:spLocks noGrp="1"/>
          </p:cNvSpPr>
          <p:nvPr>
            <p:ph type="body" sz="quarter" idx="20" hasCustomPrompt="1"/>
          </p:nvPr>
        </p:nvSpPr>
        <p:spPr>
          <a:xfrm>
            <a:off x="6088061" y="1360488"/>
            <a:ext cx="2732090" cy="305634"/>
          </a:xfrm>
        </p:spPr>
        <p:txBody>
          <a:bodyPr lIns="216000" rIns="216000"/>
          <a:lstStyle>
            <a:lvl1pPr marL="0" indent="0" algn="l">
              <a:lnSpc>
                <a:spcPct val="95000"/>
              </a:lnSpc>
              <a:spcBef>
                <a:spcPts val="0"/>
              </a:spcBef>
              <a:buNone/>
              <a:tabLst/>
              <a:defRPr sz="1200" b="1" spc="0" baseline="0"/>
            </a:lvl1pPr>
            <a:lvl2pPr marL="14288" indent="0" algn="ctr">
              <a:tabLst/>
              <a:defRPr/>
            </a:lvl2pPr>
            <a:lvl3pPr marL="14288" indent="0" algn="ctr">
              <a:tabLst/>
              <a:defRPr/>
            </a:lvl3pPr>
            <a:lvl4pPr marL="14288" indent="0" algn="ctr">
              <a:tabLst/>
              <a:defRPr/>
            </a:lvl4pPr>
            <a:lvl5pPr marL="14288" indent="0" algn="ctr">
              <a:tabLst/>
              <a:defRPr/>
            </a:lvl5pPr>
          </a:lstStyle>
          <a:p>
            <a:pPr lvl="0"/>
            <a:r>
              <a:rPr lang="en-GB" noProof="0"/>
              <a:t>Click to add </a:t>
            </a:r>
            <a:r>
              <a:rPr lang="en-GB" noProof="0" err="1"/>
              <a:t>subheader</a:t>
            </a:r>
            <a:endParaRPr lang="en-GB" noProof="0"/>
          </a:p>
        </p:txBody>
      </p:sp>
      <p:sp>
        <p:nvSpPr>
          <p:cNvPr id="10" name="Text">
            <a:extLst>
              <a:ext uri="{FF2B5EF4-FFF2-40B4-BE49-F238E27FC236}">
                <a16:creationId xmlns:a16="http://schemas.microsoft.com/office/drawing/2014/main" id="{3A47C77C-C3F9-B141-87EA-F0CE7BF31725}"/>
              </a:ext>
            </a:extLst>
          </p:cNvPr>
          <p:cNvSpPr>
            <a:spLocks noGrp="1"/>
          </p:cNvSpPr>
          <p:nvPr>
            <p:ph type="body" sz="quarter" idx="22" hasCustomPrompt="1"/>
          </p:nvPr>
        </p:nvSpPr>
        <p:spPr>
          <a:xfrm>
            <a:off x="6088059" y="1758126"/>
            <a:ext cx="2732092" cy="2840048"/>
          </a:xfrm>
        </p:spPr>
        <p:txBody>
          <a:bodyPr lIns="216000" rIns="216000"/>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Notes">
            <a:extLst>
              <a:ext uri="{FF2B5EF4-FFF2-40B4-BE49-F238E27FC236}">
                <a16:creationId xmlns:a16="http://schemas.microsoft.com/office/drawing/2014/main" id="{6E2090B5-C61C-9E0F-D55C-6B967FD95FBD}"/>
              </a:ext>
            </a:extLst>
          </p:cNvPr>
          <p:cNvSpPr>
            <a:spLocks noGrp="1"/>
          </p:cNvSpPr>
          <p:nvPr>
            <p:ph type="body" sz="quarter" idx="19" hasCustomPrompt="1"/>
          </p:nvPr>
        </p:nvSpPr>
        <p:spPr>
          <a:xfrm>
            <a:off x="323850" y="4695825"/>
            <a:ext cx="4176715" cy="144463"/>
          </a:xfrm>
        </p:spPr>
        <p:txBody>
          <a:bodyPr lIns="111600" tIns="0" rIns="216000" bIns="18000" anchor="b"/>
          <a:lstStyle>
            <a:lvl1pPr marL="0" indent="0">
              <a:spcBef>
                <a:spcPts val="0"/>
              </a:spcBef>
              <a:buNone/>
              <a:tabLst/>
              <a:defRPr sz="600"/>
            </a:lvl1pPr>
            <a:lvl2pPr>
              <a:buNone/>
              <a:defRPr sz="800"/>
            </a:lvl2pPr>
            <a:lvl3pPr>
              <a:buNone/>
              <a:defRPr sz="800"/>
            </a:lvl3pPr>
            <a:lvl4pPr>
              <a:buNone/>
              <a:defRPr sz="800"/>
            </a:lvl4pPr>
            <a:lvl5pPr>
              <a:buNone/>
              <a:defRPr sz="800"/>
            </a:lvl5pPr>
          </a:lstStyle>
          <a:p>
            <a:pPr lvl="0"/>
            <a:r>
              <a:rPr lang="en-GB" noProof="0"/>
              <a:t>*Click to add footnotes</a:t>
            </a:r>
          </a:p>
        </p:txBody>
      </p:sp>
      <p:sp>
        <p:nvSpPr>
          <p:cNvPr id="3" name="Date">
            <a:extLst>
              <a:ext uri="{FF2B5EF4-FFF2-40B4-BE49-F238E27FC236}">
                <a16:creationId xmlns:a16="http://schemas.microsoft.com/office/drawing/2014/main" id="{C57FF860-80C4-F544-9349-277B28F447FB}"/>
              </a:ext>
            </a:extLst>
          </p:cNvPr>
          <p:cNvSpPr>
            <a:spLocks noGrp="1"/>
          </p:cNvSpPr>
          <p:nvPr>
            <p:ph type="dt" sz="half" idx="10"/>
          </p:nvPr>
        </p:nvSpPr>
        <p:spPr/>
        <p:txBody>
          <a:bodyPr/>
          <a:lstStyle/>
          <a:p>
            <a:fld id="{C3AF8843-DF7D-46A7-BD3F-B7BC1B25B00B}" type="datetime1">
              <a:rPr lang="sv-SE" noProof="0" smtClean="0"/>
              <a:t>2025-09-04</a:t>
            </a:fld>
            <a:endParaRPr lang="en-GB" noProof="0"/>
          </a:p>
        </p:txBody>
      </p:sp>
      <p:sp>
        <p:nvSpPr>
          <p:cNvPr id="4" name="Number">
            <a:extLst>
              <a:ext uri="{FF2B5EF4-FFF2-40B4-BE49-F238E27FC236}">
                <a16:creationId xmlns:a16="http://schemas.microsoft.com/office/drawing/2014/main" id="{61938E86-6CF5-9C42-AB2F-96E9B547A11F}"/>
              </a:ext>
            </a:extLst>
          </p:cNvPr>
          <p:cNvSpPr>
            <a:spLocks noGrp="1"/>
          </p:cNvSpPr>
          <p:nvPr>
            <p:ph type="sldNum" sz="quarter" idx="11"/>
          </p:nvPr>
        </p:nvSpPr>
        <p:spPr/>
        <p:txBody>
          <a:bodyPr/>
          <a:lstStyle/>
          <a:p>
            <a:fld id="{17CD396C-6A52-4D5A-BAE3-92A1CC3BBDE0}" type="slidenum">
              <a:rPr lang="en-GB" noProof="0" smtClean="0"/>
              <a:pPr/>
              <a:t>‹nr.›</a:t>
            </a:fld>
            <a:endParaRPr lang="en-GB" noProof="0"/>
          </a:p>
        </p:txBody>
      </p:sp>
      <p:sp>
        <p:nvSpPr>
          <p:cNvPr id="13" name="Footer">
            <a:extLst>
              <a:ext uri="{FF2B5EF4-FFF2-40B4-BE49-F238E27FC236}">
                <a16:creationId xmlns:a16="http://schemas.microsoft.com/office/drawing/2014/main" id="{2173EA1A-9025-DF4D-9E94-FCEDD41FABF6}"/>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202055919"/>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Agenda Arrows">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743314A-E9EC-4F47-580C-4632AB725844}"/>
              </a:ext>
            </a:extLst>
          </p:cNvPr>
          <p:cNvSpPr/>
          <p:nvPr userDrawn="1"/>
        </p:nvSpPr>
        <p:spPr>
          <a:xfrm>
            <a:off x="5940425" y="158750"/>
            <a:ext cx="144462" cy="4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Image">
            <a:extLst>
              <a:ext uri="{FF2B5EF4-FFF2-40B4-BE49-F238E27FC236}">
                <a16:creationId xmlns:a16="http://schemas.microsoft.com/office/drawing/2014/main" id="{69385D67-02A2-3847-B925-568E12036F00}"/>
              </a:ext>
            </a:extLst>
          </p:cNvPr>
          <p:cNvSpPr>
            <a:spLocks noGrp="1"/>
          </p:cNvSpPr>
          <p:nvPr>
            <p:ph type="pic" sz="quarter" idx="15" hasCustomPrompt="1"/>
          </p:nvPr>
        </p:nvSpPr>
        <p:spPr>
          <a:xfrm>
            <a:off x="6084887" y="158750"/>
            <a:ext cx="2879725" cy="4681538"/>
          </a:xfrm>
          <a:blipFill dpi="0" rotWithShape="1">
            <a:blip r:embed="rId2"/>
            <a:srcRect/>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17" name="Title">
            <a:extLst>
              <a:ext uri="{FF2B5EF4-FFF2-40B4-BE49-F238E27FC236}">
                <a16:creationId xmlns:a16="http://schemas.microsoft.com/office/drawing/2014/main" id="{2A7B5CC4-3731-AB42-B5BE-731595BD8458}"/>
              </a:ext>
            </a:extLst>
          </p:cNvPr>
          <p:cNvSpPr>
            <a:spLocks noGrp="1"/>
          </p:cNvSpPr>
          <p:nvPr>
            <p:ph type="title" hasCustomPrompt="1"/>
          </p:nvPr>
        </p:nvSpPr>
        <p:spPr>
          <a:xfrm>
            <a:off x="323850" y="239375"/>
            <a:ext cx="5616574" cy="625283"/>
          </a:xfrm>
        </p:spPr>
        <p:txBody>
          <a:bodyPr rIns="216000"/>
          <a:lstStyle>
            <a:lvl1pPr>
              <a:defRPr sz="3000" spc="-70" baseline="0"/>
            </a:lvl1pPr>
          </a:lstStyle>
          <a:p>
            <a:r>
              <a:rPr lang="en-GB"/>
              <a:t>Add agenda headline</a:t>
            </a:r>
          </a:p>
        </p:txBody>
      </p:sp>
      <p:sp>
        <p:nvSpPr>
          <p:cNvPr id="5" name="Text">
            <a:extLst>
              <a:ext uri="{FF2B5EF4-FFF2-40B4-BE49-F238E27FC236}">
                <a16:creationId xmlns:a16="http://schemas.microsoft.com/office/drawing/2014/main" id="{DE6EA794-E34B-EB7F-E8B2-70581E055E96}"/>
              </a:ext>
            </a:extLst>
          </p:cNvPr>
          <p:cNvSpPr>
            <a:spLocks noGrp="1"/>
          </p:cNvSpPr>
          <p:nvPr>
            <p:ph type="body" sz="quarter" idx="16"/>
          </p:nvPr>
        </p:nvSpPr>
        <p:spPr>
          <a:xfrm>
            <a:off x="323849" y="1093788"/>
            <a:ext cx="5616575" cy="3529012"/>
          </a:xfrm>
        </p:spPr>
        <p:txBody>
          <a:bodyPr rIns="216000"/>
          <a:lstStyle>
            <a:lvl1pPr marL="342000" indent="-342000">
              <a:lnSpc>
                <a:spcPct val="95000"/>
              </a:lnSpc>
              <a:spcBef>
                <a:spcPts val="1000"/>
              </a:spcBef>
              <a:buFontTx/>
              <a:buBlip>
                <a:blip r:embed="rId3">
                  <a:extLst>
                    <a:ext uri="{96DAC541-7B7A-43D3-8B79-37D633B846F1}">
                      <asvg:svgBlip xmlns:asvg="http://schemas.microsoft.com/office/drawing/2016/SVG/main" r:embed="rId4"/>
                    </a:ext>
                  </a:extLst>
                </a:blip>
              </a:buBlip>
              <a:defRPr sz="1800" b="1"/>
            </a:lvl1pPr>
            <a:lvl2pPr marL="342000" indent="-342000">
              <a:spcBef>
                <a:spcPts val="0"/>
              </a:spcBef>
              <a:buFontTx/>
              <a:buBlip>
                <a:blip r:embed="rId5"/>
              </a:buBlip>
              <a:defRPr sz="1400"/>
            </a:lvl2pPr>
            <a:lvl3pPr marL="342000" indent="-342000">
              <a:spcBef>
                <a:spcPts val="0"/>
              </a:spcBef>
              <a:spcAft>
                <a:spcPts val="0"/>
              </a:spcAft>
              <a:buFontTx/>
              <a:buBlip>
                <a:blip r:embed="rId5"/>
              </a:buBlip>
              <a:defRPr>
                <a:solidFill>
                  <a:schemeClr val="tx1"/>
                </a:solidFill>
              </a:defRPr>
            </a:lvl3pPr>
          </a:lstStyle>
          <a:p>
            <a:pPr lvl="0"/>
            <a:r>
              <a:rPr lang="sv-SE"/>
              <a:t>Klicka här för att ändra format på bakgrundstexten</a:t>
            </a:r>
          </a:p>
          <a:p>
            <a:pPr lvl="1"/>
            <a:r>
              <a:rPr lang="sv-SE"/>
              <a:t>Nivå två</a:t>
            </a:r>
          </a:p>
          <a:p>
            <a:pPr lvl="2"/>
            <a:r>
              <a:rPr lang="sv-SE"/>
              <a:t>Nivå tre</a:t>
            </a:r>
          </a:p>
        </p:txBody>
      </p:sp>
      <p:sp>
        <p:nvSpPr>
          <p:cNvPr id="38" name="Date">
            <a:extLst>
              <a:ext uri="{FF2B5EF4-FFF2-40B4-BE49-F238E27FC236}">
                <a16:creationId xmlns:a16="http://schemas.microsoft.com/office/drawing/2014/main" id="{B7D04508-015B-A24C-A068-9517A03041E5}"/>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02C53172-C0CA-4C5C-98B5-8C4648207078}" type="datetime1">
              <a:rPr lang="sv-SE" noProof="0" smtClean="0"/>
              <a:t>2025-09-04</a:t>
            </a:fld>
            <a:endParaRPr lang="en-GB" noProof="0"/>
          </a:p>
        </p:txBody>
      </p:sp>
      <p:sp>
        <p:nvSpPr>
          <p:cNvPr id="39" name="Number">
            <a:extLst>
              <a:ext uri="{FF2B5EF4-FFF2-40B4-BE49-F238E27FC236}">
                <a16:creationId xmlns:a16="http://schemas.microsoft.com/office/drawing/2014/main" id="{24E3E452-24F0-1B44-9014-429AC576B5B6}"/>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3" name="Footer">
            <a:extLst>
              <a:ext uri="{FF2B5EF4-FFF2-40B4-BE49-F238E27FC236}">
                <a16:creationId xmlns:a16="http://schemas.microsoft.com/office/drawing/2014/main" id="{B10204F0-D72F-7C43-9047-C52F851EBA3E}"/>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2882539785"/>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Two Charts and Highligh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62FAC38-40B2-83EF-759F-0D5F67F8843A}"/>
              </a:ext>
            </a:extLst>
          </p:cNvPr>
          <p:cNvSpPr/>
          <p:nvPr userDrawn="1"/>
        </p:nvSpPr>
        <p:spPr>
          <a:xfrm>
            <a:off x="5940425" y="158750"/>
            <a:ext cx="144462" cy="4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ktangel 16">
            <a:extLst>
              <a:ext uri="{FF2B5EF4-FFF2-40B4-BE49-F238E27FC236}">
                <a16:creationId xmlns:a16="http://schemas.microsoft.com/office/drawing/2014/main" id="{B9AB2759-9287-7F4F-9632-FB7BB2A7D5E4}"/>
              </a:ext>
            </a:extLst>
          </p:cNvPr>
          <p:cNvSpPr/>
          <p:nvPr userDrawn="1"/>
        </p:nvSpPr>
        <p:spPr>
          <a:xfrm>
            <a:off x="179388" y="158750"/>
            <a:ext cx="5761037" cy="46815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6" name="Title">
            <a:extLst>
              <a:ext uri="{FF2B5EF4-FFF2-40B4-BE49-F238E27FC236}">
                <a16:creationId xmlns:a16="http://schemas.microsoft.com/office/drawing/2014/main" id="{29C1BAB5-302C-E24B-AF46-F5810100CE40}"/>
              </a:ext>
            </a:extLst>
          </p:cNvPr>
          <p:cNvSpPr>
            <a:spLocks noGrp="1"/>
          </p:cNvSpPr>
          <p:nvPr>
            <p:ph type="title" hasCustomPrompt="1"/>
          </p:nvPr>
        </p:nvSpPr>
        <p:spPr>
          <a:xfrm>
            <a:off x="323850" y="545326"/>
            <a:ext cx="5614303" cy="741454"/>
          </a:xfrm>
        </p:spPr>
        <p:txBody>
          <a:bodyPr rIns="216000"/>
          <a:lstStyle>
            <a:lvl1pPr>
              <a:defRPr spc="-30" baseline="0"/>
            </a:lvl1pPr>
          </a:lstStyle>
          <a:p>
            <a:r>
              <a:rPr lang="en-GB" noProof="0"/>
              <a:t>Click to add a headline of maximum two lines</a:t>
            </a:r>
          </a:p>
        </p:txBody>
      </p:sp>
      <p:sp>
        <p:nvSpPr>
          <p:cNvPr id="9" name="Navigation">
            <a:extLst>
              <a:ext uri="{FF2B5EF4-FFF2-40B4-BE49-F238E27FC236}">
                <a16:creationId xmlns:a16="http://schemas.microsoft.com/office/drawing/2014/main" id="{03424855-B277-8744-9C85-9975925B8200}"/>
              </a:ext>
            </a:extLst>
          </p:cNvPr>
          <p:cNvSpPr>
            <a:spLocks noGrp="1"/>
          </p:cNvSpPr>
          <p:nvPr>
            <p:ph type="body" sz="quarter" idx="14" hasCustomPrompt="1"/>
          </p:nvPr>
        </p:nvSpPr>
        <p:spPr>
          <a:xfrm>
            <a:off x="323849" y="276226"/>
            <a:ext cx="5614303" cy="276999"/>
          </a:xfrm>
        </p:spPr>
        <p:txBody>
          <a:bodyPr lIns="111600" rIns="216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a:t>
            </a:r>
            <a:r>
              <a:rPr lang="en-GB" noProof="0" err="1"/>
              <a:t>subheader</a:t>
            </a:r>
            <a:endParaRPr lang="en-GB" noProof="0"/>
          </a:p>
        </p:txBody>
      </p:sp>
      <p:sp>
        <p:nvSpPr>
          <p:cNvPr id="21" name="Subheader 1">
            <a:extLst>
              <a:ext uri="{FF2B5EF4-FFF2-40B4-BE49-F238E27FC236}">
                <a16:creationId xmlns:a16="http://schemas.microsoft.com/office/drawing/2014/main" id="{57967130-C256-E443-BF6D-9CFC31CE5F76}"/>
              </a:ext>
            </a:extLst>
          </p:cNvPr>
          <p:cNvSpPr>
            <a:spLocks noGrp="1"/>
          </p:cNvSpPr>
          <p:nvPr>
            <p:ph type="body" sz="quarter" idx="18" hasCustomPrompt="1"/>
          </p:nvPr>
        </p:nvSpPr>
        <p:spPr>
          <a:xfrm>
            <a:off x="323848" y="1360488"/>
            <a:ext cx="5614303" cy="307568"/>
          </a:xfrm>
        </p:spPr>
        <p:txBody>
          <a:bodyPr lIns="97200" rIns="216000"/>
          <a:lstStyle>
            <a:lvl1pPr marL="0" indent="0" algn="l">
              <a:lnSpc>
                <a:spcPct val="95000"/>
              </a:lnSpc>
              <a:spcBef>
                <a:spcPts val="0"/>
              </a:spcBef>
              <a:buNone/>
              <a:tabLst/>
              <a:defRPr sz="1200" b="1" spc="0" baseline="0"/>
            </a:lvl1pPr>
            <a:lvl2pPr marL="14288" indent="0" algn="ctr">
              <a:tabLst/>
              <a:defRPr/>
            </a:lvl2pPr>
            <a:lvl3pPr marL="14288" indent="0" algn="ctr">
              <a:tabLst/>
              <a:defRPr/>
            </a:lvl3pPr>
            <a:lvl4pPr marL="14288" indent="0" algn="ctr">
              <a:tabLst/>
              <a:defRPr/>
            </a:lvl4pPr>
            <a:lvl5pPr marL="14288" indent="0" algn="ctr">
              <a:tabLst/>
              <a:defRPr/>
            </a:lvl5pPr>
          </a:lstStyle>
          <a:p>
            <a:pPr lvl="0"/>
            <a:r>
              <a:rPr lang="en-GB" noProof="0"/>
              <a:t>Click to add </a:t>
            </a:r>
            <a:r>
              <a:rPr lang="en-GB" noProof="0" err="1"/>
              <a:t>subheader</a:t>
            </a:r>
            <a:endParaRPr lang="en-GB" noProof="0"/>
          </a:p>
        </p:txBody>
      </p:sp>
      <p:sp>
        <p:nvSpPr>
          <p:cNvPr id="22" name="Chart 1">
            <a:extLst>
              <a:ext uri="{FF2B5EF4-FFF2-40B4-BE49-F238E27FC236}">
                <a16:creationId xmlns:a16="http://schemas.microsoft.com/office/drawing/2014/main" id="{C416A6EE-D97D-0D43-917F-3B0293FCF6E8}"/>
              </a:ext>
            </a:extLst>
          </p:cNvPr>
          <p:cNvSpPr>
            <a:spLocks noGrp="1"/>
          </p:cNvSpPr>
          <p:nvPr>
            <p:ph type="chart" sz="quarter" idx="15" hasCustomPrompt="1"/>
          </p:nvPr>
        </p:nvSpPr>
        <p:spPr>
          <a:xfrm>
            <a:off x="323850" y="1716712"/>
            <a:ext cx="2733334" cy="2881463"/>
          </a:xfrm>
        </p:spPr>
        <p:txBody>
          <a:bodyPr/>
          <a:lstStyle>
            <a:lvl1pPr algn="ctr">
              <a:buNone/>
              <a:defRPr sz="800"/>
            </a:lvl1pPr>
          </a:lstStyle>
          <a:p>
            <a:r>
              <a:rPr lang="en-GB" noProof="0"/>
              <a:t>Click on the icon to add chart</a:t>
            </a:r>
          </a:p>
        </p:txBody>
      </p:sp>
      <p:sp>
        <p:nvSpPr>
          <p:cNvPr id="13" name="Chart 2">
            <a:extLst>
              <a:ext uri="{FF2B5EF4-FFF2-40B4-BE49-F238E27FC236}">
                <a16:creationId xmlns:a16="http://schemas.microsoft.com/office/drawing/2014/main" id="{C435EF76-3305-C143-8829-2108851DBC6F}"/>
              </a:ext>
            </a:extLst>
          </p:cNvPr>
          <p:cNvSpPr>
            <a:spLocks noGrp="1"/>
          </p:cNvSpPr>
          <p:nvPr>
            <p:ph type="chart" sz="quarter" idx="23" hasCustomPrompt="1"/>
          </p:nvPr>
        </p:nvSpPr>
        <p:spPr>
          <a:xfrm>
            <a:off x="3204820" y="1716712"/>
            <a:ext cx="2733334" cy="2881463"/>
          </a:xfrm>
        </p:spPr>
        <p:txBody>
          <a:bodyPr/>
          <a:lstStyle>
            <a:lvl1pPr algn="ctr">
              <a:buNone/>
              <a:defRPr sz="800"/>
            </a:lvl1pPr>
          </a:lstStyle>
          <a:p>
            <a:r>
              <a:rPr lang="en-GB" noProof="0"/>
              <a:t>Click on the icon to add chart</a:t>
            </a:r>
          </a:p>
        </p:txBody>
      </p:sp>
      <p:sp>
        <p:nvSpPr>
          <p:cNvPr id="24" name="Subheader 2">
            <a:extLst>
              <a:ext uri="{FF2B5EF4-FFF2-40B4-BE49-F238E27FC236}">
                <a16:creationId xmlns:a16="http://schemas.microsoft.com/office/drawing/2014/main" id="{C8438C09-FD66-224E-AF0B-31D8EABA1ADD}"/>
              </a:ext>
            </a:extLst>
          </p:cNvPr>
          <p:cNvSpPr>
            <a:spLocks noGrp="1"/>
          </p:cNvSpPr>
          <p:nvPr>
            <p:ph type="body" sz="quarter" idx="20" hasCustomPrompt="1"/>
          </p:nvPr>
        </p:nvSpPr>
        <p:spPr>
          <a:xfrm>
            <a:off x="6088061" y="1360488"/>
            <a:ext cx="2732090" cy="305634"/>
          </a:xfrm>
        </p:spPr>
        <p:txBody>
          <a:bodyPr lIns="216000" rIns="216000"/>
          <a:lstStyle>
            <a:lvl1pPr marL="0" indent="0" algn="l">
              <a:lnSpc>
                <a:spcPct val="95000"/>
              </a:lnSpc>
              <a:spcBef>
                <a:spcPts val="0"/>
              </a:spcBef>
              <a:buNone/>
              <a:tabLst/>
              <a:defRPr sz="1200" b="1" spc="0" baseline="0"/>
            </a:lvl1pPr>
            <a:lvl2pPr marL="14288" indent="0" algn="ctr">
              <a:tabLst/>
              <a:defRPr/>
            </a:lvl2pPr>
            <a:lvl3pPr marL="14288" indent="0" algn="ctr">
              <a:tabLst/>
              <a:defRPr/>
            </a:lvl3pPr>
            <a:lvl4pPr marL="14288" indent="0" algn="ctr">
              <a:tabLst/>
              <a:defRPr/>
            </a:lvl4pPr>
            <a:lvl5pPr marL="14288" indent="0" algn="ctr">
              <a:tabLst/>
              <a:defRPr/>
            </a:lvl5pPr>
          </a:lstStyle>
          <a:p>
            <a:pPr lvl="0"/>
            <a:r>
              <a:rPr lang="en-GB" noProof="0"/>
              <a:t>Click to add </a:t>
            </a:r>
            <a:r>
              <a:rPr lang="en-GB" noProof="0" err="1"/>
              <a:t>subheader</a:t>
            </a:r>
            <a:endParaRPr lang="en-GB" noProof="0"/>
          </a:p>
        </p:txBody>
      </p:sp>
      <p:sp>
        <p:nvSpPr>
          <p:cNvPr id="10" name="Text">
            <a:extLst>
              <a:ext uri="{FF2B5EF4-FFF2-40B4-BE49-F238E27FC236}">
                <a16:creationId xmlns:a16="http://schemas.microsoft.com/office/drawing/2014/main" id="{3A47C77C-C3F9-B141-87EA-F0CE7BF31725}"/>
              </a:ext>
            </a:extLst>
          </p:cNvPr>
          <p:cNvSpPr>
            <a:spLocks noGrp="1"/>
          </p:cNvSpPr>
          <p:nvPr>
            <p:ph type="body" sz="quarter" idx="22" hasCustomPrompt="1"/>
          </p:nvPr>
        </p:nvSpPr>
        <p:spPr>
          <a:xfrm>
            <a:off x="6088058" y="1758507"/>
            <a:ext cx="2732092" cy="2839668"/>
          </a:xfrm>
        </p:spPr>
        <p:txBody>
          <a:bodyPr lIns="216000" rIns="216000"/>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 name="Notes">
            <a:extLst>
              <a:ext uri="{FF2B5EF4-FFF2-40B4-BE49-F238E27FC236}">
                <a16:creationId xmlns:a16="http://schemas.microsoft.com/office/drawing/2014/main" id="{A61EA537-3BAF-5F77-A3F2-B71C11AF5D17}"/>
              </a:ext>
            </a:extLst>
          </p:cNvPr>
          <p:cNvSpPr>
            <a:spLocks noGrp="1"/>
          </p:cNvSpPr>
          <p:nvPr>
            <p:ph type="body" sz="quarter" idx="19" hasCustomPrompt="1"/>
          </p:nvPr>
        </p:nvSpPr>
        <p:spPr>
          <a:xfrm>
            <a:off x="323850" y="4695825"/>
            <a:ext cx="4176715" cy="144463"/>
          </a:xfrm>
        </p:spPr>
        <p:txBody>
          <a:bodyPr lIns="111600" tIns="0" rIns="216000" bIns="18000" anchor="b"/>
          <a:lstStyle>
            <a:lvl1pPr marL="0" indent="0">
              <a:spcBef>
                <a:spcPts val="0"/>
              </a:spcBef>
              <a:buNone/>
              <a:tabLst/>
              <a:defRPr sz="600"/>
            </a:lvl1pPr>
            <a:lvl2pPr>
              <a:buNone/>
              <a:defRPr sz="800"/>
            </a:lvl2pPr>
            <a:lvl3pPr>
              <a:buNone/>
              <a:defRPr sz="800"/>
            </a:lvl3pPr>
            <a:lvl4pPr>
              <a:buNone/>
              <a:defRPr sz="800"/>
            </a:lvl4pPr>
            <a:lvl5pPr>
              <a:buNone/>
              <a:defRPr sz="800"/>
            </a:lvl5pPr>
          </a:lstStyle>
          <a:p>
            <a:pPr lvl="0"/>
            <a:r>
              <a:rPr lang="en-GB" noProof="0"/>
              <a:t>*Click to add footnotes</a:t>
            </a:r>
          </a:p>
        </p:txBody>
      </p:sp>
      <p:sp>
        <p:nvSpPr>
          <p:cNvPr id="3" name="Date">
            <a:extLst>
              <a:ext uri="{FF2B5EF4-FFF2-40B4-BE49-F238E27FC236}">
                <a16:creationId xmlns:a16="http://schemas.microsoft.com/office/drawing/2014/main" id="{C57FF860-80C4-F544-9349-277B28F447FB}"/>
              </a:ext>
            </a:extLst>
          </p:cNvPr>
          <p:cNvSpPr>
            <a:spLocks noGrp="1"/>
          </p:cNvSpPr>
          <p:nvPr>
            <p:ph type="dt" sz="half" idx="10"/>
          </p:nvPr>
        </p:nvSpPr>
        <p:spPr/>
        <p:txBody>
          <a:bodyPr/>
          <a:lstStyle/>
          <a:p>
            <a:fld id="{0974D2FD-9A60-42A2-AA21-328FDC257C68}" type="datetime1">
              <a:rPr lang="sv-SE" noProof="0" smtClean="0"/>
              <a:t>2025-09-04</a:t>
            </a:fld>
            <a:endParaRPr lang="en-GB" noProof="0"/>
          </a:p>
        </p:txBody>
      </p:sp>
      <p:sp>
        <p:nvSpPr>
          <p:cNvPr id="4" name="Number">
            <a:extLst>
              <a:ext uri="{FF2B5EF4-FFF2-40B4-BE49-F238E27FC236}">
                <a16:creationId xmlns:a16="http://schemas.microsoft.com/office/drawing/2014/main" id="{61938E86-6CF5-9C42-AB2F-96E9B547A11F}"/>
              </a:ext>
            </a:extLst>
          </p:cNvPr>
          <p:cNvSpPr>
            <a:spLocks noGrp="1"/>
          </p:cNvSpPr>
          <p:nvPr>
            <p:ph type="sldNum" sz="quarter" idx="11"/>
          </p:nvPr>
        </p:nvSpPr>
        <p:spPr/>
        <p:txBody>
          <a:bodyPr/>
          <a:lstStyle/>
          <a:p>
            <a:fld id="{17CD396C-6A52-4D5A-BAE3-92A1CC3BBDE0}" type="slidenum">
              <a:rPr lang="en-GB" noProof="0" smtClean="0"/>
              <a:pPr/>
              <a:t>‹nr.›</a:t>
            </a:fld>
            <a:endParaRPr lang="en-GB" noProof="0"/>
          </a:p>
        </p:txBody>
      </p:sp>
      <p:sp>
        <p:nvSpPr>
          <p:cNvPr id="15" name="Footer">
            <a:extLst>
              <a:ext uri="{FF2B5EF4-FFF2-40B4-BE49-F238E27FC236}">
                <a16:creationId xmlns:a16="http://schemas.microsoft.com/office/drawing/2014/main" id="{0A23D4E7-7D10-3848-B960-D1C565A39F03}"/>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291424385"/>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 Three Charts">
    <p:spTree>
      <p:nvGrpSpPr>
        <p:cNvPr id="1" name=""/>
        <p:cNvGrpSpPr/>
        <p:nvPr/>
      </p:nvGrpSpPr>
      <p:grpSpPr>
        <a:xfrm>
          <a:off x="0" y="0"/>
          <a:ext cx="0" cy="0"/>
          <a:chOff x="0" y="0"/>
          <a:chExt cx="0" cy="0"/>
        </a:xfrm>
      </p:grpSpPr>
      <p:sp>
        <p:nvSpPr>
          <p:cNvPr id="17" name="Rektangel 16">
            <a:extLst>
              <a:ext uri="{FF2B5EF4-FFF2-40B4-BE49-F238E27FC236}">
                <a16:creationId xmlns:a16="http://schemas.microsoft.com/office/drawing/2014/main" id="{B9AB2759-9287-7F4F-9632-FB7BB2A7D5E4}"/>
              </a:ext>
            </a:extLst>
          </p:cNvPr>
          <p:cNvSpPr/>
          <p:nvPr userDrawn="1"/>
        </p:nvSpPr>
        <p:spPr>
          <a:xfrm>
            <a:off x="179388" y="158750"/>
            <a:ext cx="8785322" cy="46815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6" name="Title">
            <a:extLst>
              <a:ext uri="{FF2B5EF4-FFF2-40B4-BE49-F238E27FC236}">
                <a16:creationId xmlns:a16="http://schemas.microsoft.com/office/drawing/2014/main" id="{29C1BAB5-302C-E24B-AF46-F5810100CE40}"/>
              </a:ext>
            </a:extLst>
          </p:cNvPr>
          <p:cNvSpPr>
            <a:spLocks noGrp="1"/>
          </p:cNvSpPr>
          <p:nvPr>
            <p:ph type="title" hasCustomPrompt="1"/>
          </p:nvPr>
        </p:nvSpPr>
        <p:spPr>
          <a:xfrm>
            <a:off x="323850" y="545326"/>
            <a:ext cx="5614303" cy="741454"/>
          </a:xfrm>
        </p:spPr>
        <p:txBody>
          <a:bodyPr rIns="216000"/>
          <a:lstStyle>
            <a:lvl1pPr>
              <a:defRPr spc="-30" baseline="0"/>
            </a:lvl1pPr>
          </a:lstStyle>
          <a:p>
            <a:r>
              <a:rPr lang="en-GB" noProof="0"/>
              <a:t>Click to add a headline of maximum two lines</a:t>
            </a:r>
          </a:p>
        </p:txBody>
      </p:sp>
      <p:sp>
        <p:nvSpPr>
          <p:cNvPr id="9" name="Navigation">
            <a:extLst>
              <a:ext uri="{FF2B5EF4-FFF2-40B4-BE49-F238E27FC236}">
                <a16:creationId xmlns:a16="http://schemas.microsoft.com/office/drawing/2014/main" id="{03424855-B277-8744-9C85-9975925B8200}"/>
              </a:ext>
            </a:extLst>
          </p:cNvPr>
          <p:cNvSpPr>
            <a:spLocks noGrp="1"/>
          </p:cNvSpPr>
          <p:nvPr>
            <p:ph type="body" sz="quarter" idx="14" hasCustomPrompt="1"/>
          </p:nvPr>
        </p:nvSpPr>
        <p:spPr>
          <a:xfrm>
            <a:off x="323849" y="276226"/>
            <a:ext cx="5614303" cy="276999"/>
          </a:xfrm>
        </p:spPr>
        <p:txBody>
          <a:bodyPr lIns="111600" rIns="216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a:t>
            </a:r>
            <a:r>
              <a:rPr lang="en-GB" noProof="0" err="1"/>
              <a:t>subheader</a:t>
            </a:r>
            <a:endParaRPr lang="en-GB" noProof="0"/>
          </a:p>
        </p:txBody>
      </p:sp>
      <p:sp>
        <p:nvSpPr>
          <p:cNvPr id="21" name="Subheader 1">
            <a:extLst>
              <a:ext uri="{FF2B5EF4-FFF2-40B4-BE49-F238E27FC236}">
                <a16:creationId xmlns:a16="http://schemas.microsoft.com/office/drawing/2014/main" id="{57967130-C256-E443-BF6D-9CFC31CE5F76}"/>
              </a:ext>
            </a:extLst>
          </p:cNvPr>
          <p:cNvSpPr>
            <a:spLocks noGrp="1"/>
          </p:cNvSpPr>
          <p:nvPr>
            <p:ph type="body" sz="quarter" idx="18" hasCustomPrompt="1"/>
          </p:nvPr>
        </p:nvSpPr>
        <p:spPr>
          <a:xfrm>
            <a:off x="323848" y="1360488"/>
            <a:ext cx="5614303" cy="307568"/>
          </a:xfrm>
        </p:spPr>
        <p:txBody>
          <a:bodyPr lIns="97200" rIns="216000"/>
          <a:lstStyle>
            <a:lvl1pPr marL="0" indent="0" algn="l">
              <a:lnSpc>
                <a:spcPct val="95000"/>
              </a:lnSpc>
              <a:spcBef>
                <a:spcPts val="0"/>
              </a:spcBef>
              <a:buNone/>
              <a:tabLst/>
              <a:defRPr sz="1200" b="1" spc="0" baseline="0"/>
            </a:lvl1pPr>
            <a:lvl2pPr marL="14288" indent="0" algn="ctr">
              <a:tabLst/>
              <a:defRPr/>
            </a:lvl2pPr>
            <a:lvl3pPr marL="14288" indent="0" algn="ctr">
              <a:tabLst/>
              <a:defRPr/>
            </a:lvl3pPr>
            <a:lvl4pPr marL="14288" indent="0" algn="ctr">
              <a:tabLst/>
              <a:defRPr/>
            </a:lvl4pPr>
            <a:lvl5pPr marL="14288" indent="0" algn="ctr">
              <a:tabLst/>
              <a:defRPr/>
            </a:lvl5pPr>
          </a:lstStyle>
          <a:p>
            <a:pPr lvl="0"/>
            <a:r>
              <a:rPr lang="en-GB" noProof="0"/>
              <a:t>Click to add </a:t>
            </a:r>
            <a:r>
              <a:rPr lang="en-GB" noProof="0" err="1"/>
              <a:t>subheader</a:t>
            </a:r>
            <a:endParaRPr lang="en-GB" noProof="0"/>
          </a:p>
        </p:txBody>
      </p:sp>
      <p:sp>
        <p:nvSpPr>
          <p:cNvPr id="22" name="Chart 1">
            <a:extLst>
              <a:ext uri="{FF2B5EF4-FFF2-40B4-BE49-F238E27FC236}">
                <a16:creationId xmlns:a16="http://schemas.microsoft.com/office/drawing/2014/main" id="{C416A6EE-D97D-0D43-917F-3B0293FCF6E8}"/>
              </a:ext>
            </a:extLst>
          </p:cNvPr>
          <p:cNvSpPr>
            <a:spLocks noGrp="1"/>
          </p:cNvSpPr>
          <p:nvPr>
            <p:ph type="chart" sz="quarter" idx="15" hasCustomPrompt="1"/>
          </p:nvPr>
        </p:nvSpPr>
        <p:spPr>
          <a:xfrm>
            <a:off x="323850" y="1716712"/>
            <a:ext cx="2733334" cy="2881463"/>
          </a:xfrm>
        </p:spPr>
        <p:txBody>
          <a:bodyPr/>
          <a:lstStyle>
            <a:lvl1pPr algn="ctr">
              <a:buNone/>
              <a:defRPr sz="800"/>
            </a:lvl1pPr>
          </a:lstStyle>
          <a:p>
            <a:r>
              <a:rPr lang="en-GB" noProof="0"/>
              <a:t>Click on the icon to add chart</a:t>
            </a:r>
          </a:p>
        </p:txBody>
      </p:sp>
      <p:sp>
        <p:nvSpPr>
          <p:cNvPr id="13" name="Chart 2">
            <a:extLst>
              <a:ext uri="{FF2B5EF4-FFF2-40B4-BE49-F238E27FC236}">
                <a16:creationId xmlns:a16="http://schemas.microsoft.com/office/drawing/2014/main" id="{C435EF76-3305-C143-8829-2108851DBC6F}"/>
              </a:ext>
            </a:extLst>
          </p:cNvPr>
          <p:cNvSpPr>
            <a:spLocks noGrp="1"/>
          </p:cNvSpPr>
          <p:nvPr>
            <p:ph type="chart" sz="quarter" idx="23" hasCustomPrompt="1"/>
          </p:nvPr>
        </p:nvSpPr>
        <p:spPr>
          <a:xfrm>
            <a:off x="3204820" y="1716712"/>
            <a:ext cx="2733334" cy="2881463"/>
          </a:xfrm>
        </p:spPr>
        <p:txBody>
          <a:bodyPr/>
          <a:lstStyle>
            <a:lvl1pPr algn="ctr">
              <a:buNone/>
              <a:defRPr sz="800"/>
            </a:lvl1pPr>
          </a:lstStyle>
          <a:p>
            <a:r>
              <a:rPr lang="en-GB" noProof="0"/>
              <a:t>Click on the icon to add chart</a:t>
            </a:r>
          </a:p>
        </p:txBody>
      </p:sp>
      <p:sp>
        <p:nvSpPr>
          <p:cNvPr id="2" name="Notes">
            <a:extLst>
              <a:ext uri="{FF2B5EF4-FFF2-40B4-BE49-F238E27FC236}">
                <a16:creationId xmlns:a16="http://schemas.microsoft.com/office/drawing/2014/main" id="{A61EA537-3BAF-5F77-A3F2-B71C11AF5D17}"/>
              </a:ext>
            </a:extLst>
          </p:cNvPr>
          <p:cNvSpPr>
            <a:spLocks noGrp="1"/>
          </p:cNvSpPr>
          <p:nvPr>
            <p:ph type="body" sz="quarter" idx="19" hasCustomPrompt="1"/>
          </p:nvPr>
        </p:nvSpPr>
        <p:spPr>
          <a:xfrm>
            <a:off x="323850" y="4695825"/>
            <a:ext cx="4176715" cy="144463"/>
          </a:xfrm>
        </p:spPr>
        <p:txBody>
          <a:bodyPr lIns="111600" tIns="0" rIns="216000" bIns="18000" anchor="b"/>
          <a:lstStyle>
            <a:lvl1pPr marL="0" indent="0">
              <a:spcBef>
                <a:spcPts val="0"/>
              </a:spcBef>
              <a:buNone/>
              <a:tabLst/>
              <a:defRPr sz="600"/>
            </a:lvl1pPr>
            <a:lvl2pPr>
              <a:buNone/>
              <a:defRPr sz="800"/>
            </a:lvl2pPr>
            <a:lvl3pPr>
              <a:buNone/>
              <a:defRPr sz="800"/>
            </a:lvl3pPr>
            <a:lvl4pPr>
              <a:buNone/>
              <a:defRPr sz="800"/>
            </a:lvl4pPr>
            <a:lvl5pPr>
              <a:buNone/>
              <a:defRPr sz="800"/>
            </a:lvl5pPr>
          </a:lstStyle>
          <a:p>
            <a:pPr lvl="0"/>
            <a:r>
              <a:rPr lang="en-GB" noProof="0"/>
              <a:t>*Click to add footnotes</a:t>
            </a:r>
          </a:p>
        </p:txBody>
      </p:sp>
      <p:sp>
        <p:nvSpPr>
          <p:cNvPr id="3" name="Date">
            <a:extLst>
              <a:ext uri="{FF2B5EF4-FFF2-40B4-BE49-F238E27FC236}">
                <a16:creationId xmlns:a16="http://schemas.microsoft.com/office/drawing/2014/main" id="{C57FF860-80C4-F544-9349-277B28F447FB}"/>
              </a:ext>
            </a:extLst>
          </p:cNvPr>
          <p:cNvSpPr>
            <a:spLocks noGrp="1"/>
          </p:cNvSpPr>
          <p:nvPr>
            <p:ph type="dt" sz="half" idx="10"/>
          </p:nvPr>
        </p:nvSpPr>
        <p:spPr/>
        <p:txBody>
          <a:bodyPr/>
          <a:lstStyle/>
          <a:p>
            <a:fld id="{BFA859E6-EFB6-44F5-916B-B815ED413FEC}" type="datetime1">
              <a:rPr lang="sv-SE" noProof="0" smtClean="0"/>
              <a:t>2025-09-04</a:t>
            </a:fld>
            <a:endParaRPr lang="en-GB" noProof="0"/>
          </a:p>
        </p:txBody>
      </p:sp>
      <p:sp>
        <p:nvSpPr>
          <p:cNvPr id="4" name="Number">
            <a:extLst>
              <a:ext uri="{FF2B5EF4-FFF2-40B4-BE49-F238E27FC236}">
                <a16:creationId xmlns:a16="http://schemas.microsoft.com/office/drawing/2014/main" id="{61938E86-6CF5-9C42-AB2F-96E9B547A11F}"/>
              </a:ext>
            </a:extLst>
          </p:cNvPr>
          <p:cNvSpPr>
            <a:spLocks noGrp="1"/>
          </p:cNvSpPr>
          <p:nvPr>
            <p:ph type="sldNum" sz="quarter" idx="11"/>
          </p:nvPr>
        </p:nvSpPr>
        <p:spPr/>
        <p:txBody>
          <a:bodyPr/>
          <a:lstStyle/>
          <a:p>
            <a:fld id="{17CD396C-6A52-4D5A-BAE3-92A1CC3BBDE0}" type="slidenum">
              <a:rPr lang="en-GB" noProof="0" smtClean="0"/>
              <a:pPr/>
              <a:t>‹nr.›</a:t>
            </a:fld>
            <a:endParaRPr lang="en-GB" noProof="0"/>
          </a:p>
        </p:txBody>
      </p:sp>
      <p:sp>
        <p:nvSpPr>
          <p:cNvPr id="15" name="Footer">
            <a:extLst>
              <a:ext uri="{FF2B5EF4-FFF2-40B4-BE49-F238E27FC236}">
                <a16:creationId xmlns:a16="http://schemas.microsoft.com/office/drawing/2014/main" id="{0A23D4E7-7D10-3848-B960-D1C565A39F03}"/>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
        <p:nvSpPr>
          <p:cNvPr id="5" name="Chart 2">
            <a:extLst>
              <a:ext uri="{FF2B5EF4-FFF2-40B4-BE49-F238E27FC236}">
                <a16:creationId xmlns:a16="http://schemas.microsoft.com/office/drawing/2014/main" id="{6D539B83-BF38-3DCE-B68F-40DF37A1C25D}"/>
              </a:ext>
            </a:extLst>
          </p:cNvPr>
          <p:cNvSpPr>
            <a:spLocks noGrp="1"/>
          </p:cNvSpPr>
          <p:nvPr>
            <p:ph type="chart" sz="quarter" idx="24" hasCustomPrompt="1"/>
          </p:nvPr>
        </p:nvSpPr>
        <p:spPr>
          <a:xfrm>
            <a:off x="6088060" y="1716712"/>
            <a:ext cx="2733334" cy="2881463"/>
          </a:xfrm>
        </p:spPr>
        <p:txBody>
          <a:bodyPr/>
          <a:lstStyle>
            <a:lvl1pPr algn="ctr">
              <a:buNone/>
              <a:defRPr sz="800"/>
            </a:lvl1pPr>
          </a:lstStyle>
          <a:p>
            <a:r>
              <a:rPr lang="en-GB" noProof="0"/>
              <a:t>Click on the icon to add chart</a:t>
            </a:r>
          </a:p>
        </p:txBody>
      </p:sp>
    </p:spTree>
    <p:extLst>
      <p:ext uri="{BB962C8B-B14F-4D97-AF65-F5344CB8AC3E}">
        <p14:creationId xmlns:p14="http://schemas.microsoft.com/office/powerpoint/2010/main" val="343345802"/>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 Mixe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297DDBF-EC70-EA4D-9ECA-9CCD9997BAD4}"/>
              </a:ext>
            </a:extLst>
          </p:cNvPr>
          <p:cNvSpPr/>
          <p:nvPr userDrawn="1"/>
        </p:nvSpPr>
        <p:spPr>
          <a:xfrm>
            <a:off x="5940425" y="158750"/>
            <a:ext cx="144462" cy="4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ktangel 16">
            <a:extLst>
              <a:ext uri="{FF2B5EF4-FFF2-40B4-BE49-F238E27FC236}">
                <a16:creationId xmlns:a16="http://schemas.microsoft.com/office/drawing/2014/main" id="{B9AB2759-9287-7F4F-9632-FB7BB2A7D5E4}"/>
              </a:ext>
            </a:extLst>
          </p:cNvPr>
          <p:cNvSpPr/>
          <p:nvPr userDrawn="1"/>
        </p:nvSpPr>
        <p:spPr>
          <a:xfrm>
            <a:off x="179388" y="158750"/>
            <a:ext cx="5761037" cy="46815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6" name="Title">
            <a:extLst>
              <a:ext uri="{FF2B5EF4-FFF2-40B4-BE49-F238E27FC236}">
                <a16:creationId xmlns:a16="http://schemas.microsoft.com/office/drawing/2014/main" id="{29C1BAB5-302C-E24B-AF46-F5810100CE40}"/>
              </a:ext>
            </a:extLst>
          </p:cNvPr>
          <p:cNvSpPr>
            <a:spLocks noGrp="1"/>
          </p:cNvSpPr>
          <p:nvPr>
            <p:ph type="title" hasCustomPrompt="1"/>
          </p:nvPr>
        </p:nvSpPr>
        <p:spPr>
          <a:xfrm>
            <a:off x="323851" y="545326"/>
            <a:ext cx="5616574" cy="741454"/>
          </a:xfrm>
        </p:spPr>
        <p:txBody>
          <a:bodyPr rIns="216000"/>
          <a:lstStyle>
            <a:lvl1pPr>
              <a:defRPr spc="-30" baseline="0"/>
            </a:lvl1pPr>
          </a:lstStyle>
          <a:p>
            <a:r>
              <a:rPr lang="en-GB" noProof="0"/>
              <a:t>Click to add a headline of maximum two lines</a:t>
            </a:r>
          </a:p>
        </p:txBody>
      </p:sp>
      <p:sp>
        <p:nvSpPr>
          <p:cNvPr id="9" name="Navigation">
            <a:extLst>
              <a:ext uri="{FF2B5EF4-FFF2-40B4-BE49-F238E27FC236}">
                <a16:creationId xmlns:a16="http://schemas.microsoft.com/office/drawing/2014/main" id="{03424855-B277-8744-9C85-9975925B8200}"/>
              </a:ext>
            </a:extLst>
          </p:cNvPr>
          <p:cNvSpPr>
            <a:spLocks noGrp="1"/>
          </p:cNvSpPr>
          <p:nvPr>
            <p:ph type="body" sz="quarter" idx="14" hasCustomPrompt="1"/>
          </p:nvPr>
        </p:nvSpPr>
        <p:spPr>
          <a:xfrm>
            <a:off x="323850" y="276226"/>
            <a:ext cx="5616574" cy="276999"/>
          </a:xfrm>
        </p:spPr>
        <p:txBody>
          <a:bodyPr lIns="111600" rIns="216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a:t>
            </a:r>
            <a:r>
              <a:rPr lang="en-GB" noProof="0" err="1"/>
              <a:t>subheader</a:t>
            </a:r>
            <a:endParaRPr lang="en-GB" noProof="0"/>
          </a:p>
        </p:txBody>
      </p:sp>
      <p:sp>
        <p:nvSpPr>
          <p:cNvPr id="21" name="Subheader 1">
            <a:extLst>
              <a:ext uri="{FF2B5EF4-FFF2-40B4-BE49-F238E27FC236}">
                <a16:creationId xmlns:a16="http://schemas.microsoft.com/office/drawing/2014/main" id="{57967130-C256-E443-BF6D-9CFC31CE5F76}"/>
              </a:ext>
            </a:extLst>
          </p:cNvPr>
          <p:cNvSpPr>
            <a:spLocks noGrp="1"/>
          </p:cNvSpPr>
          <p:nvPr>
            <p:ph type="body" sz="quarter" idx="18" hasCustomPrompt="1"/>
          </p:nvPr>
        </p:nvSpPr>
        <p:spPr>
          <a:xfrm>
            <a:off x="323850" y="1360488"/>
            <a:ext cx="5616574" cy="307568"/>
          </a:xfrm>
        </p:spPr>
        <p:txBody>
          <a:bodyPr lIns="97200" rIns="216000"/>
          <a:lstStyle>
            <a:lvl1pPr marL="0" indent="0" algn="l">
              <a:lnSpc>
                <a:spcPct val="95000"/>
              </a:lnSpc>
              <a:spcBef>
                <a:spcPts val="0"/>
              </a:spcBef>
              <a:buNone/>
              <a:tabLst/>
              <a:defRPr sz="1200" b="1" spc="0" baseline="0"/>
            </a:lvl1pPr>
            <a:lvl2pPr marL="14288" indent="0" algn="ctr">
              <a:tabLst/>
              <a:defRPr/>
            </a:lvl2pPr>
            <a:lvl3pPr marL="14288" indent="0" algn="ctr">
              <a:tabLst/>
              <a:defRPr/>
            </a:lvl3pPr>
            <a:lvl4pPr marL="14288" indent="0" algn="ctr">
              <a:tabLst/>
              <a:defRPr/>
            </a:lvl4pPr>
            <a:lvl5pPr marL="14288" indent="0" algn="ctr">
              <a:tabLst/>
              <a:defRPr/>
            </a:lvl5pPr>
          </a:lstStyle>
          <a:p>
            <a:pPr lvl="0"/>
            <a:r>
              <a:rPr lang="en-GB" noProof="0"/>
              <a:t>Click to add </a:t>
            </a:r>
            <a:r>
              <a:rPr lang="en-GB" noProof="0" err="1"/>
              <a:t>subheader</a:t>
            </a:r>
            <a:endParaRPr lang="en-GB" noProof="0"/>
          </a:p>
        </p:txBody>
      </p:sp>
      <p:sp>
        <p:nvSpPr>
          <p:cNvPr id="6" name="Content placeholder">
            <a:extLst>
              <a:ext uri="{FF2B5EF4-FFF2-40B4-BE49-F238E27FC236}">
                <a16:creationId xmlns:a16="http://schemas.microsoft.com/office/drawing/2014/main" id="{96AD6290-61E6-7C43-94B1-C5CC251D9CEF}"/>
              </a:ext>
            </a:extLst>
          </p:cNvPr>
          <p:cNvSpPr>
            <a:spLocks noGrp="1"/>
          </p:cNvSpPr>
          <p:nvPr>
            <p:ph sz="quarter" idx="24" hasCustomPrompt="1"/>
          </p:nvPr>
        </p:nvSpPr>
        <p:spPr>
          <a:xfrm>
            <a:off x="323851" y="1758950"/>
            <a:ext cx="5414400" cy="2838450"/>
          </a:xfrm>
        </p:spPr>
        <p:txBody>
          <a:body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4" name="Subheader 2">
            <a:extLst>
              <a:ext uri="{FF2B5EF4-FFF2-40B4-BE49-F238E27FC236}">
                <a16:creationId xmlns:a16="http://schemas.microsoft.com/office/drawing/2014/main" id="{C8438C09-FD66-224E-AF0B-31D8EABA1ADD}"/>
              </a:ext>
            </a:extLst>
          </p:cNvPr>
          <p:cNvSpPr>
            <a:spLocks noGrp="1"/>
          </p:cNvSpPr>
          <p:nvPr>
            <p:ph type="body" sz="quarter" idx="20" hasCustomPrompt="1"/>
          </p:nvPr>
        </p:nvSpPr>
        <p:spPr>
          <a:xfrm>
            <a:off x="6084888" y="1360488"/>
            <a:ext cx="2738433" cy="305634"/>
          </a:xfrm>
        </p:spPr>
        <p:txBody>
          <a:bodyPr lIns="216000" rIns="216000"/>
          <a:lstStyle>
            <a:lvl1pPr marL="0" indent="0" algn="l">
              <a:lnSpc>
                <a:spcPct val="95000"/>
              </a:lnSpc>
              <a:spcBef>
                <a:spcPts val="0"/>
              </a:spcBef>
              <a:buNone/>
              <a:tabLst/>
              <a:defRPr sz="1200" b="1" spc="0" baseline="0"/>
            </a:lvl1pPr>
            <a:lvl2pPr marL="14288" indent="0" algn="ctr">
              <a:tabLst/>
              <a:defRPr/>
            </a:lvl2pPr>
            <a:lvl3pPr marL="14288" indent="0" algn="ctr">
              <a:tabLst/>
              <a:defRPr/>
            </a:lvl3pPr>
            <a:lvl4pPr marL="14288" indent="0" algn="ctr">
              <a:tabLst/>
              <a:defRPr/>
            </a:lvl4pPr>
            <a:lvl5pPr marL="14288" indent="0" algn="ctr">
              <a:tabLst/>
              <a:defRPr/>
            </a:lvl5pPr>
          </a:lstStyle>
          <a:p>
            <a:pPr lvl="0"/>
            <a:r>
              <a:rPr lang="en-GB" noProof="0"/>
              <a:t>Click to add </a:t>
            </a:r>
            <a:r>
              <a:rPr lang="en-GB" noProof="0" err="1"/>
              <a:t>subheader</a:t>
            </a:r>
            <a:endParaRPr lang="en-GB" noProof="0"/>
          </a:p>
        </p:txBody>
      </p:sp>
      <p:sp>
        <p:nvSpPr>
          <p:cNvPr id="18" name="Content placeholder 2">
            <a:extLst>
              <a:ext uri="{FF2B5EF4-FFF2-40B4-BE49-F238E27FC236}">
                <a16:creationId xmlns:a16="http://schemas.microsoft.com/office/drawing/2014/main" id="{F809DA6C-D9F5-F441-A3F2-B90AA4BB7216}"/>
              </a:ext>
            </a:extLst>
          </p:cNvPr>
          <p:cNvSpPr>
            <a:spLocks noGrp="1"/>
          </p:cNvSpPr>
          <p:nvPr>
            <p:ph sz="quarter" idx="25" hasCustomPrompt="1"/>
          </p:nvPr>
        </p:nvSpPr>
        <p:spPr>
          <a:xfrm>
            <a:off x="6084888" y="1758950"/>
            <a:ext cx="2735262" cy="2838450"/>
          </a:xfrm>
        </p:spPr>
        <p:txBody>
          <a:bodyPr lIns="216000" rIns="216000"/>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 name="Notes">
            <a:extLst>
              <a:ext uri="{FF2B5EF4-FFF2-40B4-BE49-F238E27FC236}">
                <a16:creationId xmlns:a16="http://schemas.microsoft.com/office/drawing/2014/main" id="{61346620-45AB-719F-B29D-96FBABFBC84E}"/>
              </a:ext>
            </a:extLst>
          </p:cNvPr>
          <p:cNvSpPr>
            <a:spLocks noGrp="1"/>
          </p:cNvSpPr>
          <p:nvPr>
            <p:ph type="body" sz="quarter" idx="19" hasCustomPrompt="1"/>
          </p:nvPr>
        </p:nvSpPr>
        <p:spPr>
          <a:xfrm>
            <a:off x="323850" y="4695825"/>
            <a:ext cx="4176715" cy="144463"/>
          </a:xfrm>
        </p:spPr>
        <p:txBody>
          <a:bodyPr lIns="111600" tIns="0" rIns="216000" bIns="18000" anchor="b"/>
          <a:lstStyle>
            <a:lvl1pPr marL="0" indent="0">
              <a:spcBef>
                <a:spcPts val="0"/>
              </a:spcBef>
              <a:buNone/>
              <a:tabLst/>
              <a:defRPr sz="600"/>
            </a:lvl1pPr>
            <a:lvl2pPr>
              <a:buNone/>
              <a:defRPr sz="800"/>
            </a:lvl2pPr>
            <a:lvl3pPr>
              <a:buNone/>
              <a:defRPr sz="800"/>
            </a:lvl3pPr>
            <a:lvl4pPr>
              <a:buNone/>
              <a:defRPr sz="800"/>
            </a:lvl4pPr>
            <a:lvl5pPr>
              <a:buNone/>
              <a:defRPr sz="800"/>
            </a:lvl5pPr>
          </a:lstStyle>
          <a:p>
            <a:pPr lvl="0"/>
            <a:r>
              <a:rPr lang="en-GB" noProof="0"/>
              <a:t>*Click to add footnotes</a:t>
            </a:r>
          </a:p>
        </p:txBody>
      </p:sp>
      <p:sp>
        <p:nvSpPr>
          <p:cNvPr id="3" name="Date">
            <a:extLst>
              <a:ext uri="{FF2B5EF4-FFF2-40B4-BE49-F238E27FC236}">
                <a16:creationId xmlns:a16="http://schemas.microsoft.com/office/drawing/2014/main" id="{C57FF860-80C4-F544-9349-277B28F447FB}"/>
              </a:ext>
            </a:extLst>
          </p:cNvPr>
          <p:cNvSpPr>
            <a:spLocks noGrp="1"/>
          </p:cNvSpPr>
          <p:nvPr>
            <p:ph type="dt" sz="half" idx="10"/>
          </p:nvPr>
        </p:nvSpPr>
        <p:spPr/>
        <p:txBody>
          <a:bodyPr/>
          <a:lstStyle/>
          <a:p>
            <a:fld id="{BF8C8A3C-BA89-4FC0-BD51-7FD36E28050F}" type="datetime1">
              <a:rPr lang="sv-SE" noProof="0" smtClean="0"/>
              <a:t>2025-09-04</a:t>
            </a:fld>
            <a:endParaRPr lang="en-GB" noProof="0"/>
          </a:p>
        </p:txBody>
      </p:sp>
      <p:sp>
        <p:nvSpPr>
          <p:cNvPr id="4" name="Number">
            <a:extLst>
              <a:ext uri="{FF2B5EF4-FFF2-40B4-BE49-F238E27FC236}">
                <a16:creationId xmlns:a16="http://schemas.microsoft.com/office/drawing/2014/main" id="{61938E86-6CF5-9C42-AB2F-96E9B547A11F}"/>
              </a:ext>
            </a:extLst>
          </p:cNvPr>
          <p:cNvSpPr>
            <a:spLocks noGrp="1"/>
          </p:cNvSpPr>
          <p:nvPr>
            <p:ph type="sldNum" sz="quarter" idx="11"/>
          </p:nvPr>
        </p:nvSpPr>
        <p:spPr/>
        <p:txBody>
          <a:bodyPr/>
          <a:lstStyle/>
          <a:p>
            <a:fld id="{17CD396C-6A52-4D5A-BAE3-92A1CC3BBDE0}" type="slidenum">
              <a:rPr lang="en-GB" noProof="0" smtClean="0"/>
              <a:pPr/>
              <a:t>‹nr.›</a:t>
            </a:fld>
            <a:endParaRPr lang="en-GB" noProof="0"/>
          </a:p>
        </p:txBody>
      </p:sp>
      <p:sp>
        <p:nvSpPr>
          <p:cNvPr id="13" name="Footer">
            <a:extLst>
              <a:ext uri="{FF2B5EF4-FFF2-40B4-BE49-F238E27FC236}">
                <a16:creationId xmlns:a16="http://schemas.microsoft.com/office/drawing/2014/main" id="{8850475B-F6EB-0D47-B28D-D0F8DDA22E04}"/>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3009384215"/>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 Content and Icons">
    <p:bg>
      <p:bgPr>
        <a:solidFill>
          <a:schemeClr val="bg2"/>
        </a:solidFill>
        <a:effectLst/>
      </p:bgPr>
    </p:bg>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68FF8679-107E-66E7-7B47-AC2539CB503E}"/>
              </a:ext>
            </a:extLst>
          </p:cNvPr>
          <p:cNvSpPr/>
          <p:nvPr userDrawn="1"/>
        </p:nvSpPr>
        <p:spPr>
          <a:xfrm rot="16200000">
            <a:off x="5106125" y="993050"/>
            <a:ext cx="4716000" cy="3047400"/>
          </a:xfrm>
          <a:custGeom>
            <a:avLst/>
            <a:gdLst>
              <a:gd name="connsiteX0" fmla="*/ 4716000 w 4716000"/>
              <a:gd name="connsiteY0" fmla="*/ 0 h 3047400"/>
              <a:gd name="connsiteX1" fmla="*/ 4716000 w 4716000"/>
              <a:gd name="connsiteY1" fmla="*/ 144462 h 3047400"/>
              <a:gd name="connsiteX2" fmla="*/ 2441409 w 4716000"/>
              <a:gd name="connsiteY2" fmla="*/ 144462 h 3047400"/>
              <a:gd name="connsiteX3" fmla="*/ 2441409 w 4716000"/>
              <a:gd name="connsiteY3" fmla="*/ 3047400 h 3047400"/>
              <a:gd name="connsiteX4" fmla="*/ 2296947 w 4716000"/>
              <a:gd name="connsiteY4" fmla="*/ 3047400 h 3047400"/>
              <a:gd name="connsiteX5" fmla="*/ 2296947 w 4716000"/>
              <a:gd name="connsiteY5" fmla="*/ 144462 h 3047400"/>
              <a:gd name="connsiteX6" fmla="*/ 0 w 4716000"/>
              <a:gd name="connsiteY6" fmla="*/ 144462 h 3047400"/>
              <a:gd name="connsiteX7" fmla="*/ 0 w 4716000"/>
              <a:gd name="connsiteY7" fmla="*/ 0 h 304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16000" h="3047400">
                <a:moveTo>
                  <a:pt x="4716000" y="0"/>
                </a:moveTo>
                <a:lnTo>
                  <a:pt x="4716000" y="144462"/>
                </a:lnTo>
                <a:lnTo>
                  <a:pt x="2441409" y="144462"/>
                </a:lnTo>
                <a:lnTo>
                  <a:pt x="2441409" y="3047400"/>
                </a:lnTo>
                <a:lnTo>
                  <a:pt x="2296947" y="3047400"/>
                </a:lnTo>
                <a:lnTo>
                  <a:pt x="2296947" y="144462"/>
                </a:lnTo>
                <a:lnTo>
                  <a:pt x="0" y="144462"/>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Title">
            <a:extLst>
              <a:ext uri="{FF2B5EF4-FFF2-40B4-BE49-F238E27FC236}">
                <a16:creationId xmlns:a16="http://schemas.microsoft.com/office/drawing/2014/main" id="{29C1BAB5-302C-E24B-AF46-F5810100CE40}"/>
              </a:ext>
            </a:extLst>
          </p:cNvPr>
          <p:cNvSpPr>
            <a:spLocks noGrp="1"/>
          </p:cNvSpPr>
          <p:nvPr>
            <p:ph type="title" hasCustomPrompt="1"/>
          </p:nvPr>
        </p:nvSpPr>
        <p:spPr>
          <a:xfrm>
            <a:off x="323851" y="545326"/>
            <a:ext cx="5616574" cy="741454"/>
          </a:xfrm>
        </p:spPr>
        <p:txBody>
          <a:bodyPr rIns="216000"/>
          <a:lstStyle>
            <a:lvl1pPr>
              <a:defRPr spc="-30" baseline="0"/>
            </a:lvl1pPr>
          </a:lstStyle>
          <a:p>
            <a:r>
              <a:rPr lang="en-GB" noProof="0"/>
              <a:t>Click to add a headline of maximum two lines</a:t>
            </a:r>
          </a:p>
        </p:txBody>
      </p:sp>
      <p:sp>
        <p:nvSpPr>
          <p:cNvPr id="9" name="Navigation">
            <a:extLst>
              <a:ext uri="{FF2B5EF4-FFF2-40B4-BE49-F238E27FC236}">
                <a16:creationId xmlns:a16="http://schemas.microsoft.com/office/drawing/2014/main" id="{03424855-B277-8744-9C85-9975925B8200}"/>
              </a:ext>
            </a:extLst>
          </p:cNvPr>
          <p:cNvSpPr>
            <a:spLocks noGrp="1"/>
          </p:cNvSpPr>
          <p:nvPr>
            <p:ph type="body" sz="quarter" idx="14" hasCustomPrompt="1"/>
          </p:nvPr>
        </p:nvSpPr>
        <p:spPr>
          <a:xfrm>
            <a:off x="323850" y="276226"/>
            <a:ext cx="5616574" cy="276999"/>
          </a:xfrm>
        </p:spPr>
        <p:txBody>
          <a:bodyPr lIns="111600" rIns="216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a:t>
            </a:r>
            <a:r>
              <a:rPr lang="en-GB" noProof="0" err="1"/>
              <a:t>subheader</a:t>
            </a:r>
            <a:endParaRPr lang="en-GB" noProof="0"/>
          </a:p>
        </p:txBody>
      </p:sp>
      <p:sp>
        <p:nvSpPr>
          <p:cNvPr id="21" name="Subheader 1">
            <a:extLst>
              <a:ext uri="{FF2B5EF4-FFF2-40B4-BE49-F238E27FC236}">
                <a16:creationId xmlns:a16="http://schemas.microsoft.com/office/drawing/2014/main" id="{57967130-C256-E443-BF6D-9CFC31CE5F76}"/>
              </a:ext>
            </a:extLst>
          </p:cNvPr>
          <p:cNvSpPr>
            <a:spLocks noGrp="1"/>
          </p:cNvSpPr>
          <p:nvPr>
            <p:ph type="body" sz="quarter" idx="18" hasCustomPrompt="1"/>
          </p:nvPr>
        </p:nvSpPr>
        <p:spPr>
          <a:xfrm>
            <a:off x="323850" y="1360488"/>
            <a:ext cx="5616574" cy="307568"/>
          </a:xfrm>
        </p:spPr>
        <p:txBody>
          <a:bodyPr lIns="97200" rIns="216000"/>
          <a:lstStyle>
            <a:lvl1pPr marL="0" indent="0" algn="l">
              <a:lnSpc>
                <a:spcPct val="95000"/>
              </a:lnSpc>
              <a:spcBef>
                <a:spcPts val="0"/>
              </a:spcBef>
              <a:buNone/>
              <a:tabLst/>
              <a:defRPr sz="1200" b="1" spc="0" baseline="0"/>
            </a:lvl1pPr>
            <a:lvl2pPr marL="14288" indent="0" algn="ctr">
              <a:tabLst/>
              <a:defRPr/>
            </a:lvl2pPr>
            <a:lvl3pPr marL="14288" indent="0" algn="ctr">
              <a:tabLst/>
              <a:defRPr/>
            </a:lvl3pPr>
            <a:lvl4pPr marL="14288" indent="0" algn="ctr">
              <a:tabLst/>
              <a:defRPr/>
            </a:lvl4pPr>
            <a:lvl5pPr marL="14288" indent="0" algn="ctr">
              <a:tabLst/>
              <a:defRPr/>
            </a:lvl5pPr>
          </a:lstStyle>
          <a:p>
            <a:pPr lvl="0"/>
            <a:r>
              <a:rPr lang="en-GB" noProof="0"/>
              <a:t>Click to add </a:t>
            </a:r>
            <a:r>
              <a:rPr lang="en-GB" noProof="0" err="1"/>
              <a:t>subheader</a:t>
            </a:r>
            <a:endParaRPr lang="en-GB" noProof="0"/>
          </a:p>
        </p:txBody>
      </p:sp>
      <p:sp>
        <p:nvSpPr>
          <p:cNvPr id="6" name="Content placeholder 1">
            <a:extLst>
              <a:ext uri="{FF2B5EF4-FFF2-40B4-BE49-F238E27FC236}">
                <a16:creationId xmlns:a16="http://schemas.microsoft.com/office/drawing/2014/main" id="{96AD6290-61E6-7C43-94B1-C5CC251D9CEF}"/>
              </a:ext>
            </a:extLst>
          </p:cNvPr>
          <p:cNvSpPr>
            <a:spLocks noGrp="1"/>
          </p:cNvSpPr>
          <p:nvPr>
            <p:ph sz="quarter" idx="24" hasCustomPrompt="1"/>
          </p:nvPr>
        </p:nvSpPr>
        <p:spPr>
          <a:xfrm>
            <a:off x="323851" y="1758126"/>
            <a:ext cx="5414400" cy="2838450"/>
          </a:xfrm>
        </p:spPr>
        <p:txBody>
          <a:bodyPr/>
          <a:lstStyle/>
          <a:p>
            <a:pPr lvl="0"/>
            <a:r>
              <a:rPr lang="en-GB" noProof="0"/>
              <a:t>Click on the icons to add the desired content</a:t>
            </a:r>
          </a:p>
        </p:txBody>
      </p:sp>
      <p:sp>
        <p:nvSpPr>
          <p:cNvPr id="15" name="Icon 1">
            <a:extLst>
              <a:ext uri="{FF2B5EF4-FFF2-40B4-BE49-F238E27FC236}">
                <a16:creationId xmlns:a16="http://schemas.microsoft.com/office/drawing/2014/main" id="{B473F1D6-8119-C945-A4CE-75EC5B5E69AD}"/>
              </a:ext>
            </a:extLst>
          </p:cNvPr>
          <p:cNvSpPr>
            <a:spLocks noGrp="1" noChangeAspect="1"/>
          </p:cNvSpPr>
          <p:nvPr>
            <p:ph type="pic" sz="quarter" idx="25" hasCustomPrompt="1"/>
          </p:nvPr>
        </p:nvSpPr>
        <p:spPr>
          <a:xfrm>
            <a:off x="7128750" y="457782"/>
            <a:ext cx="792000" cy="792000"/>
          </a:xfrm>
        </p:spPr>
        <p:txBody>
          <a:bodyPr/>
          <a:lstStyle>
            <a:lvl1pPr algn="ctr">
              <a:buNone/>
              <a:defRPr sz="600"/>
            </a:lvl1pPr>
          </a:lstStyle>
          <a:p>
            <a:r>
              <a:rPr lang="en-GB" sz="800" noProof="0"/>
              <a:t>Click to add icon</a:t>
            </a:r>
            <a:endParaRPr lang="en-GB" noProof="0"/>
          </a:p>
        </p:txBody>
      </p:sp>
      <p:sp>
        <p:nvSpPr>
          <p:cNvPr id="24" name="Subheader 2">
            <a:extLst>
              <a:ext uri="{FF2B5EF4-FFF2-40B4-BE49-F238E27FC236}">
                <a16:creationId xmlns:a16="http://schemas.microsoft.com/office/drawing/2014/main" id="{C8438C09-FD66-224E-AF0B-31D8EABA1ADD}"/>
              </a:ext>
            </a:extLst>
          </p:cNvPr>
          <p:cNvSpPr>
            <a:spLocks noGrp="1"/>
          </p:cNvSpPr>
          <p:nvPr>
            <p:ph type="body" sz="quarter" idx="20" hasCustomPrompt="1"/>
          </p:nvPr>
        </p:nvSpPr>
        <p:spPr>
          <a:xfrm>
            <a:off x="6208745" y="1360488"/>
            <a:ext cx="2632010" cy="288000"/>
          </a:xfrm>
        </p:spPr>
        <p:txBody>
          <a:bodyPr lIns="144000" rIns="144000"/>
          <a:lstStyle>
            <a:lvl1pPr marL="0" indent="0" algn="ctr">
              <a:lnSpc>
                <a:spcPct val="95000"/>
              </a:lnSpc>
              <a:spcBef>
                <a:spcPts val="0"/>
              </a:spcBef>
              <a:buNone/>
              <a:tabLst/>
              <a:defRPr sz="1200" b="1" spc="0" baseline="0"/>
            </a:lvl1pPr>
            <a:lvl2pPr marL="14288" indent="0" algn="ctr">
              <a:tabLst/>
              <a:defRPr/>
            </a:lvl2pPr>
            <a:lvl3pPr marL="14288" indent="0" algn="ctr">
              <a:tabLst/>
              <a:defRPr/>
            </a:lvl3pPr>
            <a:lvl4pPr marL="14288" indent="0" algn="ctr">
              <a:tabLst/>
              <a:defRPr/>
            </a:lvl4pPr>
            <a:lvl5pPr marL="14288" indent="0" algn="ctr">
              <a:tabLst/>
              <a:defRPr/>
            </a:lvl5pPr>
          </a:lstStyle>
          <a:p>
            <a:pPr lvl="0"/>
            <a:r>
              <a:rPr lang="en-GB" noProof="0"/>
              <a:t>Click to add headline</a:t>
            </a:r>
          </a:p>
        </p:txBody>
      </p:sp>
      <p:sp>
        <p:nvSpPr>
          <p:cNvPr id="22" name="Text 1">
            <a:extLst>
              <a:ext uri="{FF2B5EF4-FFF2-40B4-BE49-F238E27FC236}">
                <a16:creationId xmlns:a16="http://schemas.microsoft.com/office/drawing/2014/main" id="{2ED96B5D-39C3-F14C-9A9F-F2BAF38C7805}"/>
              </a:ext>
            </a:extLst>
          </p:cNvPr>
          <p:cNvSpPr>
            <a:spLocks noGrp="1"/>
          </p:cNvSpPr>
          <p:nvPr>
            <p:ph type="body" sz="quarter" idx="22" hasCustomPrompt="1"/>
          </p:nvPr>
        </p:nvSpPr>
        <p:spPr>
          <a:xfrm>
            <a:off x="6208744" y="1658110"/>
            <a:ext cx="2632009" cy="594547"/>
          </a:xfrm>
        </p:spPr>
        <p:txBody>
          <a:bodyPr lIns="144000" rIns="144000"/>
          <a:lstStyle>
            <a:lvl1pPr marL="12700" indent="-12700" algn="ctr">
              <a:buNone/>
              <a:tabLst/>
              <a:defRPr/>
            </a:lvl1pPr>
            <a:lvl2pPr marL="12700" indent="-12700" algn="ctr">
              <a:buNone/>
              <a:tabLst/>
              <a:defRPr/>
            </a:lvl2pPr>
            <a:lvl3pPr marL="12700" indent="-12700" algn="ctr">
              <a:buNone/>
              <a:tabLst/>
              <a:defRPr/>
            </a:lvl3pPr>
            <a:lvl4pPr marL="12700" indent="-12700" algn="ctr">
              <a:buNone/>
              <a:tabLst/>
              <a:defRPr/>
            </a:lvl4pPr>
            <a:lvl5pPr marL="12700" indent="-12700" algn="ctr">
              <a:buNone/>
              <a:tabLst/>
              <a:defRPr/>
            </a:lvl5pPr>
          </a:lstStyle>
          <a:p>
            <a:pPr lvl="0"/>
            <a:r>
              <a:rPr lang="en-GB" noProof="0"/>
              <a:t>Click to add short description text</a:t>
            </a:r>
          </a:p>
        </p:txBody>
      </p:sp>
      <p:sp>
        <p:nvSpPr>
          <p:cNvPr id="28" name="Icon 2">
            <a:extLst>
              <a:ext uri="{FF2B5EF4-FFF2-40B4-BE49-F238E27FC236}">
                <a16:creationId xmlns:a16="http://schemas.microsoft.com/office/drawing/2014/main" id="{7EEFDE69-B589-2A48-BD46-9F307DEDE342}"/>
              </a:ext>
            </a:extLst>
          </p:cNvPr>
          <p:cNvSpPr>
            <a:spLocks noGrp="1" noChangeAspect="1"/>
          </p:cNvSpPr>
          <p:nvPr>
            <p:ph type="pic" sz="quarter" idx="27" hasCustomPrompt="1"/>
          </p:nvPr>
        </p:nvSpPr>
        <p:spPr>
          <a:xfrm>
            <a:off x="7128750" y="2858087"/>
            <a:ext cx="792000" cy="792000"/>
          </a:xfrm>
        </p:spPr>
        <p:txBody>
          <a:bodyPr/>
          <a:lstStyle>
            <a:lvl1pPr algn="ctr">
              <a:buNone/>
              <a:defRPr sz="600"/>
            </a:lvl1pPr>
          </a:lstStyle>
          <a:p>
            <a:r>
              <a:rPr lang="en-GB" sz="800" noProof="0"/>
              <a:t>Click to add icon</a:t>
            </a:r>
            <a:endParaRPr lang="en-GB" noProof="0"/>
          </a:p>
        </p:txBody>
      </p:sp>
      <p:sp>
        <p:nvSpPr>
          <p:cNvPr id="27" name="Subheader 3">
            <a:extLst>
              <a:ext uri="{FF2B5EF4-FFF2-40B4-BE49-F238E27FC236}">
                <a16:creationId xmlns:a16="http://schemas.microsoft.com/office/drawing/2014/main" id="{546ABA3A-CF5D-CA4C-B009-E33DBE688793}"/>
              </a:ext>
            </a:extLst>
          </p:cNvPr>
          <p:cNvSpPr>
            <a:spLocks noGrp="1"/>
          </p:cNvSpPr>
          <p:nvPr>
            <p:ph type="body" sz="quarter" idx="26" hasCustomPrompt="1"/>
          </p:nvPr>
        </p:nvSpPr>
        <p:spPr>
          <a:xfrm>
            <a:off x="6208745" y="3760793"/>
            <a:ext cx="2632010" cy="288000"/>
          </a:xfrm>
        </p:spPr>
        <p:txBody>
          <a:bodyPr lIns="144000" rIns="144000"/>
          <a:lstStyle>
            <a:lvl1pPr marL="0" indent="0" algn="ctr">
              <a:lnSpc>
                <a:spcPct val="95000"/>
              </a:lnSpc>
              <a:spcBef>
                <a:spcPts val="0"/>
              </a:spcBef>
              <a:buNone/>
              <a:tabLst/>
              <a:defRPr sz="1200" b="1" spc="0" baseline="0"/>
            </a:lvl1pPr>
            <a:lvl2pPr marL="14288" indent="0" algn="ctr">
              <a:tabLst/>
              <a:defRPr/>
            </a:lvl2pPr>
            <a:lvl3pPr marL="14288" indent="0" algn="ctr">
              <a:tabLst/>
              <a:defRPr/>
            </a:lvl3pPr>
            <a:lvl4pPr marL="14288" indent="0" algn="ctr">
              <a:tabLst/>
              <a:defRPr/>
            </a:lvl4pPr>
            <a:lvl5pPr marL="14288" indent="0" algn="ctr">
              <a:tabLst/>
              <a:defRPr/>
            </a:lvl5pPr>
          </a:lstStyle>
          <a:p>
            <a:pPr lvl="0"/>
            <a:r>
              <a:rPr lang="en-GB" noProof="0"/>
              <a:t>Click to add headline</a:t>
            </a:r>
          </a:p>
        </p:txBody>
      </p:sp>
      <p:sp>
        <p:nvSpPr>
          <p:cNvPr id="29" name="Text 2">
            <a:extLst>
              <a:ext uri="{FF2B5EF4-FFF2-40B4-BE49-F238E27FC236}">
                <a16:creationId xmlns:a16="http://schemas.microsoft.com/office/drawing/2014/main" id="{8AD11E1B-1A93-F447-B8FB-7690D5880F07}"/>
              </a:ext>
            </a:extLst>
          </p:cNvPr>
          <p:cNvSpPr>
            <a:spLocks noGrp="1"/>
          </p:cNvSpPr>
          <p:nvPr>
            <p:ph type="body" sz="quarter" idx="28" hasCustomPrompt="1"/>
          </p:nvPr>
        </p:nvSpPr>
        <p:spPr>
          <a:xfrm>
            <a:off x="6208744" y="4058415"/>
            <a:ext cx="2632009" cy="594547"/>
          </a:xfrm>
        </p:spPr>
        <p:txBody>
          <a:bodyPr lIns="144000" rIns="144000"/>
          <a:lstStyle>
            <a:lvl1pPr marL="12700" indent="-12700" algn="ctr">
              <a:buNone/>
              <a:tabLst/>
              <a:defRPr/>
            </a:lvl1pPr>
            <a:lvl2pPr marL="12700" indent="-12700" algn="ctr">
              <a:buNone/>
              <a:tabLst/>
              <a:defRPr/>
            </a:lvl2pPr>
            <a:lvl3pPr marL="12700" indent="-12700" algn="ctr">
              <a:buNone/>
              <a:tabLst/>
              <a:defRPr/>
            </a:lvl3pPr>
            <a:lvl4pPr marL="12700" indent="-12700" algn="ctr">
              <a:buNone/>
              <a:tabLst/>
              <a:defRPr/>
            </a:lvl4pPr>
            <a:lvl5pPr marL="12700" indent="-12700" algn="ctr">
              <a:buNone/>
              <a:tabLst/>
              <a:defRPr/>
            </a:lvl5pPr>
          </a:lstStyle>
          <a:p>
            <a:pPr lvl="0"/>
            <a:r>
              <a:rPr lang="en-GB" noProof="0"/>
              <a:t>Click to add short description text</a:t>
            </a:r>
          </a:p>
        </p:txBody>
      </p:sp>
      <p:sp>
        <p:nvSpPr>
          <p:cNvPr id="2" name="Notes">
            <a:extLst>
              <a:ext uri="{FF2B5EF4-FFF2-40B4-BE49-F238E27FC236}">
                <a16:creationId xmlns:a16="http://schemas.microsoft.com/office/drawing/2014/main" id="{770409C2-3A7C-6E90-7CE2-134403DB0756}"/>
              </a:ext>
            </a:extLst>
          </p:cNvPr>
          <p:cNvSpPr>
            <a:spLocks noGrp="1"/>
          </p:cNvSpPr>
          <p:nvPr>
            <p:ph type="body" sz="quarter" idx="19" hasCustomPrompt="1"/>
          </p:nvPr>
        </p:nvSpPr>
        <p:spPr>
          <a:xfrm>
            <a:off x="323850" y="4695825"/>
            <a:ext cx="4176715" cy="144463"/>
          </a:xfrm>
        </p:spPr>
        <p:txBody>
          <a:bodyPr lIns="111600" tIns="0" rIns="216000" bIns="18000" anchor="b"/>
          <a:lstStyle>
            <a:lvl1pPr marL="0" indent="0">
              <a:spcBef>
                <a:spcPts val="0"/>
              </a:spcBef>
              <a:buNone/>
              <a:tabLst/>
              <a:defRPr sz="600"/>
            </a:lvl1pPr>
            <a:lvl2pPr>
              <a:buNone/>
              <a:defRPr sz="800"/>
            </a:lvl2pPr>
            <a:lvl3pPr>
              <a:buNone/>
              <a:defRPr sz="800"/>
            </a:lvl3pPr>
            <a:lvl4pPr>
              <a:buNone/>
              <a:defRPr sz="800"/>
            </a:lvl4pPr>
            <a:lvl5pPr>
              <a:buNone/>
              <a:defRPr sz="800"/>
            </a:lvl5pPr>
          </a:lstStyle>
          <a:p>
            <a:pPr lvl="0"/>
            <a:r>
              <a:rPr lang="en-GB" noProof="0"/>
              <a:t>*Click to add footnotes</a:t>
            </a:r>
          </a:p>
        </p:txBody>
      </p:sp>
      <p:sp>
        <p:nvSpPr>
          <p:cNvPr id="3" name="Date">
            <a:extLst>
              <a:ext uri="{FF2B5EF4-FFF2-40B4-BE49-F238E27FC236}">
                <a16:creationId xmlns:a16="http://schemas.microsoft.com/office/drawing/2014/main" id="{C57FF860-80C4-F544-9349-277B28F447FB}"/>
              </a:ext>
            </a:extLst>
          </p:cNvPr>
          <p:cNvSpPr>
            <a:spLocks noGrp="1"/>
          </p:cNvSpPr>
          <p:nvPr>
            <p:ph type="dt" sz="half" idx="10"/>
          </p:nvPr>
        </p:nvSpPr>
        <p:spPr/>
        <p:txBody>
          <a:bodyPr/>
          <a:lstStyle/>
          <a:p>
            <a:fld id="{BEE1B1C3-FB8E-44F2-98A5-0EBBF3329895}" type="datetime1">
              <a:rPr lang="sv-SE" noProof="0" smtClean="0"/>
              <a:t>2025-09-04</a:t>
            </a:fld>
            <a:endParaRPr lang="en-GB" noProof="0"/>
          </a:p>
        </p:txBody>
      </p:sp>
      <p:sp>
        <p:nvSpPr>
          <p:cNvPr id="4" name="Number">
            <a:extLst>
              <a:ext uri="{FF2B5EF4-FFF2-40B4-BE49-F238E27FC236}">
                <a16:creationId xmlns:a16="http://schemas.microsoft.com/office/drawing/2014/main" id="{61938E86-6CF5-9C42-AB2F-96E9B547A11F}"/>
              </a:ext>
            </a:extLst>
          </p:cNvPr>
          <p:cNvSpPr>
            <a:spLocks noGrp="1"/>
          </p:cNvSpPr>
          <p:nvPr>
            <p:ph type="sldNum" sz="quarter" idx="11"/>
          </p:nvPr>
        </p:nvSpPr>
        <p:spPr/>
        <p:txBody>
          <a:bodyPr/>
          <a:lstStyle/>
          <a:p>
            <a:fld id="{17CD396C-6A52-4D5A-BAE3-92A1CC3BBDE0}" type="slidenum">
              <a:rPr lang="en-GB" noProof="0" smtClean="0"/>
              <a:pPr/>
              <a:t>‹nr.›</a:t>
            </a:fld>
            <a:endParaRPr lang="en-GB" noProof="0"/>
          </a:p>
        </p:txBody>
      </p:sp>
      <p:sp>
        <p:nvSpPr>
          <p:cNvPr id="23" name="Footer">
            <a:extLst>
              <a:ext uri="{FF2B5EF4-FFF2-40B4-BE49-F238E27FC236}">
                <a16:creationId xmlns:a16="http://schemas.microsoft.com/office/drawing/2014/main" id="{10325E5A-E337-E24F-A3CE-5BEFB07CBA1F}"/>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2026884778"/>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 Large Chart">
    <p:bg>
      <p:bgPr>
        <a:solidFill>
          <a:schemeClr val="bg2"/>
        </a:solidFill>
        <a:effectLst/>
      </p:bgPr>
    </p:bg>
    <p:spTree>
      <p:nvGrpSpPr>
        <p:cNvPr id="1" name=""/>
        <p:cNvGrpSpPr/>
        <p:nvPr/>
      </p:nvGrpSpPr>
      <p:grpSpPr>
        <a:xfrm>
          <a:off x="0" y="0"/>
          <a:ext cx="0" cy="0"/>
          <a:chOff x="0" y="0"/>
          <a:chExt cx="0" cy="0"/>
        </a:xfrm>
      </p:grpSpPr>
      <p:sp>
        <p:nvSpPr>
          <p:cNvPr id="16" name="Title">
            <a:extLst>
              <a:ext uri="{FF2B5EF4-FFF2-40B4-BE49-F238E27FC236}">
                <a16:creationId xmlns:a16="http://schemas.microsoft.com/office/drawing/2014/main" id="{29C1BAB5-302C-E24B-AF46-F5810100CE40}"/>
              </a:ext>
            </a:extLst>
          </p:cNvPr>
          <p:cNvSpPr>
            <a:spLocks noGrp="1"/>
          </p:cNvSpPr>
          <p:nvPr>
            <p:ph type="title" hasCustomPrompt="1"/>
          </p:nvPr>
        </p:nvSpPr>
        <p:spPr>
          <a:xfrm>
            <a:off x="323850" y="545326"/>
            <a:ext cx="8496299" cy="741454"/>
          </a:xfrm>
        </p:spPr>
        <p:txBody>
          <a:bodyPr rIns="216000"/>
          <a:lstStyle>
            <a:lvl1pPr>
              <a:defRPr spc="-30" baseline="0"/>
            </a:lvl1pPr>
          </a:lstStyle>
          <a:p>
            <a:r>
              <a:rPr lang="en-GB" noProof="0"/>
              <a:t>Click to add a headline of maximum two lines</a:t>
            </a:r>
          </a:p>
        </p:txBody>
      </p:sp>
      <p:sp>
        <p:nvSpPr>
          <p:cNvPr id="9" name="Navigation">
            <a:extLst>
              <a:ext uri="{FF2B5EF4-FFF2-40B4-BE49-F238E27FC236}">
                <a16:creationId xmlns:a16="http://schemas.microsoft.com/office/drawing/2014/main" id="{03424855-B277-8744-9C85-9975925B8200}"/>
              </a:ext>
            </a:extLst>
          </p:cNvPr>
          <p:cNvSpPr>
            <a:spLocks noGrp="1"/>
          </p:cNvSpPr>
          <p:nvPr>
            <p:ph type="body" sz="quarter" idx="14" hasCustomPrompt="1"/>
          </p:nvPr>
        </p:nvSpPr>
        <p:spPr>
          <a:xfrm>
            <a:off x="323849" y="276226"/>
            <a:ext cx="5616575" cy="276999"/>
          </a:xfrm>
        </p:spPr>
        <p:txBody>
          <a:bodyPr lIns="111600" rIns="216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a:t>
            </a:r>
            <a:r>
              <a:rPr lang="en-GB" noProof="0" err="1"/>
              <a:t>subheader</a:t>
            </a:r>
            <a:endParaRPr lang="en-GB" noProof="0"/>
          </a:p>
        </p:txBody>
      </p:sp>
      <p:sp>
        <p:nvSpPr>
          <p:cNvPr id="21" name="Subheader">
            <a:extLst>
              <a:ext uri="{FF2B5EF4-FFF2-40B4-BE49-F238E27FC236}">
                <a16:creationId xmlns:a16="http://schemas.microsoft.com/office/drawing/2014/main" id="{57967130-C256-E443-BF6D-9CFC31CE5F76}"/>
              </a:ext>
            </a:extLst>
          </p:cNvPr>
          <p:cNvSpPr>
            <a:spLocks noGrp="1"/>
          </p:cNvSpPr>
          <p:nvPr>
            <p:ph type="body" sz="quarter" idx="18" hasCustomPrompt="1"/>
          </p:nvPr>
        </p:nvSpPr>
        <p:spPr>
          <a:xfrm>
            <a:off x="323850" y="1360488"/>
            <a:ext cx="4176713" cy="307568"/>
          </a:xfrm>
        </p:spPr>
        <p:txBody>
          <a:bodyPr lIns="97200" rIns="216000"/>
          <a:lstStyle>
            <a:lvl1pPr marL="0" indent="0" algn="l">
              <a:lnSpc>
                <a:spcPct val="95000"/>
              </a:lnSpc>
              <a:spcBef>
                <a:spcPts val="0"/>
              </a:spcBef>
              <a:buNone/>
              <a:tabLst/>
              <a:defRPr sz="1200" b="1" spc="0" baseline="0"/>
            </a:lvl1pPr>
            <a:lvl2pPr marL="14288" indent="0" algn="ctr">
              <a:tabLst/>
              <a:defRPr/>
            </a:lvl2pPr>
            <a:lvl3pPr marL="14288" indent="0" algn="ctr">
              <a:tabLst/>
              <a:defRPr/>
            </a:lvl3pPr>
            <a:lvl4pPr marL="14288" indent="0" algn="ctr">
              <a:tabLst/>
              <a:defRPr/>
            </a:lvl4pPr>
            <a:lvl5pPr marL="14288" indent="0" algn="ctr">
              <a:tabLst/>
              <a:defRPr/>
            </a:lvl5pPr>
          </a:lstStyle>
          <a:p>
            <a:pPr lvl="0"/>
            <a:r>
              <a:rPr lang="en-GB" noProof="0"/>
              <a:t>Click to add </a:t>
            </a:r>
            <a:r>
              <a:rPr lang="en-GB" noProof="0" err="1"/>
              <a:t>subheader</a:t>
            </a:r>
            <a:endParaRPr lang="en-GB" noProof="0"/>
          </a:p>
        </p:txBody>
      </p:sp>
      <p:sp>
        <p:nvSpPr>
          <p:cNvPr id="23" name="Chart">
            <a:extLst>
              <a:ext uri="{FF2B5EF4-FFF2-40B4-BE49-F238E27FC236}">
                <a16:creationId xmlns:a16="http://schemas.microsoft.com/office/drawing/2014/main" id="{C2B34B54-75E3-4847-A989-9D65BE064B07}"/>
              </a:ext>
            </a:extLst>
          </p:cNvPr>
          <p:cNvSpPr>
            <a:spLocks noGrp="1"/>
          </p:cNvSpPr>
          <p:nvPr>
            <p:ph type="chart" sz="quarter" idx="15" hasCustomPrompt="1"/>
          </p:nvPr>
        </p:nvSpPr>
        <p:spPr>
          <a:xfrm>
            <a:off x="323849" y="1716712"/>
            <a:ext cx="8496299" cy="2881463"/>
          </a:xfrm>
        </p:spPr>
        <p:txBody>
          <a:bodyPr/>
          <a:lstStyle>
            <a:lvl1pPr algn="ctr">
              <a:buNone/>
              <a:defRPr sz="800"/>
            </a:lvl1pPr>
          </a:lstStyle>
          <a:p>
            <a:r>
              <a:rPr lang="en-GB" noProof="0"/>
              <a:t>Click on the icon to add chart</a:t>
            </a:r>
          </a:p>
        </p:txBody>
      </p:sp>
      <p:sp>
        <p:nvSpPr>
          <p:cNvPr id="2" name="Notes">
            <a:extLst>
              <a:ext uri="{FF2B5EF4-FFF2-40B4-BE49-F238E27FC236}">
                <a16:creationId xmlns:a16="http://schemas.microsoft.com/office/drawing/2014/main" id="{56F3C05D-CBAA-7405-9D43-C81BCAE49E3E}"/>
              </a:ext>
            </a:extLst>
          </p:cNvPr>
          <p:cNvSpPr>
            <a:spLocks noGrp="1"/>
          </p:cNvSpPr>
          <p:nvPr>
            <p:ph type="body" sz="quarter" idx="19" hasCustomPrompt="1"/>
          </p:nvPr>
        </p:nvSpPr>
        <p:spPr>
          <a:xfrm>
            <a:off x="323850" y="4695825"/>
            <a:ext cx="8640860" cy="144463"/>
          </a:xfrm>
        </p:spPr>
        <p:txBody>
          <a:bodyPr lIns="111600" tIns="0" rIns="216000" bIns="18000" anchor="b"/>
          <a:lstStyle>
            <a:lvl1pPr marL="0" indent="0">
              <a:spcBef>
                <a:spcPts val="0"/>
              </a:spcBef>
              <a:buNone/>
              <a:tabLst/>
              <a:defRPr sz="600"/>
            </a:lvl1pPr>
            <a:lvl2pPr>
              <a:buNone/>
              <a:defRPr sz="800"/>
            </a:lvl2pPr>
            <a:lvl3pPr>
              <a:buNone/>
              <a:defRPr sz="800"/>
            </a:lvl3pPr>
            <a:lvl4pPr>
              <a:buNone/>
              <a:defRPr sz="800"/>
            </a:lvl4pPr>
            <a:lvl5pPr>
              <a:buNone/>
              <a:defRPr sz="800"/>
            </a:lvl5pPr>
          </a:lstStyle>
          <a:p>
            <a:pPr lvl="0"/>
            <a:r>
              <a:rPr lang="en-GB" noProof="0"/>
              <a:t>*Click to add footnotes</a:t>
            </a:r>
          </a:p>
        </p:txBody>
      </p:sp>
      <p:sp>
        <p:nvSpPr>
          <p:cNvPr id="3" name="Date">
            <a:extLst>
              <a:ext uri="{FF2B5EF4-FFF2-40B4-BE49-F238E27FC236}">
                <a16:creationId xmlns:a16="http://schemas.microsoft.com/office/drawing/2014/main" id="{C57FF860-80C4-F544-9349-277B28F447FB}"/>
              </a:ext>
            </a:extLst>
          </p:cNvPr>
          <p:cNvSpPr>
            <a:spLocks noGrp="1"/>
          </p:cNvSpPr>
          <p:nvPr>
            <p:ph type="dt" sz="half" idx="10"/>
          </p:nvPr>
        </p:nvSpPr>
        <p:spPr/>
        <p:txBody>
          <a:bodyPr/>
          <a:lstStyle/>
          <a:p>
            <a:fld id="{8F56561F-64D0-4798-97DA-25CF914AAA53}" type="datetime1">
              <a:rPr lang="sv-SE" noProof="0" smtClean="0"/>
              <a:t>2025-09-04</a:t>
            </a:fld>
            <a:endParaRPr lang="en-GB" noProof="0"/>
          </a:p>
        </p:txBody>
      </p:sp>
      <p:sp>
        <p:nvSpPr>
          <p:cNvPr id="4" name="Number">
            <a:extLst>
              <a:ext uri="{FF2B5EF4-FFF2-40B4-BE49-F238E27FC236}">
                <a16:creationId xmlns:a16="http://schemas.microsoft.com/office/drawing/2014/main" id="{61938E86-6CF5-9C42-AB2F-96E9B547A11F}"/>
              </a:ext>
            </a:extLst>
          </p:cNvPr>
          <p:cNvSpPr>
            <a:spLocks noGrp="1"/>
          </p:cNvSpPr>
          <p:nvPr>
            <p:ph type="sldNum" sz="quarter" idx="11"/>
          </p:nvPr>
        </p:nvSpPr>
        <p:spPr/>
        <p:txBody>
          <a:bodyPr/>
          <a:lstStyle/>
          <a:p>
            <a:fld id="{17CD396C-6A52-4D5A-BAE3-92A1CC3BBDE0}" type="slidenum">
              <a:rPr lang="en-GB" noProof="0" smtClean="0"/>
              <a:pPr/>
              <a:t>‹nr.›</a:t>
            </a:fld>
            <a:endParaRPr lang="en-GB" noProof="0"/>
          </a:p>
        </p:txBody>
      </p:sp>
      <p:sp>
        <p:nvSpPr>
          <p:cNvPr id="11" name="Footer">
            <a:extLst>
              <a:ext uri="{FF2B5EF4-FFF2-40B4-BE49-F238E27FC236}">
                <a16:creationId xmlns:a16="http://schemas.microsoft.com/office/drawing/2014/main" id="{9ADEEDE8-0D1B-9549-A4E1-0C71E9FA9307}"/>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2329899994"/>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 Large Table">
    <p:bg>
      <p:bgPr>
        <a:solidFill>
          <a:schemeClr val="bg2"/>
        </a:solidFill>
        <a:effectLst/>
      </p:bgPr>
    </p:bg>
    <p:spTree>
      <p:nvGrpSpPr>
        <p:cNvPr id="1" name=""/>
        <p:cNvGrpSpPr/>
        <p:nvPr/>
      </p:nvGrpSpPr>
      <p:grpSpPr>
        <a:xfrm>
          <a:off x="0" y="0"/>
          <a:ext cx="0" cy="0"/>
          <a:chOff x="0" y="0"/>
          <a:chExt cx="0" cy="0"/>
        </a:xfrm>
      </p:grpSpPr>
      <p:sp>
        <p:nvSpPr>
          <p:cNvPr id="16" name="Title">
            <a:extLst>
              <a:ext uri="{FF2B5EF4-FFF2-40B4-BE49-F238E27FC236}">
                <a16:creationId xmlns:a16="http://schemas.microsoft.com/office/drawing/2014/main" id="{29C1BAB5-302C-E24B-AF46-F5810100CE40}"/>
              </a:ext>
            </a:extLst>
          </p:cNvPr>
          <p:cNvSpPr>
            <a:spLocks noGrp="1"/>
          </p:cNvSpPr>
          <p:nvPr>
            <p:ph type="title" hasCustomPrompt="1"/>
          </p:nvPr>
        </p:nvSpPr>
        <p:spPr>
          <a:xfrm>
            <a:off x="323850" y="545326"/>
            <a:ext cx="8496299" cy="741454"/>
          </a:xfrm>
        </p:spPr>
        <p:txBody>
          <a:bodyPr rIns="216000"/>
          <a:lstStyle>
            <a:lvl1pPr>
              <a:defRPr spc="-30" baseline="0"/>
            </a:lvl1pPr>
          </a:lstStyle>
          <a:p>
            <a:r>
              <a:rPr lang="en-GB" noProof="0"/>
              <a:t>Click to add a headline of maximum two lines</a:t>
            </a:r>
          </a:p>
        </p:txBody>
      </p:sp>
      <p:sp>
        <p:nvSpPr>
          <p:cNvPr id="9" name="Navigation">
            <a:extLst>
              <a:ext uri="{FF2B5EF4-FFF2-40B4-BE49-F238E27FC236}">
                <a16:creationId xmlns:a16="http://schemas.microsoft.com/office/drawing/2014/main" id="{03424855-B277-8744-9C85-9975925B8200}"/>
              </a:ext>
            </a:extLst>
          </p:cNvPr>
          <p:cNvSpPr>
            <a:spLocks noGrp="1"/>
          </p:cNvSpPr>
          <p:nvPr>
            <p:ph type="body" sz="quarter" idx="14" hasCustomPrompt="1"/>
          </p:nvPr>
        </p:nvSpPr>
        <p:spPr>
          <a:xfrm>
            <a:off x="323849" y="276226"/>
            <a:ext cx="5616575" cy="276999"/>
          </a:xfrm>
        </p:spPr>
        <p:txBody>
          <a:bodyPr lIns="111600" rIns="216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a:t>
            </a:r>
            <a:r>
              <a:rPr lang="en-GB" noProof="0" err="1"/>
              <a:t>subheader</a:t>
            </a:r>
            <a:endParaRPr lang="en-GB" noProof="0"/>
          </a:p>
        </p:txBody>
      </p:sp>
      <p:sp>
        <p:nvSpPr>
          <p:cNvPr id="21" name="Subheader">
            <a:extLst>
              <a:ext uri="{FF2B5EF4-FFF2-40B4-BE49-F238E27FC236}">
                <a16:creationId xmlns:a16="http://schemas.microsoft.com/office/drawing/2014/main" id="{57967130-C256-E443-BF6D-9CFC31CE5F76}"/>
              </a:ext>
            </a:extLst>
          </p:cNvPr>
          <p:cNvSpPr>
            <a:spLocks noGrp="1"/>
          </p:cNvSpPr>
          <p:nvPr>
            <p:ph type="body" sz="quarter" idx="18" hasCustomPrompt="1"/>
          </p:nvPr>
        </p:nvSpPr>
        <p:spPr>
          <a:xfrm>
            <a:off x="323850" y="1360488"/>
            <a:ext cx="4176713" cy="307568"/>
          </a:xfrm>
        </p:spPr>
        <p:txBody>
          <a:bodyPr lIns="97200" rIns="216000"/>
          <a:lstStyle>
            <a:lvl1pPr marL="0" indent="0" algn="l">
              <a:lnSpc>
                <a:spcPct val="95000"/>
              </a:lnSpc>
              <a:spcBef>
                <a:spcPts val="0"/>
              </a:spcBef>
              <a:buNone/>
              <a:tabLst/>
              <a:defRPr sz="1200" b="1" spc="0" baseline="0"/>
            </a:lvl1pPr>
            <a:lvl2pPr marL="14288" indent="0" algn="ctr">
              <a:tabLst/>
              <a:defRPr/>
            </a:lvl2pPr>
            <a:lvl3pPr marL="14288" indent="0" algn="ctr">
              <a:tabLst/>
              <a:defRPr/>
            </a:lvl3pPr>
            <a:lvl4pPr marL="14288" indent="0" algn="ctr">
              <a:tabLst/>
              <a:defRPr/>
            </a:lvl4pPr>
            <a:lvl5pPr marL="14288" indent="0" algn="ctr">
              <a:tabLst/>
              <a:defRPr/>
            </a:lvl5pPr>
          </a:lstStyle>
          <a:p>
            <a:pPr lvl="0"/>
            <a:r>
              <a:rPr lang="en-GB" noProof="0"/>
              <a:t>Click to add </a:t>
            </a:r>
            <a:r>
              <a:rPr lang="en-GB" noProof="0" err="1"/>
              <a:t>subheader</a:t>
            </a:r>
            <a:endParaRPr lang="en-GB" noProof="0"/>
          </a:p>
        </p:txBody>
      </p:sp>
      <p:sp>
        <p:nvSpPr>
          <p:cNvPr id="6" name="Table">
            <a:extLst>
              <a:ext uri="{FF2B5EF4-FFF2-40B4-BE49-F238E27FC236}">
                <a16:creationId xmlns:a16="http://schemas.microsoft.com/office/drawing/2014/main" id="{811F8CED-6808-7E46-91B7-C4DDE3339131}"/>
              </a:ext>
            </a:extLst>
          </p:cNvPr>
          <p:cNvSpPr>
            <a:spLocks noGrp="1"/>
          </p:cNvSpPr>
          <p:nvPr>
            <p:ph type="tbl" sz="quarter" idx="20" hasCustomPrompt="1"/>
          </p:nvPr>
        </p:nvSpPr>
        <p:spPr>
          <a:xfrm>
            <a:off x="323850" y="1718174"/>
            <a:ext cx="8496300" cy="2880000"/>
          </a:xfrm>
        </p:spPr>
        <p:txBody>
          <a:bodyPr/>
          <a:lstStyle>
            <a:lvl1pPr algn="ctr">
              <a:buNone/>
              <a:defRPr sz="800"/>
            </a:lvl1pPr>
          </a:lstStyle>
          <a:p>
            <a:r>
              <a:rPr lang="en-GB" noProof="0"/>
              <a:t>Click on the icon to add table</a:t>
            </a:r>
          </a:p>
        </p:txBody>
      </p:sp>
      <p:sp>
        <p:nvSpPr>
          <p:cNvPr id="2" name="Notes">
            <a:extLst>
              <a:ext uri="{FF2B5EF4-FFF2-40B4-BE49-F238E27FC236}">
                <a16:creationId xmlns:a16="http://schemas.microsoft.com/office/drawing/2014/main" id="{E76A647B-DB99-9B02-B958-DF290E528331}"/>
              </a:ext>
            </a:extLst>
          </p:cNvPr>
          <p:cNvSpPr>
            <a:spLocks noGrp="1"/>
          </p:cNvSpPr>
          <p:nvPr>
            <p:ph type="body" sz="quarter" idx="19" hasCustomPrompt="1"/>
          </p:nvPr>
        </p:nvSpPr>
        <p:spPr>
          <a:xfrm>
            <a:off x="323850" y="4695825"/>
            <a:ext cx="4176715" cy="144463"/>
          </a:xfrm>
        </p:spPr>
        <p:txBody>
          <a:bodyPr lIns="111600" tIns="0" rIns="216000" bIns="18000" anchor="b"/>
          <a:lstStyle>
            <a:lvl1pPr marL="0" indent="0">
              <a:spcBef>
                <a:spcPts val="0"/>
              </a:spcBef>
              <a:buNone/>
              <a:tabLst/>
              <a:defRPr sz="600"/>
            </a:lvl1pPr>
            <a:lvl2pPr>
              <a:buNone/>
              <a:defRPr sz="800"/>
            </a:lvl2pPr>
            <a:lvl3pPr>
              <a:buNone/>
              <a:defRPr sz="800"/>
            </a:lvl3pPr>
            <a:lvl4pPr>
              <a:buNone/>
              <a:defRPr sz="800"/>
            </a:lvl4pPr>
            <a:lvl5pPr>
              <a:buNone/>
              <a:defRPr sz="800"/>
            </a:lvl5pPr>
          </a:lstStyle>
          <a:p>
            <a:pPr lvl="0"/>
            <a:r>
              <a:rPr lang="en-GB" noProof="0"/>
              <a:t>*Click to add footnotes</a:t>
            </a:r>
          </a:p>
        </p:txBody>
      </p:sp>
      <p:sp>
        <p:nvSpPr>
          <p:cNvPr id="3" name="Date">
            <a:extLst>
              <a:ext uri="{FF2B5EF4-FFF2-40B4-BE49-F238E27FC236}">
                <a16:creationId xmlns:a16="http://schemas.microsoft.com/office/drawing/2014/main" id="{C57FF860-80C4-F544-9349-277B28F447FB}"/>
              </a:ext>
            </a:extLst>
          </p:cNvPr>
          <p:cNvSpPr>
            <a:spLocks noGrp="1"/>
          </p:cNvSpPr>
          <p:nvPr>
            <p:ph type="dt" sz="half" idx="10"/>
          </p:nvPr>
        </p:nvSpPr>
        <p:spPr/>
        <p:txBody>
          <a:bodyPr/>
          <a:lstStyle/>
          <a:p>
            <a:fld id="{4149659B-D594-41CC-B9CE-882B7D993D1E}" type="datetime1">
              <a:rPr lang="sv-SE" noProof="0" smtClean="0"/>
              <a:t>2025-09-04</a:t>
            </a:fld>
            <a:endParaRPr lang="en-GB" noProof="0"/>
          </a:p>
        </p:txBody>
      </p:sp>
      <p:sp>
        <p:nvSpPr>
          <p:cNvPr id="4" name="Number">
            <a:extLst>
              <a:ext uri="{FF2B5EF4-FFF2-40B4-BE49-F238E27FC236}">
                <a16:creationId xmlns:a16="http://schemas.microsoft.com/office/drawing/2014/main" id="{61938E86-6CF5-9C42-AB2F-96E9B547A11F}"/>
              </a:ext>
            </a:extLst>
          </p:cNvPr>
          <p:cNvSpPr>
            <a:spLocks noGrp="1"/>
          </p:cNvSpPr>
          <p:nvPr>
            <p:ph type="sldNum" sz="quarter" idx="11"/>
          </p:nvPr>
        </p:nvSpPr>
        <p:spPr/>
        <p:txBody>
          <a:bodyPr/>
          <a:lstStyle/>
          <a:p>
            <a:fld id="{17CD396C-6A52-4D5A-BAE3-92A1CC3BBDE0}" type="slidenum">
              <a:rPr lang="en-GB" noProof="0" smtClean="0"/>
              <a:pPr/>
              <a:t>‹nr.›</a:t>
            </a:fld>
            <a:endParaRPr lang="en-GB" noProof="0"/>
          </a:p>
        </p:txBody>
      </p:sp>
      <p:sp>
        <p:nvSpPr>
          <p:cNvPr id="11" name="Footer">
            <a:extLst>
              <a:ext uri="{FF2B5EF4-FFF2-40B4-BE49-F238E27FC236}">
                <a16:creationId xmlns:a16="http://schemas.microsoft.com/office/drawing/2014/main" id="{4E4579F6-66FC-3140-A0B3-75F166B05102}"/>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457841054"/>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 Six icons">
    <p:bg>
      <p:bgPr>
        <a:solidFill>
          <a:schemeClr val="bg2"/>
        </a:solidFill>
        <a:effectLst/>
      </p:bgPr>
    </p:bg>
    <p:spTree>
      <p:nvGrpSpPr>
        <p:cNvPr id="1" name=""/>
        <p:cNvGrpSpPr/>
        <p:nvPr/>
      </p:nvGrpSpPr>
      <p:grpSpPr>
        <a:xfrm>
          <a:off x="0" y="0"/>
          <a:ext cx="0" cy="0"/>
          <a:chOff x="0" y="0"/>
          <a:chExt cx="0" cy="0"/>
        </a:xfrm>
      </p:grpSpPr>
      <p:sp>
        <p:nvSpPr>
          <p:cNvPr id="16" name="Title">
            <a:extLst>
              <a:ext uri="{FF2B5EF4-FFF2-40B4-BE49-F238E27FC236}">
                <a16:creationId xmlns:a16="http://schemas.microsoft.com/office/drawing/2014/main" id="{29C1BAB5-302C-E24B-AF46-F5810100CE40}"/>
              </a:ext>
            </a:extLst>
          </p:cNvPr>
          <p:cNvSpPr>
            <a:spLocks noGrp="1"/>
          </p:cNvSpPr>
          <p:nvPr>
            <p:ph type="title" hasCustomPrompt="1"/>
          </p:nvPr>
        </p:nvSpPr>
        <p:spPr>
          <a:xfrm>
            <a:off x="323850" y="545326"/>
            <a:ext cx="8496299" cy="741600"/>
          </a:xfrm>
        </p:spPr>
        <p:txBody>
          <a:bodyPr/>
          <a:lstStyle>
            <a:lvl1pPr>
              <a:defRPr spc="-30" baseline="0"/>
            </a:lvl1pPr>
          </a:lstStyle>
          <a:p>
            <a:r>
              <a:rPr lang="en-GB" noProof="0"/>
              <a:t>Click to add a headline of maximum two lines</a:t>
            </a:r>
          </a:p>
        </p:txBody>
      </p:sp>
      <p:sp>
        <p:nvSpPr>
          <p:cNvPr id="9" name="Navigation">
            <a:extLst>
              <a:ext uri="{FF2B5EF4-FFF2-40B4-BE49-F238E27FC236}">
                <a16:creationId xmlns:a16="http://schemas.microsoft.com/office/drawing/2014/main" id="{03424855-B277-8744-9C85-9975925B8200}"/>
              </a:ext>
            </a:extLst>
          </p:cNvPr>
          <p:cNvSpPr>
            <a:spLocks noGrp="1"/>
          </p:cNvSpPr>
          <p:nvPr>
            <p:ph type="body" sz="quarter" idx="14" hasCustomPrompt="1"/>
          </p:nvPr>
        </p:nvSpPr>
        <p:spPr>
          <a:xfrm>
            <a:off x="323850" y="276226"/>
            <a:ext cx="5418000" cy="276999"/>
          </a:xfrm>
        </p:spPr>
        <p:txBody>
          <a:bodyPr lIns="1116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a:t>
            </a:r>
            <a:r>
              <a:rPr lang="en-GB" noProof="0" err="1"/>
              <a:t>subheader</a:t>
            </a:r>
            <a:endParaRPr lang="en-GB" noProof="0"/>
          </a:p>
        </p:txBody>
      </p:sp>
      <p:sp>
        <p:nvSpPr>
          <p:cNvPr id="2" name="Notes">
            <a:extLst>
              <a:ext uri="{FF2B5EF4-FFF2-40B4-BE49-F238E27FC236}">
                <a16:creationId xmlns:a16="http://schemas.microsoft.com/office/drawing/2014/main" id="{0BE2A6D9-173C-0B33-E722-5D10DC11E6B5}"/>
              </a:ext>
            </a:extLst>
          </p:cNvPr>
          <p:cNvSpPr>
            <a:spLocks noGrp="1"/>
          </p:cNvSpPr>
          <p:nvPr>
            <p:ph type="body" sz="quarter" idx="19" hasCustomPrompt="1"/>
          </p:nvPr>
        </p:nvSpPr>
        <p:spPr>
          <a:xfrm>
            <a:off x="323850" y="4695825"/>
            <a:ext cx="4176715" cy="144463"/>
          </a:xfrm>
        </p:spPr>
        <p:txBody>
          <a:bodyPr lIns="111600" tIns="0" rIns="216000" bIns="18000" anchor="b"/>
          <a:lstStyle>
            <a:lvl1pPr marL="0" indent="0">
              <a:spcBef>
                <a:spcPts val="0"/>
              </a:spcBef>
              <a:buNone/>
              <a:tabLst/>
              <a:defRPr sz="600"/>
            </a:lvl1pPr>
            <a:lvl2pPr>
              <a:buNone/>
              <a:defRPr sz="800"/>
            </a:lvl2pPr>
            <a:lvl3pPr>
              <a:buNone/>
              <a:defRPr sz="800"/>
            </a:lvl3pPr>
            <a:lvl4pPr>
              <a:buNone/>
              <a:defRPr sz="800"/>
            </a:lvl4pPr>
            <a:lvl5pPr>
              <a:buNone/>
              <a:defRPr sz="800"/>
            </a:lvl5pPr>
          </a:lstStyle>
          <a:p>
            <a:pPr lvl="0"/>
            <a:r>
              <a:rPr lang="en-GB" noProof="0"/>
              <a:t>*Click to add footnotes</a:t>
            </a:r>
          </a:p>
        </p:txBody>
      </p:sp>
      <p:sp>
        <p:nvSpPr>
          <p:cNvPr id="3" name="Date">
            <a:extLst>
              <a:ext uri="{FF2B5EF4-FFF2-40B4-BE49-F238E27FC236}">
                <a16:creationId xmlns:a16="http://schemas.microsoft.com/office/drawing/2014/main" id="{C57FF860-80C4-F544-9349-277B28F447FB}"/>
              </a:ext>
            </a:extLst>
          </p:cNvPr>
          <p:cNvSpPr>
            <a:spLocks noGrp="1"/>
          </p:cNvSpPr>
          <p:nvPr>
            <p:ph type="dt" sz="half" idx="10"/>
          </p:nvPr>
        </p:nvSpPr>
        <p:spPr/>
        <p:txBody>
          <a:bodyPr/>
          <a:lstStyle/>
          <a:p>
            <a:fld id="{5547381F-C930-4092-981A-0A84A83C3D46}" type="datetime1">
              <a:rPr lang="sv-SE" noProof="0" smtClean="0"/>
              <a:t>2025-09-04</a:t>
            </a:fld>
            <a:endParaRPr lang="en-GB" noProof="0"/>
          </a:p>
        </p:txBody>
      </p:sp>
      <p:sp>
        <p:nvSpPr>
          <p:cNvPr id="4" name="Number">
            <a:extLst>
              <a:ext uri="{FF2B5EF4-FFF2-40B4-BE49-F238E27FC236}">
                <a16:creationId xmlns:a16="http://schemas.microsoft.com/office/drawing/2014/main" id="{61938E86-6CF5-9C42-AB2F-96E9B547A11F}"/>
              </a:ext>
            </a:extLst>
          </p:cNvPr>
          <p:cNvSpPr>
            <a:spLocks noGrp="1"/>
          </p:cNvSpPr>
          <p:nvPr>
            <p:ph type="sldNum" sz="quarter" idx="11"/>
          </p:nvPr>
        </p:nvSpPr>
        <p:spPr/>
        <p:txBody>
          <a:bodyPr/>
          <a:lstStyle/>
          <a:p>
            <a:fld id="{17CD396C-6A52-4D5A-BAE3-92A1CC3BBDE0}" type="slidenum">
              <a:rPr lang="en-GB" noProof="0" smtClean="0"/>
              <a:pPr/>
              <a:t>‹nr.›</a:t>
            </a:fld>
            <a:endParaRPr lang="en-GB" noProof="0"/>
          </a:p>
        </p:txBody>
      </p:sp>
      <p:sp>
        <p:nvSpPr>
          <p:cNvPr id="11" name="Footer">
            <a:extLst>
              <a:ext uri="{FF2B5EF4-FFF2-40B4-BE49-F238E27FC236}">
                <a16:creationId xmlns:a16="http://schemas.microsoft.com/office/drawing/2014/main" id="{A552DAA9-741B-4541-B739-5E18BB32D240}"/>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
        <p:nvSpPr>
          <p:cNvPr id="5" name="Icon 1">
            <a:extLst>
              <a:ext uri="{FF2B5EF4-FFF2-40B4-BE49-F238E27FC236}">
                <a16:creationId xmlns:a16="http://schemas.microsoft.com/office/drawing/2014/main" id="{4EE0C5E9-06BE-DD10-68B4-626593D954DA}"/>
              </a:ext>
            </a:extLst>
          </p:cNvPr>
          <p:cNvSpPr>
            <a:spLocks noGrp="1" noChangeAspect="1"/>
          </p:cNvSpPr>
          <p:nvPr>
            <p:ph type="pic" sz="quarter" idx="25" hasCustomPrompt="1"/>
          </p:nvPr>
        </p:nvSpPr>
        <p:spPr>
          <a:xfrm>
            <a:off x="1295481" y="1558385"/>
            <a:ext cx="792000" cy="792000"/>
          </a:xfrm>
        </p:spPr>
        <p:txBody>
          <a:bodyPr/>
          <a:lstStyle>
            <a:lvl1pPr marL="12700" indent="-12700" algn="ctr">
              <a:buNone/>
              <a:tabLst/>
              <a:defRPr sz="600"/>
            </a:lvl1pPr>
          </a:lstStyle>
          <a:p>
            <a:r>
              <a:rPr lang="en-GB" sz="800" noProof="0"/>
              <a:t>Click to add icon</a:t>
            </a:r>
            <a:endParaRPr lang="en-GB" noProof="0"/>
          </a:p>
        </p:txBody>
      </p:sp>
      <p:sp>
        <p:nvSpPr>
          <p:cNvPr id="6" name="Subheader 2">
            <a:extLst>
              <a:ext uri="{FF2B5EF4-FFF2-40B4-BE49-F238E27FC236}">
                <a16:creationId xmlns:a16="http://schemas.microsoft.com/office/drawing/2014/main" id="{3EC6F82F-824C-AD10-486B-87D130002170}"/>
              </a:ext>
            </a:extLst>
          </p:cNvPr>
          <p:cNvSpPr>
            <a:spLocks noGrp="1"/>
          </p:cNvSpPr>
          <p:nvPr>
            <p:ph type="body" sz="quarter" idx="20" hasCustomPrompt="1"/>
          </p:nvPr>
        </p:nvSpPr>
        <p:spPr>
          <a:xfrm>
            <a:off x="323850" y="2461091"/>
            <a:ext cx="2735263" cy="432000"/>
          </a:xfrm>
        </p:spPr>
        <p:txBody>
          <a:bodyPr lIns="144000" rIns="144000"/>
          <a:lstStyle>
            <a:lvl1pPr marL="0" indent="0" algn="ctr">
              <a:lnSpc>
                <a:spcPct val="95000"/>
              </a:lnSpc>
              <a:spcBef>
                <a:spcPts val="0"/>
              </a:spcBef>
              <a:buNone/>
              <a:tabLst/>
              <a:defRPr sz="1200" b="1" spc="0" baseline="0"/>
            </a:lvl1pPr>
            <a:lvl2pPr marL="14288" indent="0" algn="ctr">
              <a:tabLst/>
              <a:defRPr/>
            </a:lvl2pPr>
            <a:lvl3pPr marL="14288" indent="0" algn="ctr">
              <a:tabLst/>
              <a:defRPr/>
            </a:lvl3pPr>
            <a:lvl4pPr marL="14288" indent="0" algn="ctr">
              <a:tabLst/>
              <a:defRPr/>
            </a:lvl4pPr>
            <a:lvl5pPr marL="14288" indent="0" algn="ctr">
              <a:tabLst/>
              <a:defRPr/>
            </a:lvl5pPr>
          </a:lstStyle>
          <a:p>
            <a:pPr lvl="0"/>
            <a:r>
              <a:rPr lang="en-GB" noProof="0"/>
              <a:t>Click to add headline</a:t>
            </a:r>
          </a:p>
        </p:txBody>
      </p:sp>
      <p:sp>
        <p:nvSpPr>
          <p:cNvPr id="10" name="Icon 1">
            <a:extLst>
              <a:ext uri="{FF2B5EF4-FFF2-40B4-BE49-F238E27FC236}">
                <a16:creationId xmlns:a16="http://schemas.microsoft.com/office/drawing/2014/main" id="{AB1261EF-F948-ED78-D191-A659E010A0D1}"/>
              </a:ext>
            </a:extLst>
          </p:cNvPr>
          <p:cNvSpPr>
            <a:spLocks noGrp="1" noChangeAspect="1"/>
          </p:cNvSpPr>
          <p:nvPr>
            <p:ph type="pic" sz="quarter" idx="26" hasCustomPrompt="1"/>
          </p:nvPr>
        </p:nvSpPr>
        <p:spPr>
          <a:xfrm>
            <a:off x="4176000" y="1558385"/>
            <a:ext cx="792000" cy="792000"/>
          </a:xfrm>
        </p:spPr>
        <p:txBody>
          <a:bodyPr/>
          <a:lstStyle>
            <a:lvl1pPr marL="12700" indent="-12700" algn="ctr">
              <a:buNone/>
              <a:tabLst/>
              <a:defRPr sz="600"/>
            </a:lvl1pPr>
          </a:lstStyle>
          <a:p>
            <a:r>
              <a:rPr lang="en-GB" sz="800" noProof="0"/>
              <a:t>Click to add icon</a:t>
            </a:r>
            <a:endParaRPr lang="en-GB" noProof="0"/>
          </a:p>
        </p:txBody>
      </p:sp>
      <p:sp>
        <p:nvSpPr>
          <p:cNvPr id="12" name="Subheader 2">
            <a:extLst>
              <a:ext uri="{FF2B5EF4-FFF2-40B4-BE49-F238E27FC236}">
                <a16:creationId xmlns:a16="http://schemas.microsoft.com/office/drawing/2014/main" id="{931F05DB-1C80-99A8-F10F-CF45FE2B457A}"/>
              </a:ext>
            </a:extLst>
          </p:cNvPr>
          <p:cNvSpPr>
            <a:spLocks noGrp="1"/>
          </p:cNvSpPr>
          <p:nvPr>
            <p:ph type="body" sz="quarter" idx="27" hasCustomPrompt="1"/>
          </p:nvPr>
        </p:nvSpPr>
        <p:spPr>
          <a:xfrm>
            <a:off x="3204369" y="2461091"/>
            <a:ext cx="2735263" cy="432000"/>
          </a:xfrm>
        </p:spPr>
        <p:txBody>
          <a:bodyPr lIns="144000" rIns="144000"/>
          <a:lstStyle>
            <a:lvl1pPr marL="0" indent="0" algn="ctr">
              <a:lnSpc>
                <a:spcPct val="95000"/>
              </a:lnSpc>
              <a:spcBef>
                <a:spcPts val="0"/>
              </a:spcBef>
              <a:buNone/>
              <a:tabLst/>
              <a:defRPr sz="1200" b="1" spc="0" baseline="0"/>
            </a:lvl1pPr>
            <a:lvl2pPr marL="14288" indent="0" algn="ctr">
              <a:tabLst/>
              <a:defRPr/>
            </a:lvl2pPr>
            <a:lvl3pPr marL="14288" indent="0" algn="ctr">
              <a:tabLst/>
              <a:defRPr/>
            </a:lvl3pPr>
            <a:lvl4pPr marL="14288" indent="0" algn="ctr">
              <a:tabLst/>
              <a:defRPr/>
            </a:lvl4pPr>
            <a:lvl5pPr marL="14288" indent="0" algn="ctr">
              <a:tabLst/>
              <a:defRPr/>
            </a:lvl5pPr>
          </a:lstStyle>
          <a:p>
            <a:pPr lvl="0"/>
            <a:r>
              <a:rPr lang="en-GB" noProof="0"/>
              <a:t>Click to add headline</a:t>
            </a:r>
          </a:p>
        </p:txBody>
      </p:sp>
      <p:sp>
        <p:nvSpPr>
          <p:cNvPr id="13" name="Icon 1">
            <a:extLst>
              <a:ext uri="{FF2B5EF4-FFF2-40B4-BE49-F238E27FC236}">
                <a16:creationId xmlns:a16="http://schemas.microsoft.com/office/drawing/2014/main" id="{AF04C51C-0E4D-F7F1-231A-C5D2CE66C223}"/>
              </a:ext>
            </a:extLst>
          </p:cNvPr>
          <p:cNvSpPr>
            <a:spLocks noGrp="1" noChangeAspect="1"/>
          </p:cNvSpPr>
          <p:nvPr>
            <p:ph type="pic" sz="quarter" idx="28" hasCustomPrompt="1"/>
          </p:nvPr>
        </p:nvSpPr>
        <p:spPr>
          <a:xfrm>
            <a:off x="7060470" y="1558385"/>
            <a:ext cx="792000" cy="792000"/>
          </a:xfrm>
        </p:spPr>
        <p:txBody>
          <a:bodyPr/>
          <a:lstStyle>
            <a:lvl1pPr marL="12700" indent="-12700" algn="ctr">
              <a:buNone/>
              <a:tabLst/>
              <a:defRPr sz="600"/>
            </a:lvl1pPr>
          </a:lstStyle>
          <a:p>
            <a:r>
              <a:rPr lang="en-GB" sz="800" noProof="0"/>
              <a:t>Click to add icon</a:t>
            </a:r>
            <a:endParaRPr lang="en-GB" noProof="0"/>
          </a:p>
        </p:txBody>
      </p:sp>
      <p:sp>
        <p:nvSpPr>
          <p:cNvPr id="14" name="Subheader 2">
            <a:extLst>
              <a:ext uri="{FF2B5EF4-FFF2-40B4-BE49-F238E27FC236}">
                <a16:creationId xmlns:a16="http://schemas.microsoft.com/office/drawing/2014/main" id="{B5361AEA-1B20-62D6-FDA6-D247EE240673}"/>
              </a:ext>
            </a:extLst>
          </p:cNvPr>
          <p:cNvSpPr>
            <a:spLocks noGrp="1"/>
          </p:cNvSpPr>
          <p:nvPr>
            <p:ph type="body" sz="quarter" idx="29" hasCustomPrompt="1"/>
          </p:nvPr>
        </p:nvSpPr>
        <p:spPr>
          <a:xfrm>
            <a:off x="6088839" y="2461091"/>
            <a:ext cx="2735263" cy="432000"/>
          </a:xfrm>
        </p:spPr>
        <p:txBody>
          <a:bodyPr lIns="144000" rIns="144000"/>
          <a:lstStyle>
            <a:lvl1pPr marL="0" indent="0" algn="ctr">
              <a:lnSpc>
                <a:spcPct val="95000"/>
              </a:lnSpc>
              <a:spcBef>
                <a:spcPts val="0"/>
              </a:spcBef>
              <a:buNone/>
              <a:tabLst/>
              <a:defRPr sz="1200" b="1" spc="0" baseline="0"/>
            </a:lvl1pPr>
            <a:lvl2pPr marL="14288" indent="0" algn="ctr">
              <a:tabLst/>
              <a:defRPr/>
            </a:lvl2pPr>
            <a:lvl3pPr marL="14288" indent="0" algn="ctr">
              <a:tabLst/>
              <a:defRPr/>
            </a:lvl3pPr>
            <a:lvl4pPr marL="14288" indent="0" algn="ctr">
              <a:tabLst/>
              <a:defRPr/>
            </a:lvl4pPr>
            <a:lvl5pPr marL="14288" indent="0" algn="ctr">
              <a:tabLst/>
              <a:defRPr/>
            </a:lvl5pPr>
          </a:lstStyle>
          <a:p>
            <a:pPr lvl="0"/>
            <a:r>
              <a:rPr lang="en-GB" noProof="0"/>
              <a:t>Click to add headline</a:t>
            </a:r>
          </a:p>
        </p:txBody>
      </p:sp>
      <p:sp>
        <p:nvSpPr>
          <p:cNvPr id="15" name="Icon 1">
            <a:extLst>
              <a:ext uri="{FF2B5EF4-FFF2-40B4-BE49-F238E27FC236}">
                <a16:creationId xmlns:a16="http://schemas.microsoft.com/office/drawing/2014/main" id="{073488FB-F8A4-3F1E-653E-221FB07B7A04}"/>
              </a:ext>
            </a:extLst>
          </p:cNvPr>
          <p:cNvSpPr>
            <a:spLocks noGrp="1" noChangeAspect="1"/>
          </p:cNvSpPr>
          <p:nvPr>
            <p:ph type="pic" sz="quarter" idx="30" hasCustomPrompt="1"/>
          </p:nvPr>
        </p:nvSpPr>
        <p:spPr>
          <a:xfrm>
            <a:off x="1295481" y="3194705"/>
            <a:ext cx="792000" cy="792000"/>
          </a:xfrm>
        </p:spPr>
        <p:txBody>
          <a:bodyPr/>
          <a:lstStyle>
            <a:lvl1pPr marL="12700" indent="-12700" algn="ctr">
              <a:buNone/>
              <a:tabLst/>
              <a:defRPr sz="600"/>
            </a:lvl1pPr>
          </a:lstStyle>
          <a:p>
            <a:r>
              <a:rPr lang="en-GB" sz="800" noProof="0"/>
              <a:t>Click to add icon</a:t>
            </a:r>
            <a:endParaRPr lang="en-GB" noProof="0"/>
          </a:p>
        </p:txBody>
      </p:sp>
      <p:sp>
        <p:nvSpPr>
          <p:cNvPr id="17" name="Subheader 2">
            <a:extLst>
              <a:ext uri="{FF2B5EF4-FFF2-40B4-BE49-F238E27FC236}">
                <a16:creationId xmlns:a16="http://schemas.microsoft.com/office/drawing/2014/main" id="{47CF8306-A5AD-DD47-D2A8-D64BDA878AC9}"/>
              </a:ext>
            </a:extLst>
          </p:cNvPr>
          <p:cNvSpPr>
            <a:spLocks noGrp="1"/>
          </p:cNvSpPr>
          <p:nvPr>
            <p:ph type="body" sz="quarter" idx="31" hasCustomPrompt="1"/>
          </p:nvPr>
        </p:nvSpPr>
        <p:spPr>
          <a:xfrm>
            <a:off x="323850" y="4097411"/>
            <a:ext cx="2735263" cy="432000"/>
          </a:xfrm>
        </p:spPr>
        <p:txBody>
          <a:bodyPr lIns="144000" rIns="144000"/>
          <a:lstStyle>
            <a:lvl1pPr marL="0" indent="0" algn="ctr">
              <a:lnSpc>
                <a:spcPct val="95000"/>
              </a:lnSpc>
              <a:spcBef>
                <a:spcPts val="0"/>
              </a:spcBef>
              <a:buNone/>
              <a:tabLst/>
              <a:defRPr sz="1200" b="1" spc="0" baseline="0"/>
            </a:lvl1pPr>
            <a:lvl2pPr marL="14288" indent="0" algn="ctr">
              <a:tabLst/>
              <a:defRPr/>
            </a:lvl2pPr>
            <a:lvl3pPr marL="14288" indent="0" algn="ctr">
              <a:tabLst/>
              <a:defRPr/>
            </a:lvl3pPr>
            <a:lvl4pPr marL="14288" indent="0" algn="ctr">
              <a:tabLst/>
              <a:defRPr/>
            </a:lvl4pPr>
            <a:lvl5pPr marL="14288" indent="0" algn="ctr">
              <a:tabLst/>
              <a:defRPr/>
            </a:lvl5pPr>
          </a:lstStyle>
          <a:p>
            <a:pPr lvl="0"/>
            <a:r>
              <a:rPr lang="en-GB" noProof="0"/>
              <a:t>Click to add headline</a:t>
            </a:r>
          </a:p>
        </p:txBody>
      </p:sp>
      <p:sp>
        <p:nvSpPr>
          <p:cNvPr id="18" name="Icon 1">
            <a:extLst>
              <a:ext uri="{FF2B5EF4-FFF2-40B4-BE49-F238E27FC236}">
                <a16:creationId xmlns:a16="http://schemas.microsoft.com/office/drawing/2014/main" id="{0AFC9FE7-80D1-1D4E-8E95-C5552E15C8C1}"/>
              </a:ext>
            </a:extLst>
          </p:cNvPr>
          <p:cNvSpPr>
            <a:spLocks noGrp="1" noChangeAspect="1"/>
          </p:cNvSpPr>
          <p:nvPr>
            <p:ph type="pic" sz="quarter" idx="32" hasCustomPrompt="1"/>
          </p:nvPr>
        </p:nvSpPr>
        <p:spPr>
          <a:xfrm>
            <a:off x="4176000" y="3194705"/>
            <a:ext cx="792000" cy="792000"/>
          </a:xfrm>
        </p:spPr>
        <p:txBody>
          <a:bodyPr/>
          <a:lstStyle>
            <a:lvl1pPr marL="12700" indent="-12700" algn="ctr">
              <a:buNone/>
              <a:tabLst/>
              <a:defRPr sz="600"/>
            </a:lvl1pPr>
          </a:lstStyle>
          <a:p>
            <a:r>
              <a:rPr lang="en-GB" sz="800" noProof="0"/>
              <a:t>Click to add icon</a:t>
            </a:r>
            <a:endParaRPr lang="en-GB" noProof="0"/>
          </a:p>
        </p:txBody>
      </p:sp>
      <p:sp>
        <p:nvSpPr>
          <p:cNvPr id="19" name="Subheader 2">
            <a:extLst>
              <a:ext uri="{FF2B5EF4-FFF2-40B4-BE49-F238E27FC236}">
                <a16:creationId xmlns:a16="http://schemas.microsoft.com/office/drawing/2014/main" id="{DEDF413D-CF1C-FD25-EEC7-8F3C2557A69B}"/>
              </a:ext>
            </a:extLst>
          </p:cNvPr>
          <p:cNvSpPr>
            <a:spLocks noGrp="1"/>
          </p:cNvSpPr>
          <p:nvPr>
            <p:ph type="body" sz="quarter" idx="33" hasCustomPrompt="1"/>
          </p:nvPr>
        </p:nvSpPr>
        <p:spPr>
          <a:xfrm>
            <a:off x="3204369" y="4097411"/>
            <a:ext cx="2735263" cy="432000"/>
          </a:xfrm>
        </p:spPr>
        <p:txBody>
          <a:bodyPr lIns="144000" rIns="144000"/>
          <a:lstStyle>
            <a:lvl1pPr marL="0" indent="0" algn="ctr">
              <a:lnSpc>
                <a:spcPct val="95000"/>
              </a:lnSpc>
              <a:spcBef>
                <a:spcPts val="0"/>
              </a:spcBef>
              <a:buNone/>
              <a:tabLst/>
              <a:defRPr sz="1200" b="1" spc="0" baseline="0"/>
            </a:lvl1pPr>
            <a:lvl2pPr marL="14288" indent="0" algn="ctr">
              <a:tabLst/>
              <a:defRPr/>
            </a:lvl2pPr>
            <a:lvl3pPr marL="14288" indent="0" algn="ctr">
              <a:tabLst/>
              <a:defRPr/>
            </a:lvl3pPr>
            <a:lvl4pPr marL="14288" indent="0" algn="ctr">
              <a:tabLst/>
              <a:defRPr/>
            </a:lvl4pPr>
            <a:lvl5pPr marL="14288" indent="0" algn="ctr">
              <a:tabLst/>
              <a:defRPr/>
            </a:lvl5pPr>
          </a:lstStyle>
          <a:p>
            <a:pPr lvl="0"/>
            <a:r>
              <a:rPr lang="en-GB" noProof="0"/>
              <a:t>Click to add headline</a:t>
            </a:r>
          </a:p>
        </p:txBody>
      </p:sp>
      <p:sp>
        <p:nvSpPr>
          <p:cNvPr id="20" name="Icon 1">
            <a:extLst>
              <a:ext uri="{FF2B5EF4-FFF2-40B4-BE49-F238E27FC236}">
                <a16:creationId xmlns:a16="http://schemas.microsoft.com/office/drawing/2014/main" id="{0A5F16E8-20F1-468F-1CFB-74354DE0E68F}"/>
              </a:ext>
            </a:extLst>
          </p:cNvPr>
          <p:cNvSpPr>
            <a:spLocks noGrp="1" noChangeAspect="1"/>
          </p:cNvSpPr>
          <p:nvPr>
            <p:ph type="pic" sz="quarter" idx="34" hasCustomPrompt="1"/>
          </p:nvPr>
        </p:nvSpPr>
        <p:spPr>
          <a:xfrm>
            <a:off x="7060470" y="3194705"/>
            <a:ext cx="792000" cy="792000"/>
          </a:xfrm>
        </p:spPr>
        <p:txBody>
          <a:bodyPr/>
          <a:lstStyle>
            <a:lvl1pPr marL="12700" indent="-12700" algn="ctr">
              <a:buNone/>
              <a:tabLst/>
              <a:defRPr sz="600"/>
            </a:lvl1pPr>
          </a:lstStyle>
          <a:p>
            <a:r>
              <a:rPr lang="en-GB" sz="800" noProof="0"/>
              <a:t>Click to add icon</a:t>
            </a:r>
            <a:endParaRPr lang="en-GB" noProof="0"/>
          </a:p>
        </p:txBody>
      </p:sp>
      <p:sp>
        <p:nvSpPr>
          <p:cNvPr id="21" name="Subheader 2">
            <a:extLst>
              <a:ext uri="{FF2B5EF4-FFF2-40B4-BE49-F238E27FC236}">
                <a16:creationId xmlns:a16="http://schemas.microsoft.com/office/drawing/2014/main" id="{A1D264B0-ADA0-5C8F-CA33-32F839C82A12}"/>
              </a:ext>
            </a:extLst>
          </p:cNvPr>
          <p:cNvSpPr>
            <a:spLocks noGrp="1"/>
          </p:cNvSpPr>
          <p:nvPr>
            <p:ph type="body" sz="quarter" idx="35" hasCustomPrompt="1"/>
          </p:nvPr>
        </p:nvSpPr>
        <p:spPr>
          <a:xfrm>
            <a:off x="6088839" y="4097411"/>
            <a:ext cx="2735263" cy="432000"/>
          </a:xfrm>
        </p:spPr>
        <p:txBody>
          <a:bodyPr lIns="144000" rIns="144000"/>
          <a:lstStyle>
            <a:lvl1pPr marL="0" indent="0" algn="ctr">
              <a:lnSpc>
                <a:spcPct val="95000"/>
              </a:lnSpc>
              <a:spcBef>
                <a:spcPts val="0"/>
              </a:spcBef>
              <a:buNone/>
              <a:tabLst/>
              <a:defRPr sz="1200" b="1" spc="0" baseline="0"/>
            </a:lvl1pPr>
            <a:lvl2pPr marL="14288" indent="0" algn="ctr">
              <a:tabLst/>
              <a:defRPr/>
            </a:lvl2pPr>
            <a:lvl3pPr marL="14288" indent="0" algn="ctr">
              <a:tabLst/>
              <a:defRPr/>
            </a:lvl3pPr>
            <a:lvl4pPr marL="14288" indent="0" algn="ctr">
              <a:tabLst/>
              <a:defRPr/>
            </a:lvl4pPr>
            <a:lvl5pPr marL="14288" indent="0" algn="ctr">
              <a:tabLst/>
              <a:defRPr/>
            </a:lvl5pPr>
          </a:lstStyle>
          <a:p>
            <a:pPr lvl="0"/>
            <a:r>
              <a:rPr lang="en-GB" noProof="0"/>
              <a:t>Click to add headline</a:t>
            </a:r>
          </a:p>
        </p:txBody>
      </p:sp>
    </p:spTree>
    <p:extLst>
      <p:ext uri="{BB962C8B-B14F-4D97-AF65-F5344CB8AC3E}">
        <p14:creationId xmlns:p14="http://schemas.microsoft.com/office/powerpoint/2010/main" val="1575017720"/>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Headline only">
    <p:bg>
      <p:bgPr>
        <a:solidFill>
          <a:schemeClr val="bg2"/>
        </a:solidFill>
        <a:effectLst/>
      </p:bgPr>
    </p:bg>
    <p:spTree>
      <p:nvGrpSpPr>
        <p:cNvPr id="1" name=""/>
        <p:cNvGrpSpPr/>
        <p:nvPr/>
      </p:nvGrpSpPr>
      <p:grpSpPr>
        <a:xfrm>
          <a:off x="0" y="0"/>
          <a:ext cx="0" cy="0"/>
          <a:chOff x="0" y="0"/>
          <a:chExt cx="0" cy="0"/>
        </a:xfrm>
      </p:grpSpPr>
      <p:sp>
        <p:nvSpPr>
          <p:cNvPr id="16" name="Title">
            <a:extLst>
              <a:ext uri="{FF2B5EF4-FFF2-40B4-BE49-F238E27FC236}">
                <a16:creationId xmlns:a16="http://schemas.microsoft.com/office/drawing/2014/main" id="{29C1BAB5-302C-E24B-AF46-F5810100CE40}"/>
              </a:ext>
            </a:extLst>
          </p:cNvPr>
          <p:cNvSpPr>
            <a:spLocks noGrp="1"/>
          </p:cNvSpPr>
          <p:nvPr>
            <p:ph type="title" hasCustomPrompt="1"/>
          </p:nvPr>
        </p:nvSpPr>
        <p:spPr>
          <a:xfrm>
            <a:off x="323850" y="545326"/>
            <a:ext cx="8496299" cy="1182670"/>
          </a:xfrm>
        </p:spPr>
        <p:txBody>
          <a:bodyPr/>
          <a:lstStyle>
            <a:lvl1pPr>
              <a:defRPr spc="-30" baseline="0"/>
            </a:lvl1pPr>
          </a:lstStyle>
          <a:p>
            <a:r>
              <a:rPr lang="en-GB" noProof="0"/>
              <a:t>Click to add a headline of maximum three lines</a:t>
            </a:r>
          </a:p>
        </p:txBody>
      </p:sp>
      <p:sp>
        <p:nvSpPr>
          <p:cNvPr id="9" name="Navigation">
            <a:extLst>
              <a:ext uri="{FF2B5EF4-FFF2-40B4-BE49-F238E27FC236}">
                <a16:creationId xmlns:a16="http://schemas.microsoft.com/office/drawing/2014/main" id="{03424855-B277-8744-9C85-9975925B8200}"/>
              </a:ext>
            </a:extLst>
          </p:cNvPr>
          <p:cNvSpPr>
            <a:spLocks noGrp="1"/>
          </p:cNvSpPr>
          <p:nvPr>
            <p:ph type="body" sz="quarter" idx="14" hasCustomPrompt="1"/>
          </p:nvPr>
        </p:nvSpPr>
        <p:spPr>
          <a:xfrm>
            <a:off x="323850" y="276226"/>
            <a:ext cx="5418000" cy="276999"/>
          </a:xfrm>
        </p:spPr>
        <p:txBody>
          <a:bodyPr lIns="1116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a:t>
            </a:r>
            <a:r>
              <a:rPr lang="en-GB" noProof="0" err="1"/>
              <a:t>subheader</a:t>
            </a:r>
            <a:endParaRPr lang="en-GB" noProof="0"/>
          </a:p>
        </p:txBody>
      </p:sp>
      <p:sp>
        <p:nvSpPr>
          <p:cNvPr id="2" name="Notes">
            <a:extLst>
              <a:ext uri="{FF2B5EF4-FFF2-40B4-BE49-F238E27FC236}">
                <a16:creationId xmlns:a16="http://schemas.microsoft.com/office/drawing/2014/main" id="{0BE2A6D9-173C-0B33-E722-5D10DC11E6B5}"/>
              </a:ext>
            </a:extLst>
          </p:cNvPr>
          <p:cNvSpPr>
            <a:spLocks noGrp="1"/>
          </p:cNvSpPr>
          <p:nvPr>
            <p:ph type="body" sz="quarter" idx="19" hasCustomPrompt="1"/>
          </p:nvPr>
        </p:nvSpPr>
        <p:spPr>
          <a:xfrm>
            <a:off x="323850" y="4695825"/>
            <a:ext cx="4176715" cy="144463"/>
          </a:xfrm>
        </p:spPr>
        <p:txBody>
          <a:bodyPr lIns="111600" tIns="0" rIns="216000" bIns="18000" anchor="b"/>
          <a:lstStyle>
            <a:lvl1pPr marL="0" indent="0">
              <a:spcBef>
                <a:spcPts val="0"/>
              </a:spcBef>
              <a:buNone/>
              <a:tabLst/>
              <a:defRPr sz="600"/>
            </a:lvl1pPr>
            <a:lvl2pPr>
              <a:buNone/>
              <a:defRPr sz="800"/>
            </a:lvl2pPr>
            <a:lvl3pPr>
              <a:buNone/>
              <a:defRPr sz="800"/>
            </a:lvl3pPr>
            <a:lvl4pPr>
              <a:buNone/>
              <a:defRPr sz="800"/>
            </a:lvl4pPr>
            <a:lvl5pPr>
              <a:buNone/>
              <a:defRPr sz="800"/>
            </a:lvl5pPr>
          </a:lstStyle>
          <a:p>
            <a:pPr lvl="0"/>
            <a:r>
              <a:rPr lang="en-GB" noProof="0"/>
              <a:t>*Click to add footnotes</a:t>
            </a:r>
          </a:p>
        </p:txBody>
      </p:sp>
      <p:sp>
        <p:nvSpPr>
          <p:cNvPr id="3" name="Date">
            <a:extLst>
              <a:ext uri="{FF2B5EF4-FFF2-40B4-BE49-F238E27FC236}">
                <a16:creationId xmlns:a16="http://schemas.microsoft.com/office/drawing/2014/main" id="{C57FF860-80C4-F544-9349-277B28F447FB}"/>
              </a:ext>
            </a:extLst>
          </p:cNvPr>
          <p:cNvSpPr>
            <a:spLocks noGrp="1"/>
          </p:cNvSpPr>
          <p:nvPr>
            <p:ph type="dt" sz="half" idx="10"/>
          </p:nvPr>
        </p:nvSpPr>
        <p:spPr/>
        <p:txBody>
          <a:bodyPr/>
          <a:lstStyle/>
          <a:p>
            <a:fld id="{87F08310-A6E0-487D-B1D5-5C083D523C98}" type="datetime1">
              <a:rPr lang="sv-SE" noProof="0" smtClean="0"/>
              <a:t>2025-09-04</a:t>
            </a:fld>
            <a:endParaRPr lang="en-GB" noProof="0"/>
          </a:p>
        </p:txBody>
      </p:sp>
      <p:sp>
        <p:nvSpPr>
          <p:cNvPr id="4" name="Number">
            <a:extLst>
              <a:ext uri="{FF2B5EF4-FFF2-40B4-BE49-F238E27FC236}">
                <a16:creationId xmlns:a16="http://schemas.microsoft.com/office/drawing/2014/main" id="{61938E86-6CF5-9C42-AB2F-96E9B547A11F}"/>
              </a:ext>
            </a:extLst>
          </p:cNvPr>
          <p:cNvSpPr>
            <a:spLocks noGrp="1"/>
          </p:cNvSpPr>
          <p:nvPr>
            <p:ph type="sldNum" sz="quarter" idx="11"/>
          </p:nvPr>
        </p:nvSpPr>
        <p:spPr/>
        <p:txBody>
          <a:bodyPr/>
          <a:lstStyle/>
          <a:p>
            <a:fld id="{17CD396C-6A52-4D5A-BAE3-92A1CC3BBDE0}" type="slidenum">
              <a:rPr lang="en-GB" noProof="0" smtClean="0"/>
              <a:pPr/>
              <a:t>‹nr.›</a:t>
            </a:fld>
            <a:endParaRPr lang="en-GB" noProof="0"/>
          </a:p>
        </p:txBody>
      </p:sp>
      <p:sp>
        <p:nvSpPr>
          <p:cNvPr id="11" name="Footer">
            <a:extLst>
              <a:ext uri="{FF2B5EF4-FFF2-40B4-BE49-F238E27FC236}">
                <a16:creationId xmlns:a16="http://schemas.microsoft.com/office/drawing/2014/main" id="{A552DAA9-741B-4541-B739-5E18BB32D240}"/>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283911789"/>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 Text 2 columns">
    <p:bg>
      <p:bgPr>
        <a:solidFill>
          <a:schemeClr val="bg2"/>
        </a:solidFill>
        <a:effectLst/>
      </p:bgPr>
    </p:bg>
    <p:spTree>
      <p:nvGrpSpPr>
        <p:cNvPr id="1" name=""/>
        <p:cNvGrpSpPr/>
        <p:nvPr/>
      </p:nvGrpSpPr>
      <p:grpSpPr>
        <a:xfrm>
          <a:off x="0" y="0"/>
          <a:ext cx="0" cy="0"/>
          <a:chOff x="0" y="0"/>
          <a:chExt cx="0" cy="0"/>
        </a:xfrm>
      </p:grpSpPr>
      <p:sp>
        <p:nvSpPr>
          <p:cNvPr id="16" name="Title">
            <a:extLst>
              <a:ext uri="{FF2B5EF4-FFF2-40B4-BE49-F238E27FC236}">
                <a16:creationId xmlns:a16="http://schemas.microsoft.com/office/drawing/2014/main" id="{29C1BAB5-302C-E24B-AF46-F5810100CE40}"/>
              </a:ext>
            </a:extLst>
          </p:cNvPr>
          <p:cNvSpPr>
            <a:spLocks noGrp="1"/>
          </p:cNvSpPr>
          <p:nvPr>
            <p:ph type="title" hasCustomPrompt="1"/>
          </p:nvPr>
        </p:nvSpPr>
        <p:spPr>
          <a:xfrm>
            <a:off x="323850" y="545326"/>
            <a:ext cx="8496299" cy="741454"/>
          </a:xfrm>
        </p:spPr>
        <p:txBody>
          <a:bodyPr rIns="216000"/>
          <a:lstStyle>
            <a:lvl1pPr>
              <a:defRPr spc="-30" baseline="0"/>
            </a:lvl1pPr>
          </a:lstStyle>
          <a:p>
            <a:r>
              <a:rPr lang="en-GB" noProof="0"/>
              <a:t>Click to add a headline of maximum two lines</a:t>
            </a:r>
          </a:p>
        </p:txBody>
      </p:sp>
      <p:sp>
        <p:nvSpPr>
          <p:cNvPr id="9" name="Navigation">
            <a:extLst>
              <a:ext uri="{FF2B5EF4-FFF2-40B4-BE49-F238E27FC236}">
                <a16:creationId xmlns:a16="http://schemas.microsoft.com/office/drawing/2014/main" id="{03424855-B277-8744-9C85-9975925B8200}"/>
              </a:ext>
            </a:extLst>
          </p:cNvPr>
          <p:cNvSpPr>
            <a:spLocks noGrp="1"/>
          </p:cNvSpPr>
          <p:nvPr>
            <p:ph type="body" sz="quarter" idx="14" hasCustomPrompt="1"/>
          </p:nvPr>
        </p:nvSpPr>
        <p:spPr>
          <a:xfrm>
            <a:off x="323850" y="276226"/>
            <a:ext cx="5418000" cy="276999"/>
          </a:xfrm>
        </p:spPr>
        <p:txBody>
          <a:bodyPr lIns="111600" rIns="216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subheader</a:t>
            </a:r>
          </a:p>
        </p:txBody>
      </p:sp>
      <p:sp>
        <p:nvSpPr>
          <p:cNvPr id="6" name="Text 1">
            <a:extLst>
              <a:ext uri="{FF2B5EF4-FFF2-40B4-BE49-F238E27FC236}">
                <a16:creationId xmlns:a16="http://schemas.microsoft.com/office/drawing/2014/main" id="{945DB275-95E7-6348-973E-B426CFDD51F5}"/>
              </a:ext>
            </a:extLst>
          </p:cNvPr>
          <p:cNvSpPr>
            <a:spLocks noGrp="1"/>
          </p:cNvSpPr>
          <p:nvPr>
            <p:ph type="body" sz="quarter" idx="22" hasCustomPrompt="1"/>
          </p:nvPr>
        </p:nvSpPr>
        <p:spPr>
          <a:xfrm>
            <a:off x="322261" y="1447200"/>
            <a:ext cx="4178302" cy="3150974"/>
          </a:xfrm>
          <a:noFill/>
        </p:spPr>
        <p:txBody>
          <a:bodyPr lIns="90000" tIns="108000" rIns="216000" bIns="108000"/>
          <a:lstStyle>
            <a:lvl1pPr>
              <a:buFont typeface="Arial" panose="020B0604020202020204" pitchFamily="34" charset="0"/>
              <a:buChar char="•"/>
              <a:defRPr/>
            </a:lvl1pPr>
            <a:lvl2pPr>
              <a:buFont typeface="Arial" panose="020B0604020202020204" pitchFamily="34" charset="0"/>
              <a:buChar char="•"/>
              <a:defRPr/>
            </a:lvl2pPr>
            <a:lvl3pPr>
              <a:buFont typeface="Arial" panose="020B0604020202020204" pitchFamily="34" charset="0"/>
              <a:buChar char="•"/>
              <a:defRPr/>
            </a:lvl3pPr>
            <a:lvl4pPr>
              <a:buFont typeface="Arial" panose="020B0604020202020204" pitchFamily="34" charset="0"/>
              <a:buChar char="•"/>
              <a:defRPr/>
            </a:lvl4pPr>
            <a:lvl5pPr>
              <a:buFont typeface="Arial" panose="020B0604020202020204" pitchFamily="34" charset="0"/>
              <a:buChar char="•"/>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0" name="Text 2">
            <a:extLst>
              <a:ext uri="{FF2B5EF4-FFF2-40B4-BE49-F238E27FC236}">
                <a16:creationId xmlns:a16="http://schemas.microsoft.com/office/drawing/2014/main" id="{5BBFE38F-ECD3-C344-8099-787A3CDE816F}"/>
              </a:ext>
            </a:extLst>
          </p:cNvPr>
          <p:cNvSpPr>
            <a:spLocks noGrp="1"/>
          </p:cNvSpPr>
          <p:nvPr>
            <p:ph type="body" sz="quarter" idx="24" hasCustomPrompt="1"/>
          </p:nvPr>
        </p:nvSpPr>
        <p:spPr>
          <a:xfrm>
            <a:off x="4643438" y="1447200"/>
            <a:ext cx="4178302" cy="3150974"/>
          </a:xfrm>
          <a:noFill/>
        </p:spPr>
        <p:txBody>
          <a:bodyPr lIns="90000" tIns="108000" rIns="216000" bIns="108000"/>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Notes">
            <a:extLst>
              <a:ext uri="{FF2B5EF4-FFF2-40B4-BE49-F238E27FC236}">
                <a16:creationId xmlns:a16="http://schemas.microsoft.com/office/drawing/2014/main" id="{4615DFA7-0616-B744-975C-88C9447A199A}"/>
              </a:ext>
            </a:extLst>
          </p:cNvPr>
          <p:cNvSpPr>
            <a:spLocks noGrp="1"/>
          </p:cNvSpPr>
          <p:nvPr>
            <p:ph type="body" sz="quarter" idx="19" hasCustomPrompt="1"/>
          </p:nvPr>
        </p:nvSpPr>
        <p:spPr>
          <a:xfrm>
            <a:off x="323850" y="4695825"/>
            <a:ext cx="4176715" cy="144463"/>
          </a:xfrm>
        </p:spPr>
        <p:txBody>
          <a:bodyPr lIns="111600" tIns="0" rIns="216000" bIns="18000" anchor="b"/>
          <a:lstStyle>
            <a:lvl1pPr marL="0" indent="0">
              <a:spcBef>
                <a:spcPts val="0"/>
              </a:spcBef>
              <a:buNone/>
              <a:tabLst/>
              <a:defRPr sz="600"/>
            </a:lvl1pPr>
            <a:lvl2pPr>
              <a:buNone/>
              <a:defRPr sz="800"/>
            </a:lvl2pPr>
            <a:lvl3pPr>
              <a:buNone/>
              <a:defRPr sz="800"/>
            </a:lvl3pPr>
            <a:lvl4pPr>
              <a:buNone/>
              <a:defRPr sz="800"/>
            </a:lvl4pPr>
            <a:lvl5pPr>
              <a:buNone/>
              <a:defRPr sz="800"/>
            </a:lvl5pPr>
          </a:lstStyle>
          <a:p>
            <a:pPr lvl="0"/>
            <a:r>
              <a:rPr lang="en-GB" noProof="0"/>
              <a:t>*Click to add footnotes</a:t>
            </a:r>
          </a:p>
        </p:txBody>
      </p:sp>
      <p:sp>
        <p:nvSpPr>
          <p:cNvPr id="3" name="Date">
            <a:extLst>
              <a:ext uri="{FF2B5EF4-FFF2-40B4-BE49-F238E27FC236}">
                <a16:creationId xmlns:a16="http://schemas.microsoft.com/office/drawing/2014/main" id="{C57FF860-80C4-F544-9349-277B28F447FB}"/>
              </a:ext>
            </a:extLst>
          </p:cNvPr>
          <p:cNvSpPr>
            <a:spLocks noGrp="1"/>
          </p:cNvSpPr>
          <p:nvPr>
            <p:ph type="dt" sz="half" idx="10"/>
          </p:nvPr>
        </p:nvSpPr>
        <p:spPr/>
        <p:txBody>
          <a:bodyPr/>
          <a:lstStyle/>
          <a:p>
            <a:fld id="{56A11539-BECF-4695-BF14-36D524743C55}" type="datetime1">
              <a:rPr lang="sv-SE" noProof="0" smtClean="0"/>
              <a:t>2025-09-04</a:t>
            </a:fld>
            <a:endParaRPr lang="en-GB" noProof="0"/>
          </a:p>
        </p:txBody>
      </p:sp>
      <p:sp>
        <p:nvSpPr>
          <p:cNvPr id="4" name="Number">
            <a:extLst>
              <a:ext uri="{FF2B5EF4-FFF2-40B4-BE49-F238E27FC236}">
                <a16:creationId xmlns:a16="http://schemas.microsoft.com/office/drawing/2014/main" id="{61938E86-6CF5-9C42-AB2F-96E9B547A11F}"/>
              </a:ext>
            </a:extLst>
          </p:cNvPr>
          <p:cNvSpPr>
            <a:spLocks noGrp="1"/>
          </p:cNvSpPr>
          <p:nvPr>
            <p:ph type="sldNum" sz="quarter" idx="11"/>
          </p:nvPr>
        </p:nvSpPr>
        <p:spPr/>
        <p:txBody>
          <a:bodyPr/>
          <a:lstStyle/>
          <a:p>
            <a:fld id="{17CD396C-6A52-4D5A-BAE3-92A1CC3BBDE0}" type="slidenum">
              <a:rPr lang="en-GB" noProof="0" smtClean="0"/>
              <a:pPr/>
              <a:t>‹nr.›</a:t>
            </a:fld>
            <a:endParaRPr lang="en-GB" noProof="0"/>
          </a:p>
        </p:txBody>
      </p:sp>
      <p:sp>
        <p:nvSpPr>
          <p:cNvPr id="17" name="Footer">
            <a:extLst>
              <a:ext uri="{FF2B5EF4-FFF2-40B4-BE49-F238E27FC236}">
                <a16:creationId xmlns:a16="http://schemas.microsoft.com/office/drawing/2014/main" id="{1EE3E70A-BC06-5843-AB7C-05C92A50E437}"/>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3643372024"/>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 Text 3 columns">
    <p:bg>
      <p:bgPr>
        <a:solidFill>
          <a:schemeClr val="bg2"/>
        </a:solidFill>
        <a:effectLst/>
      </p:bgPr>
    </p:bg>
    <p:spTree>
      <p:nvGrpSpPr>
        <p:cNvPr id="1" name=""/>
        <p:cNvGrpSpPr/>
        <p:nvPr/>
      </p:nvGrpSpPr>
      <p:grpSpPr>
        <a:xfrm>
          <a:off x="0" y="0"/>
          <a:ext cx="0" cy="0"/>
          <a:chOff x="0" y="0"/>
          <a:chExt cx="0" cy="0"/>
        </a:xfrm>
      </p:grpSpPr>
      <p:sp>
        <p:nvSpPr>
          <p:cNvPr id="16" name="Title">
            <a:extLst>
              <a:ext uri="{FF2B5EF4-FFF2-40B4-BE49-F238E27FC236}">
                <a16:creationId xmlns:a16="http://schemas.microsoft.com/office/drawing/2014/main" id="{29C1BAB5-302C-E24B-AF46-F5810100CE40}"/>
              </a:ext>
            </a:extLst>
          </p:cNvPr>
          <p:cNvSpPr>
            <a:spLocks noGrp="1"/>
          </p:cNvSpPr>
          <p:nvPr>
            <p:ph type="title" hasCustomPrompt="1"/>
          </p:nvPr>
        </p:nvSpPr>
        <p:spPr>
          <a:xfrm>
            <a:off x="323850" y="545326"/>
            <a:ext cx="8496299" cy="741454"/>
          </a:xfrm>
        </p:spPr>
        <p:txBody>
          <a:bodyPr rIns="216000"/>
          <a:lstStyle>
            <a:lvl1pPr>
              <a:defRPr spc="-30" baseline="0"/>
            </a:lvl1pPr>
          </a:lstStyle>
          <a:p>
            <a:r>
              <a:rPr lang="en-GB" noProof="0"/>
              <a:t>Click to add a headline of maximum two lines</a:t>
            </a:r>
          </a:p>
        </p:txBody>
      </p:sp>
      <p:sp>
        <p:nvSpPr>
          <p:cNvPr id="9" name="Navigation">
            <a:extLst>
              <a:ext uri="{FF2B5EF4-FFF2-40B4-BE49-F238E27FC236}">
                <a16:creationId xmlns:a16="http://schemas.microsoft.com/office/drawing/2014/main" id="{03424855-B277-8744-9C85-9975925B8200}"/>
              </a:ext>
            </a:extLst>
          </p:cNvPr>
          <p:cNvSpPr>
            <a:spLocks noGrp="1"/>
          </p:cNvSpPr>
          <p:nvPr>
            <p:ph type="body" sz="quarter" idx="14" hasCustomPrompt="1"/>
          </p:nvPr>
        </p:nvSpPr>
        <p:spPr>
          <a:xfrm>
            <a:off x="323850" y="276226"/>
            <a:ext cx="5418000" cy="276999"/>
          </a:xfrm>
        </p:spPr>
        <p:txBody>
          <a:bodyPr lIns="111600" rIns="216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subheader</a:t>
            </a:r>
          </a:p>
        </p:txBody>
      </p:sp>
      <p:sp>
        <p:nvSpPr>
          <p:cNvPr id="6" name="Text 1">
            <a:extLst>
              <a:ext uri="{FF2B5EF4-FFF2-40B4-BE49-F238E27FC236}">
                <a16:creationId xmlns:a16="http://schemas.microsoft.com/office/drawing/2014/main" id="{945DB275-95E7-6348-973E-B426CFDD51F5}"/>
              </a:ext>
            </a:extLst>
          </p:cNvPr>
          <p:cNvSpPr>
            <a:spLocks noGrp="1"/>
          </p:cNvSpPr>
          <p:nvPr>
            <p:ph type="body" sz="quarter" idx="22" hasCustomPrompt="1"/>
          </p:nvPr>
        </p:nvSpPr>
        <p:spPr>
          <a:xfrm>
            <a:off x="322261" y="1447200"/>
            <a:ext cx="2736852" cy="3150974"/>
          </a:xfrm>
          <a:noFill/>
        </p:spPr>
        <p:txBody>
          <a:bodyPr lIns="90000" tIns="108000" rIns="216000" bIns="108000"/>
          <a:lstStyle>
            <a:lvl1pPr>
              <a:buFont typeface="Arial" panose="020B0604020202020204" pitchFamily="34" charset="0"/>
              <a:buChar char="•"/>
              <a:defRPr/>
            </a:lvl1pPr>
            <a:lvl2pPr>
              <a:buFont typeface="Arial" panose="020B0604020202020204" pitchFamily="34" charset="0"/>
              <a:buChar char="•"/>
              <a:defRPr/>
            </a:lvl2pPr>
            <a:lvl3pPr>
              <a:buFont typeface="Arial" panose="020B0604020202020204" pitchFamily="34" charset="0"/>
              <a:buChar char="•"/>
              <a:defRPr/>
            </a:lvl3pPr>
            <a:lvl4pPr>
              <a:buFont typeface="Arial" panose="020B0604020202020204" pitchFamily="34" charset="0"/>
              <a:buChar char="•"/>
              <a:defRPr/>
            </a:lvl4pPr>
            <a:lvl5pPr>
              <a:buFont typeface="Arial" panose="020B0604020202020204" pitchFamily="34" charset="0"/>
              <a:buChar char="•"/>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0" name="Text 2">
            <a:extLst>
              <a:ext uri="{FF2B5EF4-FFF2-40B4-BE49-F238E27FC236}">
                <a16:creationId xmlns:a16="http://schemas.microsoft.com/office/drawing/2014/main" id="{5BBFE38F-ECD3-C344-8099-787A3CDE816F}"/>
              </a:ext>
            </a:extLst>
          </p:cNvPr>
          <p:cNvSpPr>
            <a:spLocks noGrp="1"/>
          </p:cNvSpPr>
          <p:nvPr>
            <p:ph type="body" sz="quarter" idx="24" hasCustomPrompt="1"/>
          </p:nvPr>
        </p:nvSpPr>
        <p:spPr>
          <a:xfrm>
            <a:off x="3203576" y="1447200"/>
            <a:ext cx="2736850" cy="3150974"/>
          </a:xfrm>
          <a:noFill/>
        </p:spPr>
        <p:txBody>
          <a:bodyPr lIns="90000" tIns="108000" rIns="216000" bIns="108000"/>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 name="Text 3">
            <a:extLst>
              <a:ext uri="{FF2B5EF4-FFF2-40B4-BE49-F238E27FC236}">
                <a16:creationId xmlns:a16="http://schemas.microsoft.com/office/drawing/2014/main" id="{BEE27238-A500-F0C8-6FDE-68C8C3C07C85}"/>
              </a:ext>
            </a:extLst>
          </p:cNvPr>
          <p:cNvSpPr>
            <a:spLocks noGrp="1"/>
          </p:cNvSpPr>
          <p:nvPr>
            <p:ph type="body" sz="quarter" idx="25" hasCustomPrompt="1"/>
          </p:nvPr>
        </p:nvSpPr>
        <p:spPr>
          <a:xfrm>
            <a:off x="6084888" y="1447200"/>
            <a:ext cx="2736850" cy="3150974"/>
          </a:xfrm>
          <a:noFill/>
        </p:spPr>
        <p:txBody>
          <a:bodyPr lIns="90000" tIns="108000" rIns="216000" bIns="108000"/>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Notes">
            <a:extLst>
              <a:ext uri="{FF2B5EF4-FFF2-40B4-BE49-F238E27FC236}">
                <a16:creationId xmlns:a16="http://schemas.microsoft.com/office/drawing/2014/main" id="{4615DFA7-0616-B744-975C-88C9447A199A}"/>
              </a:ext>
            </a:extLst>
          </p:cNvPr>
          <p:cNvSpPr>
            <a:spLocks noGrp="1"/>
          </p:cNvSpPr>
          <p:nvPr>
            <p:ph type="body" sz="quarter" idx="19" hasCustomPrompt="1"/>
          </p:nvPr>
        </p:nvSpPr>
        <p:spPr>
          <a:xfrm>
            <a:off x="323850" y="4695825"/>
            <a:ext cx="4176715" cy="144463"/>
          </a:xfrm>
        </p:spPr>
        <p:txBody>
          <a:bodyPr lIns="111600" tIns="0" rIns="216000" bIns="18000" anchor="b"/>
          <a:lstStyle>
            <a:lvl1pPr marL="0" indent="0">
              <a:spcBef>
                <a:spcPts val="0"/>
              </a:spcBef>
              <a:buNone/>
              <a:tabLst/>
              <a:defRPr sz="600"/>
            </a:lvl1pPr>
            <a:lvl2pPr>
              <a:buNone/>
              <a:defRPr sz="800"/>
            </a:lvl2pPr>
            <a:lvl3pPr>
              <a:buNone/>
              <a:defRPr sz="800"/>
            </a:lvl3pPr>
            <a:lvl4pPr>
              <a:buNone/>
              <a:defRPr sz="800"/>
            </a:lvl4pPr>
            <a:lvl5pPr>
              <a:buNone/>
              <a:defRPr sz="800"/>
            </a:lvl5pPr>
          </a:lstStyle>
          <a:p>
            <a:pPr lvl="0"/>
            <a:r>
              <a:rPr lang="en-GB" noProof="0"/>
              <a:t>*Click to add footnotes</a:t>
            </a:r>
          </a:p>
        </p:txBody>
      </p:sp>
      <p:sp>
        <p:nvSpPr>
          <p:cNvPr id="3" name="Date">
            <a:extLst>
              <a:ext uri="{FF2B5EF4-FFF2-40B4-BE49-F238E27FC236}">
                <a16:creationId xmlns:a16="http://schemas.microsoft.com/office/drawing/2014/main" id="{C57FF860-80C4-F544-9349-277B28F447FB}"/>
              </a:ext>
            </a:extLst>
          </p:cNvPr>
          <p:cNvSpPr>
            <a:spLocks noGrp="1"/>
          </p:cNvSpPr>
          <p:nvPr>
            <p:ph type="dt" sz="half" idx="10"/>
          </p:nvPr>
        </p:nvSpPr>
        <p:spPr/>
        <p:txBody>
          <a:bodyPr/>
          <a:lstStyle/>
          <a:p>
            <a:fld id="{82406A1F-A464-4836-9476-9D13B4571C22}" type="datetime1">
              <a:rPr lang="sv-SE" noProof="0" smtClean="0"/>
              <a:t>2025-09-04</a:t>
            </a:fld>
            <a:endParaRPr lang="en-GB" noProof="0"/>
          </a:p>
        </p:txBody>
      </p:sp>
      <p:sp>
        <p:nvSpPr>
          <p:cNvPr id="4" name="Number">
            <a:extLst>
              <a:ext uri="{FF2B5EF4-FFF2-40B4-BE49-F238E27FC236}">
                <a16:creationId xmlns:a16="http://schemas.microsoft.com/office/drawing/2014/main" id="{61938E86-6CF5-9C42-AB2F-96E9B547A11F}"/>
              </a:ext>
            </a:extLst>
          </p:cNvPr>
          <p:cNvSpPr>
            <a:spLocks noGrp="1"/>
          </p:cNvSpPr>
          <p:nvPr>
            <p:ph type="sldNum" sz="quarter" idx="11"/>
          </p:nvPr>
        </p:nvSpPr>
        <p:spPr/>
        <p:txBody>
          <a:bodyPr/>
          <a:lstStyle/>
          <a:p>
            <a:fld id="{17CD396C-6A52-4D5A-BAE3-92A1CC3BBDE0}" type="slidenum">
              <a:rPr lang="en-GB" noProof="0" smtClean="0"/>
              <a:pPr/>
              <a:t>‹nr.›</a:t>
            </a:fld>
            <a:endParaRPr lang="en-GB" noProof="0"/>
          </a:p>
        </p:txBody>
      </p:sp>
      <p:sp>
        <p:nvSpPr>
          <p:cNvPr id="17" name="Footer">
            <a:extLst>
              <a:ext uri="{FF2B5EF4-FFF2-40B4-BE49-F238E27FC236}">
                <a16:creationId xmlns:a16="http://schemas.microsoft.com/office/drawing/2014/main" id="{1EE3E70A-BC06-5843-AB7C-05C92A50E437}"/>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3535455183"/>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Agenda Numbers">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83029C-4BD0-01F6-A7DC-553290C00BA4}"/>
              </a:ext>
            </a:extLst>
          </p:cNvPr>
          <p:cNvSpPr/>
          <p:nvPr userDrawn="1"/>
        </p:nvSpPr>
        <p:spPr>
          <a:xfrm>
            <a:off x="5940425" y="158750"/>
            <a:ext cx="144462" cy="4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Image">
            <a:extLst>
              <a:ext uri="{FF2B5EF4-FFF2-40B4-BE49-F238E27FC236}">
                <a16:creationId xmlns:a16="http://schemas.microsoft.com/office/drawing/2014/main" id="{69385D67-02A2-3847-B925-568E12036F00}"/>
              </a:ext>
            </a:extLst>
          </p:cNvPr>
          <p:cNvSpPr>
            <a:spLocks noGrp="1"/>
          </p:cNvSpPr>
          <p:nvPr>
            <p:ph type="pic" sz="quarter" idx="15" hasCustomPrompt="1"/>
          </p:nvPr>
        </p:nvSpPr>
        <p:spPr>
          <a:xfrm>
            <a:off x="6084887" y="158750"/>
            <a:ext cx="2879725" cy="4681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17" name="Title">
            <a:extLst>
              <a:ext uri="{FF2B5EF4-FFF2-40B4-BE49-F238E27FC236}">
                <a16:creationId xmlns:a16="http://schemas.microsoft.com/office/drawing/2014/main" id="{2A7B5CC4-3731-AB42-B5BE-731595BD8458}"/>
              </a:ext>
            </a:extLst>
          </p:cNvPr>
          <p:cNvSpPr>
            <a:spLocks noGrp="1"/>
          </p:cNvSpPr>
          <p:nvPr>
            <p:ph type="title" hasCustomPrompt="1"/>
          </p:nvPr>
        </p:nvSpPr>
        <p:spPr>
          <a:xfrm>
            <a:off x="323850" y="239375"/>
            <a:ext cx="5616574" cy="625283"/>
          </a:xfrm>
        </p:spPr>
        <p:txBody>
          <a:bodyPr rIns="216000"/>
          <a:lstStyle>
            <a:lvl1pPr>
              <a:defRPr sz="3000" spc="-70" baseline="0"/>
            </a:lvl1pPr>
          </a:lstStyle>
          <a:p>
            <a:r>
              <a:rPr lang="en-GB"/>
              <a:t>Add agenda headline</a:t>
            </a:r>
          </a:p>
        </p:txBody>
      </p:sp>
      <p:sp>
        <p:nvSpPr>
          <p:cNvPr id="38" name="Date">
            <a:extLst>
              <a:ext uri="{FF2B5EF4-FFF2-40B4-BE49-F238E27FC236}">
                <a16:creationId xmlns:a16="http://schemas.microsoft.com/office/drawing/2014/main" id="{B7D04508-015B-A24C-A068-9517A03041E5}"/>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76B9C2B5-F378-4B26-AFE7-42C5AD0C3ECD}" type="datetime1">
              <a:rPr lang="sv-SE" noProof="0" smtClean="0"/>
              <a:t>2025-09-04</a:t>
            </a:fld>
            <a:endParaRPr lang="en-GB" noProof="0"/>
          </a:p>
        </p:txBody>
      </p:sp>
      <p:sp>
        <p:nvSpPr>
          <p:cNvPr id="39" name="Number">
            <a:extLst>
              <a:ext uri="{FF2B5EF4-FFF2-40B4-BE49-F238E27FC236}">
                <a16:creationId xmlns:a16="http://schemas.microsoft.com/office/drawing/2014/main" id="{24E3E452-24F0-1B44-9014-429AC576B5B6}"/>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3" name="Footer">
            <a:extLst>
              <a:ext uri="{FF2B5EF4-FFF2-40B4-BE49-F238E27FC236}">
                <a16:creationId xmlns:a16="http://schemas.microsoft.com/office/drawing/2014/main" id="{B10204F0-D72F-7C43-9047-C52F851EBA3E}"/>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
        <p:nvSpPr>
          <p:cNvPr id="3" name="Text Placeholder 4">
            <a:extLst>
              <a:ext uri="{FF2B5EF4-FFF2-40B4-BE49-F238E27FC236}">
                <a16:creationId xmlns:a16="http://schemas.microsoft.com/office/drawing/2014/main" id="{1B36BF2C-DC48-8966-772A-4D05FAA4DBF6}"/>
              </a:ext>
            </a:extLst>
          </p:cNvPr>
          <p:cNvSpPr>
            <a:spLocks noGrp="1"/>
          </p:cNvSpPr>
          <p:nvPr>
            <p:ph type="body" sz="quarter" idx="16"/>
          </p:nvPr>
        </p:nvSpPr>
        <p:spPr>
          <a:xfrm>
            <a:off x="323850" y="1093788"/>
            <a:ext cx="5616000" cy="3529012"/>
          </a:xfrm>
        </p:spPr>
        <p:txBody>
          <a:bodyPr rIns="216000"/>
          <a:lstStyle>
            <a:lvl1pPr marL="342900" indent="-342900">
              <a:lnSpc>
                <a:spcPct val="95000"/>
              </a:lnSpc>
              <a:spcBef>
                <a:spcPts val="1000"/>
              </a:spcBef>
              <a:buFont typeface="+mj-lt"/>
              <a:buAutoNum type="arabicPeriod"/>
              <a:defRPr sz="1800" b="1"/>
            </a:lvl1pPr>
            <a:lvl2pPr marL="342000" indent="-342000">
              <a:spcBef>
                <a:spcPts val="0"/>
              </a:spcBef>
              <a:buFontTx/>
              <a:buBlip>
                <a:blip r:embed="rId3"/>
              </a:buBlip>
              <a:defRPr sz="1400"/>
            </a:lvl2pPr>
            <a:lvl3pPr marL="342000" indent="-342000">
              <a:spcBef>
                <a:spcPts val="0"/>
              </a:spcBef>
              <a:spcAft>
                <a:spcPts val="0"/>
              </a:spcAft>
              <a:buFontTx/>
              <a:buBlip>
                <a:blip r:embed="rId3"/>
              </a:buBlip>
              <a:defRPr>
                <a:solidFill>
                  <a:schemeClr val="tx1"/>
                </a:solidFill>
              </a:defRPr>
            </a:lvl3pPr>
          </a:lstStyle>
          <a:p>
            <a:pPr lvl="0"/>
            <a:r>
              <a:rPr lang="sv-SE"/>
              <a:t>Klicka här för att ändra format på bakgrundstexten</a:t>
            </a:r>
          </a:p>
          <a:p>
            <a:pPr lvl="1"/>
            <a:r>
              <a:rPr lang="sv-SE"/>
              <a:t>Nivå två</a:t>
            </a:r>
          </a:p>
          <a:p>
            <a:pPr lvl="2"/>
            <a:r>
              <a:rPr lang="sv-SE"/>
              <a:t>Nivå tre</a:t>
            </a:r>
          </a:p>
        </p:txBody>
      </p:sp>
    </p:spTree>
    <p:extLst>
      <p:ext uri="{BB962C8B-B14F-4D97-AF65-F5344CB8AC3E}">
        <p14:creationId xmlns:p14="http://schemas.microsoft.com/office/powerpoint/2010/main" val="86014608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 Generic Image Start">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29B8958B-10DA-F24F-A2EC-49711C241895}"/>
              </a:ext>
            </a:extLst>
          </p:cNvPr>
          <p:cNvSpPr/>
          <p:nvPr userDrawn="1"/>
        </p:nvSpPr>
        <p:spPr>
          <a:xfrm>
            <a:off x="6520873" y="2499519"/>
            <a:ext cx="1003877" cy="493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8" name="Rektangel 27">
            <a:extLst>
              <a:ext uri="{FF2B5EF4-FFF2-40B4-BE49-F238E27FC236}">
                <a16:creationId xmlns:a16="http://schemas.microsoft.com/office/drawing/2014/main" id="{44B06D9C-224E-0C44-86A7-A872605E97D8}"/>
              </a:ext>
            </a:extLst>
          </p:cNvPr>
          <p:cNvSpPr/>
          <p:nvPr userDrawn="1"/>
        </p:nvSpPr>
        <p:spPr>
          <a:xfrm>
            <a:off x="6520873" y="2007250"/>
            <a:ext cx="1003877" cy="4930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5" name="Picture Placeholder 44">
            <a:extLst>
              <a:ext uri="{FF2B5EF4-FFF2-40B4-BE49-F238E27FC236}">
                <a16:creationId xmlns:a16="http://schemas.microsoft.com/office/drawing/2014/main" id="{DEA784E8-8252-DD5B-F219-7BD42C129BF5}"/>
              </a:ext>
            </a:extLst>
          </p:cNvPr>
          <p:cNvSpPr>
            <a:spLocks noGrp="1"/>
          </p:cNvSpPr>
          <p:nvPr>
            <p:ph type="pic" sz="quarter" idx="10" hasCustomPrompt="1"/>
          </p:nvPr>
        </p:nvSpPr>
        <p:spPr>
          <a:xfrm>
            <a:off x="179388" y="158750"/>
            <a:ext cx="8785322" cy="4681538"/>
          </a:xfrm>
          <a:custGeom>
            <a:avLst/>
            <a:gdLst>
              <a:gd name="connsiteX0" fmla="*/ 5043808 w 8785322"/>
              <a:gd name="connsiteY0" fmla="*/ 2233607 h 4681538"/>
              <a:gd name="connsiteX1" fmla="*/ 5044628 w 8785322"/>
              <a:gd name="connsiteY1" fmla="*/ 2233607 h 4681538"/>
              <a:gd name="connsiteX2" fmla="*/ 5114297 w 8785322"/>
              <a:gd name="connsiteY2" fmla="*/ 2404588 h 4681538"/>
              <a:gd name="connsiteX3" fmla="*/ 4974550 w 8785322"/>
              <a:gd name="connsiteY3" fmla="*/ 2404588 h 4681538"/>
              <a:gd name="connsiteX4" fmla="*/ 2227558 w 8785322"/>
              <a:gd name="connsiteY4" fmla="*/ 2233607 h 4681538"/>
              <a:gd name="connsiteX5" fmla="*/ 2228378 w 8785322"/>
              <a:gd name="connsiteY5" fmla="*/ 2233607 h 4681538"/>
              <a:gd name="connsiteX6" fmla="*/ 2298047 w 8785322"/>
              <a:gd name="connsiteY6" fmla="*/ 2404588 h 4681538"/>
              <a:gd name="connsiteX7" fmla="*/ 2158300 w 8785322"/>
              <a:gd name="connsiteY7" fmla="*/ 2404588 h 4681538"/>
              <a:gd name="connsiteX8" fmla="*/ 5788443 w 8785322"/>
              <a:gd name="connsiteY8" fmla="*/ 2095367 h 4681538"/>
              <a:gd name="connsiteX9" fmla="*/ 5788443 w 8785322"/>
              <a:gd name="connsiteY9" fmla="*/ 2595780 h 4681538"/>
              <a:gd name="connsiteX10" fmla="*/ 6155228 w 8785322"/>
              <a:gd name="connsiteY10" fmla="*/ 2595780 h 4681538"/>
              <a:gd name="connsiteX11" fmla="*/ 6155228 w 8785322"/>
              <a:gd name="connsiteY11" fmla="*/ 2485026 h 4681538"/>
              <a:gd name="connsiteX12" fmla="*/ 5921223 w 8785322"/>
              <a:gd name="connsiteY12" fmla="*/ 2485026 h 4681538"/>
              <a:gd name="connsiteX13" fmla="*/ 5921223 w 8785322"/>
              <a:gd name="connsiteY13" fmla="*/ 2095367 h 4681538"/>
              <a:gd name="connsiteX14" fmla="*/ 5363874 w 8785322"/>
              <a:gd name="connsiteY14" fmla="*/ 2095367 h 4681538"/>
              <a:gd name="connsiteX15" fmla="*/ 5363874 w 8785322"/>
              <a:gd name="connsiteY15" fmla="*/ 2595780 h 4681538"/>
              <a:gd name="connsiteX16" fmla="*/ 5731069 w 8785322"/>
              <a:gd name="connsiteY16" fmla="*/ 2595780 h 4681538"/>
              <a:gd name="connsiteX17" fmla="*/ 5731069 w 8785322"/>
              <a:gd name="connsiteY17" fmla="*/ 2485026 h 4681538"/>
              <a:gd name="connsiteX18" fmla="*/ 5497064 w 8785322"/>
              <a:gd name="connsiteY18" fmla="*/ 2485026 h 4681538"/>
              <a:gd name="connsiteX19" fmla="*/ 5497064 w 8785322"/>
              <a:gd name="connsiteY19" fmla="*/ 2095367 h 4681538"/>
              <a:gd name="connsiteX20" fmla="*/ 4979058 w 8785322"/>
              <a:gd name="connsiteY20" fmla="*/ 2095367 h 4681538"/>
              <a:gd name="connsiteX21" fmla="*/ 4767593 w 8785322"/>
              <a:gd name="connsiteY21" fmla="*/ 2595780 h 4681538"/>
              <a:gd name="connsiteX22" fmla="*/ 4896275 w 8785322"/>
              <a:gd name="connsiteY22" fmla="*/ 2595780 h 4681538"/>
              <a:gd name="connsiteX23" fmla="*/ 4932748 w 8785322"/>
              <a:gd name="connsiteY23" fmla="*/ 2506449 h 4681538"/>
              <a:gd name="connsiteX24" fmla="*/ 5156098 w 8785322"/>
              <a:gd name="connsiteY24" fmla="*/ 2506449 h 4681538"/>
              <a:gd name="connsiteX25" fmla="*/ 5192571 w 8785322"/>
              <a:gd name="connsiteY25" fmla="*/ 2595780 h 4681538"/>
              <a:gd name="connsiteX26" fmla="*/ 5321254 w 8785322"/>
              <a:gd name="connsiteY26" fmla="*/ 2595780 h 4681538"/>
              <a:gd name="connsiteX27" fmla="*/ 5109789 w 8785322"/>
              <a:gd name="connsiteY27" fmla="*/ 2095367 h 4681538"/>
              <a:gd name="connsiteX28" fmla="*/ 5108149 w 8785322"/>
              <a:gd name="connsiteY28" fmla="*/ 2095367 h 4681538"/>
              <a:gd name="connsiteX29" fmla="*/ 5107739 w 8785322"/>
              <a:gd name="connsiteY29" fmla="*/ 2095367 h 4681538"/>
              <a:gd name="connsiteX30" fmla="*/ 4424578 w 8785322"/>
              <a:gd name="connsiteY30" fmla="*/ 2095367 h 4681538"/>
              <a:gd name="connsiteX31" fmla="*/ 4424578 w 8785322"/>
              <a:gd name="connsiteY31" fmla="*/ 2595780 h 4681538"/>
              <a:gd name="connsiteX32" fmla="*/ 4557358 w 8785322"/>
              <a:gd name="connsiteY32" fmla="*/ 2595780 h 4681538"/>
              <a:gd name="connsiteX33" fmla="*/ 4557358 w 8785322"/>
              <a:gd name="connsiteY33" fmla="*/ 2393270 h 4681538"/>
              <a:gd name="connsiteX34" fmla="*/ 4772101 w 8785322"/>
              <a:gd name="connsiteY34" fmla="*/ 2393270 h 4681538"/>
              <a:gd name="connsiteX35" fmla="*/ 4772101 w 8785322"/>
              <a:gd name="connsiteY35" fmla="*/ 2286154 h 4681538"/>
              <a:gd name="connsiteX36" fmla="*/ 4557358 w 8785322"/>
              <a:gd name="connsiteY36" fmla="*/ 2286154 h 4681538"/>
              <a:gd name="connsiteX37" fmla="*/ 4557358 w 8785322"/>
              <a:gd name="connsiteY37" fmla="*/ 2202483 h 4681538"/>
              <a:gd name="connsiteX38" fmla="*/ 4811854 w 8785322"/>
              <a:gd name="connsiteY38" fmla="*/ 2202483 h 4681538"/>
              <a:gd name="connsiteX39" fmla="*/ 4811854 w 8785322"/>
              <a:gd name="connsiteY39" fmla="*/ 2095367 h 4681538"/>
              <a:gd name="connsiteX40" fmla="*/ 3843460 w 8785322"/>
              <a:gd name="connsiteY40" fmla="*/ 2095367 h 4681538"/>
              <a:gd name="connsiteX41" fmla="*/ 3843460 w 8785322"/>
              <a:gd name="connsiteY41" fmla="*/ 2595780 h 4681538"/>
              <a:gd name="connsiteX42" fmla="*/ 3970503 w 8785322"/>
              <a:gd name="connsiteY42" fmla="*/ 2595780 h 4681538"/>
              <a:gd name="connsiteX43" fmla="*/ 3970503 w 8785322"/>
              <a:gd name="connsiteY43" fmla="*/ 2299898 h 4681538"/>
              <a:gd name="connsiteX44" fmla="*/ 4196721 w 8785322"/>
              <a:gd name="connsiteY44" fmla="*/ 2595780 h 4681538"/>
              <a:gd name="connsiteX45" fmla="*/ 4323354 w 8785322"/>
              <a:gd name="connsiteY45" fmla="*/ 2595780 h 4681538"/>
              <a:gd name="connsiteX46" fmla="*/ 4323354 w 8785322"/>
              <a:gd name="connsiteY46" fmla="*/ 2095367 h 4681538"/>
              <a:gd name="connsiteX47" fmla="*/ 4196721 w 8785322"/>
              <a:gd name="connsiteY47" fmla="*/ 2095367 h 4681538"/>
              <a:gd name="connsiteX48" fmla="*/ 4196721 w 8785322"/>
              <a:gd name="connsiteY48" fmla="*/ 2394887 h 4681538"/>
              <a:gd name="connsiteX49" fmla="*/ 3970503 w 8785322"/>
              <a:gd name="connsiteY49" fmla="*/ 2095367 h 4681538"/>
              <a:gd name="connsiteX50" fmla="*/ 3376270 w 8785322"/>
              <a:gd name="connsiteY50" fmla="*/ 2095367 h 4681538"/>
              <a:gd name="connsiteX51" fmla="*/ 3376270 w 8785322"/>
              <a:gd name="connsiteY51" fmla="*/ 2595780 h 4681538"/>
              <a:gd name="connsiteX52" fmla="*/ 3509050 w 8785322"/>
              <a:gd name="connsiteY52" fmla="*/ 2595780 h 4681538"/>
              <a:gd name="connsiteX53" fmla="*/ 3751661 w 8785322"/>
              <a:gd name="connsiteY53" fmla="*/ 2595780 h 4681538"/>
              <a:gd name="connsiteX54" fmla="*/ 3751661 w 8785322"/>
              <a:gd name="connsiteY54" fmla="*/ 2488664 h 4681538"/>
              <a:gd name="connsiteX55" fmla="*/ 3509050 w 8785322"/>
              <a:gd name="connsiteY55" fmla="*/ 2488664 h 4681538"/>
              <a:gd name="connsiteX56" fmla="*/ 3509050 w 8785322"/>
              <a:gd name="connsiteY56" fmla="*/ 2390037 h 4681538"/>
              <a:gd name="connsiteX57" fmla="*/ 3714777 w 8785322"/>
              <a:gd name="connsiteY57" fmla="*/ 2390037 h 4681538"/>
              <a:gd name="connsiteX58" fmla="*/ 3714777 w 8785322"/>
              <a:gd name="connsiteY58" fmla="*/ 2282921 h 4681538"/>
              <a:gd name="connsiteX59" fmla="*/ 3509050 w 8785322"/>
              <a:gd name="connsiteY59" fmla="*/ 2282921 h 4681538"/>
              <a:gd name="connsiteX60" fmla="*/ 3509050 w 8785322"/>
              <a:gd name="connsiteY60" fmla="*/ 2202483 h 4681538"/>
              <a:gd name="connsiteX61" fmla="*/ 3751661 w 8785322"/>
              <a:gd name="connsiteY61" fmla="*/ 2202483 h 4681538"/>
              <a:gd name="connsiteX62" fmla="*/ 3751661 w 8785322"/>
              <a:gd name="connsiteY62" fmla="*/ 2095367 h 4681538"/>
              <a:gd name="connsiteX63" fmla="*/ 2898835 w 8785322"/>
              <a:gd name="connsiteY63" fmla="*/ 2095367 h 4681538"/>
              <a:gd name="connsiteX64" fmla="*/ 2898835 w 8785322"/>
              <a:gd name="connsiteY64" fmla="*/ 2202483 h 4681538"/>
              <a:gd name="connsiteX65" fmla="*/ 3032025 w 8785322"/>
              <a:gd name="connsiteY65" fmla="*/ 2202483 h 4681538"/>
              <a:gd name="connsiteX66" fmla="*/ 3032025 w 8785322"/>
              <a:gd name="connsiteY66" fmla="*/ 2595780 h 4681538"/>
              <a:gd name="connsiteX67" fmla="*/ 3164805 w 8785322"/>
              <a:gd name="connsiteY67" fmla="*/ 2595780 h 4681538"/>
              <a:gd name="connsiteX68" fmla="*/ 3164805 w 8785322"/>
              <a:gd name="connsiteY68" fmla="*/ 2202483 h 4681538"/>
              <a:gd name="connsiteX69" fmla="*/ 3311929 w 8785322"/>
              <a:gd name="connsiteY69" fmla="*/ 2202483 h 4681538"/>
              <a:gd name="connsiteX70" fmla="*/ 3311929 w 8785322"/>
              <a:gd name="connsiteY70" fmla="*/ 2095367 h 4681538"/>
              <a:gd name="connsiteX71" fmla="*/ 2439842 w 8785322"/>
              <a:gd name="connsiteY71" fmla="*/ 2095367 h 4681538"/>
              <a:gd name="connsiteX72" fmla="*/ 2439842 w 8785322"/>
              <a:gd name="connsiteY72" fmla="*/ 2202483 h 4681538"/>
              <a:gd name="connsiteX73" fmla="*/ 2586966 w 8785322"/>
              <a:gd name="connsiteY73" fmla="*/ 2202483 h 4681538"/>
              <a:gd name="connsiteX74" fmla="*/ 2586966 w 8785322"/>
              <a:gd name="connsiteY74" fmla="*/ 2595780 h 4681538"/>
              <a:gd name="connsiteX75" fmla="*/ 2719746 w 8785322"/>
              <a:gd name="connsiteY75" fmla="*/ 2595780 h 4681538"/>
              <a:gd name="connsiteX76" fmla="*/ 2719746 w 8785322"/>
              <a:gd name="connsiteY76" fmla="*/ 2202483 h 4681538"/>
              <a:gd name="connsiteX77" fmla="*/ 2852526 w 8785322"/>
              <a:gd name="connsiteY77" fmla="*/ 2202483 h 4681538"/>
              <a:gd name="connsiteX78" fmla="*/ 2852526 w 8785322"/>
              <a:gd name="connsiteY78" fmla="*/ 2095367 h 4681538"/>
              <a:gd name="connsiteX79" fmla="*/ 2162808 w 8785322"/>
              <a:gd name="connsiteY79" fmla="*/ 2095367 h 4681538"/>
              <a:gd name="connsiteX80" fmla="*/ 1951343 w 8785322"/>
              <a:gd name="connsiteY80" fmla="*/ 2595780 h 4681538"/>
              <a:gd name="connsiteX81" fmla="*/ 2080025 w 8785322"/>
              <a:gd name="connsiteY81" fmla="*/ 2595780 h 4681538"/>
              <a:gd name="connsiteX82" fmla="*/ 2116498 w 8785322"/>
              <a:gd name="connsiteY82" fmla="*/ 2506449 h 4681538"/>
              <a:gd name="connsiteX83" fmla="*/ 2339848 w 8785322"/>
              <a:gd name="connsiteY83" fmla="*/ 2506449 h 4681538"/>
              <a:gd name="connsiteX84" fmla="*/ 2376321 w 8785322"/>
              <a:gd name="connsiteY84" fmla="*/ 2595780 h 4681538"/>
              <a:gd name="connsiteX85" fmla="*/ 2505003 w 8785322"/>
              <a:gd name="connsiteY85" fmla="*/ 2595780 h 4681538"/>
              <a:gd name="connsiteX86" fmla="*/ 2293539 w 8785322"/>
              <a:gd name="connsiteY86" fmla="*/ 2095367 h 4681538"/>
              <a:gd name="connsiteX87" fmla="*/ 2291900 w 8785322"/>
              <a:gd name="connsiteY87" fmla="*/ 2095367 h 4681538"/>
              <a:gd name="connsiteX88" fmla="*/ 2291490 w 8785322"/>
              <a:gd name="connsiteY88" fmla="*/ 2095367 h 4681538"/>
              <a:gd name="connsiteX89" fmla="*/ 1489891 w 8785322"/>
              <a:gd name="connsiteY89" fmla="*/ 2095367 h 4681538"/>
              <a:gd name="connsiteX90" fmla="*/ 1698077 w 8785322"/>
              <a:gd name="connsiteY90" fmla="*/ 2595780 h 4681538"/>
              <a:gd name="connsiteX91" fmla="*/ 1829218 w 8785322"/>
              <a:gd name="connsiteY91" fmla="*/ 2595780 h 4681538"/>
              <a:gd name="connsiteX92" fmla="*/ 2037404 w 8785322"/>
              <a:gd name="connsiteY92" fmla="*/ 2095367 h 4681538"/>
              <a:gd name="connsiteX93" fmla="*/ 1908722 w 8785322"/>
              <a:gd name="connsiteY93" fmla="*/ 2095367 h 4681538"/>
              <a:gd name="connsiteX94" fmla="*/ 1764057 w 8785322"/>
              <a:gd name="connsiteY94" fmla="*/ 2447434 h 4681538"/>
              <a:gd name="connsiteX95" fmla="*/ 1763238 w 8785322"/>
              <a:gd name="connsiteY95" fmla="*/ 2447434 h 4681538"/>
              <a:gd name="connsiteX96" fmla="*/ 1618573 w 8785322"/>
              <a:gd name="connsiteY96" fmla="*/ 2095367 h 4681538"/>
              <a:gd name="connsiteX97" fmla="*/ 6873098 w 8785322"/>
              <a:gd name="connsiteY97" fmla="*/ 1893888 h 4681538"/>
              <a:gd name="connsiteX98" fmla="*/ 6783215 w 8785322"/>
              <a:gd name="connsiteY98" fmla="*/ 1899451 h 4681538"/>
              <a:gd name="connsiteX99" fmla="*/ 6414580 w 8785322"/>
              <a:gd name="connsiteY99" fmla="*/ 2403598 h 4681538"/>
              <a:gd name="connsiteX100" fmla="*/ 6923755 w 8785322"/>
              <a:gd name="connsiteY100" fmla="*/ 2765256 h 4681538"/>
              <a:gd name="connsiteX101" fmla="*/ 7292391 w 8785322"/>
              <a:gd name="connsiteY101" fmla="*/ 2261109 h 4681538"/>
              <a:gd name="connsiteX102" fmla="*/ 6873098 w 8785322"/>
              <a:gd name="connsiteY102" fmla="*/ 1893888 h 4681538"/>
              <a:gd name="connsiteX103" fmla="*/ 0 w 8785322"/>
              <a:gd name="connsiteY103" fmla="*/ 0 h 4681538"/>
              <a:gd name="connsiteX104" fmla="*/ 8785322 w 8785322"/>
              <a:gd name="connsiteY104" fmla="*/ 0 h 4681538"/>
              <a:gd name="connsiteX105" fmla="*/ 8785322 w 8785322"/>
              <a:gd name="connsiteY105" fmla="*/ 4681538 h 4681538"/>
              <a:gd name="connsiteX106" fmla="*/ 0 w 8785322"/>
              <a:gd name="connsiteY106" fmla="*/ 4681538 h 4681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8785322" h="4681538">
                <a:moveTo>
                  <a:pt x="5043808" y="2233607"/>
                </a:moveTo>
                <a:lnTo>
                  <a:pt x="5044628" y="2233607"/>
                </a:lnTo>
                <a:lnTo>
                  <a:pt x="5114297" y="2404588"/>
                </a:lnTo>
                <a:lnTo>
                  <a:pt x="4974550" y="2404588"/>
                </a:lnTo>
                <a:close/>
                <a:moveTo>
                  <a:pt x="2227558" y="2233607"/>
                </a:moveTo>
                <a:lnTo>
                  <a:pt x="2228378" y="2233607"/>
                </a:lnTo>
                <a:lnTo>
                  <a:pt x="2298047" y="2404588"/>
                </a:lnTo>
                <a:lnTo>
                  <a:pt x="2158300" y="2404588"/>
                </a:lnTo>
                <a:close/>
                <a:moveTo>
                  <a:pt x="5788443" y="2095367"/>
                </a:moveTo>
                <a:lnTo>
                  <a:pt x="5788443" y="2595780"/>
                </a:lnTo>
                <a:lnTo>
                  <a:pt x="6155228" y="2595780"/>
                </a:lnTo>
                <a:lnTo>
                  <a:pt x="6155228" y="2485026"/>
                </a:lnTo>
                <a:lnTo>
                  <a:pt x="5921223" y="2485026"/>
                </a:lnTo>
                <a:lnTo>
                  <a:pt x="5921223" y="2095367"/>
                </a:lnTo>
                <a:close/>
                <a:moveTo>
                  <a:pt x="5363874" y="2095367"/>
                </a:moveTo>
                <a:lnTo>
                  <a:pt x="5363874" y="2595780"/>
                </a:lnTo>
                <a:lnTo>
                  <a:pt x="5731069" y="2595780"/>
                </a:lnTo>
                <a:lnTo>
                  <a:pt x="5731069" y="2485026"/>
                </a:lnTo>
                <a:lnTo>
                  <a:pt x="5497064" y="2485026"/>
                </a:lnTo>
                <a:lnTo>
                  <a:pt x="5497064" y="2095367"/>
                </a:lnTo>
                <a:close/>
                <a:moveTo>
                  <a:pt x="4979058" y="2095367"/>
                </a:moveTo>
                <a:lnTo>
                  <a:pt x="4767593" y="2595780"/>
                </a:lnTo>
                <a:lnTo>
                  <a:pt x="4896275" y="2595780"/>
                </a:lnTo>
                <a:lnTo>
                  <a:pt x="4932748" y="2506449"/>
                </a:lnTo>
                <a:lnTo>
                  <a:pt x="5156098" y="2506449"/>
                </a:lnTo>
                <a:lnTo>
                  <a:pt x="5192571" y="2595780"/>
                </a:lnTo>
                <a:lnTo>
                  <a:pt x="5321254" y="2595780"/>
                </a:lnTo>
                <a:lnTo>
                  <a:pt x="5109789" y="2095367"/>
                </a:lnTo>
                <a:lnTo>
                  <a:pt x="5108149" y="2095367"/>
                </a:lnTo>
                <a:lnTo>
                  <a:pt x="5107739" y="2095367"/>
                </a:lnTo>
                <a:close/>
                <a:moveTo>
                  <a:pt x="4424578" y="2095367"/>
                </a:moveTo>
                <a:lnTo>
                  <a:pt x="4424578" y="2595780"/>
                </a:lnTo>
                <a:lnTo>
                  <a:pt x="4557358" y="2595780"/>
                </a:lnTo>
                <a:lnTo>
                  <a:pt x="4557358" y="2393270"/>
                </a:lnTo>
                <a:lnTo>
                  <a:pt x="4772101" y="2393270"/>
                </a:lnTo>
                <a:lnTo>
                  <a:pt x="4772101" y="2286154"/>
                </a:lnTo>
                <a:lnTo>
                  <a:pt x="4557358" y="2286154"/>
                </a:lnTo>
                <a:lnTo>
                  <a:pt x="4557358" y="2202483"/>
                </a:lnTo>
                <a:lnTo>
                  <a:pt x="4811854" y="2202483"/>
                </a:lnTo>
                <a:lnTo>
                  <a:pt x="4811854" y="2095367"/>
                </a:lnTo>
                <a:close/>
                <a:moveTo>
                  <a:pt x="3843460" y="2095367"/>
                </a:moveTo>
                <a:lnTo>
                  <a:pt x="3843460" y="2595780"/>
                </a:lnTo>
                <a:lnTo>
                  <a:pt x="3970503" y="2595780"/>
                </a:lnTo>
                <a:lnTo>
                  <a:pt x="3970503" y="2299898"/>
                </a:lnTo>
                <a:lnTo>
                  <a:pt x="4196721" y="2595780"/>
                </a:lnTo>
                <a:lnTo>
                  <a:pt x="4323354" y="2595780"/>
                </a:lnTo>
                <a:lnTo>
                  <a:pt x="4323354" y="2095367"/>
                </a:lnTo>
                <a:lnTo>
                  <a:pt x="4196721" y="2095367"/>
                </a:lnTo>
                <a:lnTo>
                  <a:pt x="4196721" y="2394887"/>
                </a:lnTo>
                <a:lnTo>
                  <a:pt x="3970503" y="2095367"/>
                </a:lnTo>
                <a:close/>
                <a:moveTo>
                  <a:pt x="3376270" y="2095367"/>
                </a:moveTo>
                <a:lnTo>
                  <a:pt x="3376270" y="2595780"/>
                </a:lnTo>
                <a:lnTo>
                  <a:pt x="3509050" y="2595780"/>
                </a:lnTo>
                <a:lnTo>
                  <a:pt x="3751661" y="2595780"/>
                </a:lnTo>
                <a:lnTo>
                  <a:pt x="3751661" y="2488664"/>
                </a:lnTo>
                <a:lnTo>
                  <a:pt x="3509050" y="2488664"/>
                </a:lnTo>
                <a:lnTo>
                  <a:pt x="3509050" y="2390037"/>
                </a:lnTo>
                <a:lnTo>
                  <a:pt x="3714777" y="2390037"/>
                </a:lnTo>
                <a:lnTo>
                  <a:pt x="3714777" y="2282921"/>
                </a:lnTo>
                <a:lnTo>
                  <a:pt x="3509050" y="2282921"/>
                </a:lnTo>
                <a:lnTo>
                  <a:pt x="3509050" y="2202483"/>
                </a:lnTo>
                <a:lnTo>
                  <a:pt x="3751661" y="2202483"/>
                </a:lnTo>
                <a:lnTo>
                  <a:pt x="3751661" y="2095367"/>
                </a:lnTo>
                <a:close/>
                <a:moveTo>
                  <a:pt x="2898835" y="2095367"/>
                </a:moveTo>
                <a:lnTo>
                  <a:pt x="2898835" y="2202483"/>
                </a:lnTo>
                <a:lnTo>
                  <a:pt x="3032025" y="2202483"/>
                </a:lnTo>
                <a:lnTo>
                  <a:pt x="3032025" y="2595780"/>
                </a:lnTo>
                <a:lnTo>
                  <a:pt x="3164805" y="2595780"/>
                </a:lnTo>
                <a:lnTo>
                  <a:pt x="3164805" y="2202483"/>
                </a:lnTo>
                <a:lnTo>
                  <a:pt x="3311929" y="2202483"/>
                </a:lnTo>
                <a:lnTo>
                  <a:pt x="3311929" y="2095367"/>
                </a:lnTo>
                <a:close/>
                <a:moveTo>
                  <a:pt x="2439842" y="2095367"/>
                </a:moveTo>
                <a:lnTo>
                  <a:pt x="2439842" y="2202483"/>
                </a:lnTo>
                <a:lnTo>
                  <a:pt x="2586966" y="2202483"/>
                </a:lnTo>
                <a:lnTo>
                  <a:pt x="2586966" y="2595780"/>
                </a:lnTo>
                <a:lnTo>
                  <a:pt x="2719746" y="2595780"/>
                </a:lnTo>
                <a:lnTo>
                  <a:pt x="2719746" y="2202483"/>
                </a:lnTo>
                <a:lnTo>
                  <a:pt x="2852526" y="2202483"/>
                </a:lnTo>
                <a:lnTo>
                  <a:pt x="2852526" y="2095367"/>
                </a:lnTo>
                <a:close/>
                <a:moveTo>
                  <a:pt x="2162808" y="2095367"/>
                </a:moveTo>
                <a:lnTo>
                  <a:pt x="1951343" y="2595780"/>
                </a:lnTo>
                <a:lnTo>
                  <a:pt x="2080025" y="2595780"/>
                </a:lnTo>
                <a:lnTo>
                  <a:pt x="2116498" y="2506449"/>
                </a:lnTo>
                <a:lnTo>
                  <a:pt x="2339848" y="2506449"/>
                </a:lnTo>
                <a:lnTo>
                  <a:pt x="2376321" y="2595780"/>
                </a:lnTo>
                <a:lnTo>
                  <a:pt x="2505003" y="2595780"/>
                </a:lnTo>
                <a:lnTo>
                  <a:pt x="2293539" y="2095367"/>
                </a:lnTo>
                <a:lnTo>
                  <a:pt x="2291900" y="2095367"/>
                </a:lnTo>
                <a:lnTo>
                  <a:pt x="2291490" y="2095367"/>
                </a:lnTo>
                <a:close/>
                <a:moveTo>
                  <a:pt x="1489891" y="2095367"/>
                </a:moveTo>
                <a:lnTo>
                  <a:pt x="1698077" y="2595780"/>
                </a:lnTo>
                <a:lnTo>
                  <a:pt x="1829218" y="2595780"/>
                </a:lnTo>
                <a:lnTo>
                  <a:pt x="2037404" y="2095367"/>
                </a:lnTo>
                <a:lnTo>
                  <a:pt x="1908722" y="2095367"/>
                </a:lnTo>
                <a:lnTo>
                  <a:pt x="1764057" y="2447434"/>
                </a:lnTo>
                <a:lnTo>
                  <a:pt x="1763238" y="2447434"/>
                </a:lnTo>
                <a:lnTo>
                  <a:pt x="1618573" y="2095367"/>
                </a:lnTo>
                <a:close/>
                <a:moveTo>
                  <a:pt x="6873098" y="1893888"/>
                </a:moveTo>
                <a:cubicBezTo>
                  <a:pt x="6843590" y="1892759"/>
                  <a:pt x="6813515" y="1894533"/>
                  <a:pt x="6783215" y="1899451"/>
                </a:cubicBezTo>
                <a:cubicBezTo>
                  <a:pt x="6540815" y="1938798"/>
                  <a:pt x="6375771" y="2164513"/>
                  <a:pt x="6414580" y="2403598"/>
                </a:cubicBezTo>
                <a:cubicBezTo>
                  <a:pt x="6453389" y="2642683"/>
                  <a:pt x="6681355" y="2804603"/>
                  <a:pt x="6923755" y="2765256"/>
                </a:cubicBezTo>
                <a:cubicBezTo>
                  <a:pt x="7166156" y="2725909"/>
                  <a:pt x="7331200" y="2500194"/>
                  <a:pt x="7292391" y="2261109"/>
                </a:cubicBezTo>
                <a:cubicBezTo>
                  <a:pt x="7258433" y="2051909"/>
                  <a:pt x="7079652" y="1901790"/>
                  <a:pt x="6873098" y="1893888"/>
                </a:cubicBezTo>
                <a:close/>
                <a:moveTo>
                  <a:pt x="0" y="0"/>
                </a:moveTo>
                <a:lnTo>
                  <a:pt x="8785322" y="0"/>
                </a:lnTo>
                <a:lnTo>
                  <a:pt x="8785322" y="4681538"/>
                </a:lnTo>
                <a:lnTo>
                  <a:pt x="0" y="4681538"/>
                </a:lnTo>
                <a:close/>
              </a:path>
            </a:pathLst>
          </a:custGeom>
          <a:blipFill dpi="0" rotWithShape="1">
            <a:blip r:embed="rId2"/>
            <a:srcRect/>
            <a:tile tx="0" ty="0" sx="100000" sy="100000" flip="none" algn="tl"/>
          </a:blipFill>
        </p:spPr>
        <p:txBody>
          <a:bodyPr wrap="square">
            <a:noAutofit/>
          </a:bodyPr>
          <a:lstStyle>
            <a:lvl1pPr algn="ctr">
              <a:buNone/>
              <a:defRPr sz="800">
                <a:solidFill>
                  <a:schemeClr val="bg1">
                    <a:lumMod val="75000"/>
                  </a:schemeClr>
                </a:solidFill>
              </a:defRPr>
            </a:lvl1pPr>
          </a:lstStyle>
          <a:p>
            <a:r>
              <a:rPr lang="en-GB" noProof="0"/>
              <a:t>Click on the icon to add an image</a:t>
            </a:r>
          </a:p>
        </p:txBody>
      </p:sp>
      <p:sp>
        <p:nvSpPr>
          <p:cNvPr id="2" name="Rektangel 1">
            <a:extLst>
              <a:ext uri="{FF2B5EF4-FFF2-40B4-BE49-F238E27FC236}">
                <a16:creationId xmlns:a16="http://schemas.microsoft.com/office/drawing/2014/main" id="{F803F8D0-F719-E241-8577-1EB6E3E95C67}"/>
              </a:ext>
            </a:extLst>
          </p:cNvPr>
          <p:cNvSpPr/>
          <p:nvPr userDrawn="1"/>
        </p:nvSpPr>
        <p:spPr>
          <a:xfrm>
            <a:off x="3949700" y="4867046"/>
            <a:ext cx="1193800" cy="276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1" name="Date">
            <a:extLst>
              <a:ext uri="{FF2B5EF4-FFF2-40B4-BE49-F238E27FC236}">
                <a16:creationId xmlns:a16="http://schemas.microsoft.com/office/drawing/2014/main" id="{38CA3AD7-12F8-9F43-820D-33071C26D41A}"/>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02B9B850-3FB9-487E-ACB2-5C274454AAD5}" type="datetime1">
              <a:rPr lang="sv-SE" noProof="0" smtClean="0"/>
              <a:t>2025-09-04</a:t>
            </a:fld>
            <a:endParaRPr lang="en-GB" noProof="0"/>
          </a:p>
        </p:txBody>
      </p:sp>
      <p:sp>
        <p:nvSpPr>
          <p:cNvPr id="12" name="Number">
            <a:extLst>
              <a:ext uri="{FF2B5EF4-FFF2-40B4-BE49-F238E27FC236}">
                <a16:creationId xmlns:a16="http://schemas.microsoft.com/office/drawing/2014/main" id="{DFED6C3B-4A73-344C-A9A5-F8224178884F}"/>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3" name="Footer">
            <a:extLst>
              <a:ext uri="{FF2B5EF4-FFF2-40B4-BE49-F238E27FC236}">
                <a16:creationId xmlns:a16="http://schemas.microsoft.com/office/drawing/2014/main" id="{3B9E93E1-A5C6-AE48-99D5-A7A443E60A82}"/>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p:txBody>
      </p:sp>
      <p:sp>
        <p:nvSpPr>
          <p:cNvPr id="44" name="Freeform 43" hidden="1">
            <a:extLst>
              <a:ext uri="{FF2B5EF4-FFF2-40B4-BE49-F238E27FC236}">
                <a16:creationId xmlns:a16="http://schemas.microsoft.com/office/drawing/2014/main" id="{E9FC0811-40D9-831F-DCE0-427627CDAC09}"/>
              </a:ext>
            </a:extLst>
          </p:cNvPr>
          <p:cNvSpPr/>
          <p:nvPr userDrawn="1"/>
        </p:nvSpPr>
        <p:spPr>
          <a:xfrm>
            <a:off x="1669279" y="2052311"/>
            <a:ext cx="5808155" cy="877585"/>
          </a:xfrm>
          <a:custGeom>
            <a:avLst/>
            <a:gdLst>
              <a:gd name="connsiteX0" fmla="*/ 3553917 w 5808155"/>
              <a:gd name="connsiteY0" fmla="*/ 340046 h 877585"/>
              <a:gd name="connsiteX1" fmla="*/ 3484659 w 5808155"/>
              <a:gd name="connsiteY1" fmla="*/ 511027 h 877585"/>
              <a:gd name="connsiteX2" fmla="*/ 3624406 w 5808155"/>
              <a:gd name="connsiteY2" fmla="*/ 511027 h 877585"/>
              <a:gd name="connsiteX3" fmla="*/ 3554737 w 5808155"/>
              <a:gd name="connsiteY3" fmla="*/ 340046 h 877585"/>
              <a:gd name="connsiteX4" fmla="*/ 737667 w 5808155"/>
              <a:gd name="connsiteY4" fmla="*/ 340046 h 877585"/>
              <a:gd name="connsiteX5" fmla="*/ 668409 w 5808155"/>
              <a:gd name="connsiteY5" fmla="*/ 511027 h 877585"/>
              <a:gd name="connsiteX6" fmla="*/ 808156 w 5808155"/>
              <a:gd name="connsiteY6" fmla="*/ 511027 h 877585"/>
              <a:gd name="connsiteX7" fmla="*/ 738487 w 5808155"/>
              <a:gd name="connsiteY7" fmla="*/ 340046 h 877585"/>
              <a:gd name="connsiteX8" fmla="*/ 4298552 w 5808155"/>
              <a:gd name="connsiteY8" fmla="*/ 201806 h 877585"/>
              <a:gd name="connsiteX9" fmla="*/ 4431332 w 5808155"/>
              <a:gd name="connsiteY9" fmla="*/ 201806 h 877585"/>
              <a:gd name="connsiteX10" fmla="*/ 4431332 w 5808155"/>
              <a:gd name="connsiteY10" fmla="*/ 591465 h 877585"/>
              <a:gd name="connsiteX11" fmla="*/ 4665337 w 5808155"/>
              <a:gd name="connsiteY11" fmla="*/ 591465 h 877585"/>
              <a:gd name="connsiteX12" fmla="*/ 4665337 w 5808155"/>
              <a:gd name="connsiteY12" fmla="*/ 702219 h 877585"/>
              <a:gd name="connsiteX13" fmla="*/ 4298552 w 5808155"/>
              <a:gd name="connsiteY13" fmla="*/ 702219 h 877585"/>
              <a:gd name="connsiteX14" fmla="*/ 3873983 w 5808155"/>
              <a:gd name="connsiteY14" fmla="*/ 201806 h 877585"/>
              <a:gd name="connsiteX15" fmla="*/ 4007173 w 5808155"/>
              <a:gd name="connsiteY15" fmla="*/ 201806 h 877585"/>
              <a:gd name="connsiteX16" fmla="*/ 4007173 w 5808155"/>
              <a:gd name="connsiteY16" fmla="*/ 591465 h 877585"/>
              <a:gd name="connsiteX17" fmla="*/ 4241178 w 5808155"/>
              <a:gd name="connsiteY17" fmla="*/ 591465 h 877585"/>
              <a:gd name="connsiteX18" fmla="*/ 4241178 w 5808155"/>
              <a:gd name="connsiteY18" fmla="*/ 702219 h 877585"/>
              <a:gd name="connsiteX19" fmla="*/ 3873983 w 5808155"/>
              <a:gd name="connsiteY19" fmla="*/ 702219 h 877585"/>
              <a:gd name="connsiteX20" fmla="*/ 3489167 w 5808155"/>
              <a:gd name="connsiteY20" fmla="*/ 201806 h 877585"/>
              <a:gd name="connsiteX21" fmla="*/ 3617848 w 5808155"/>
              <a:gd name="connsiteY21" fmla="*/ 201806 h 877585"/>
              <a:gd name="connsiteX22" fmla="*/ 3618258 w 5808155"/>
              <a:gd name="connsiteY22" fmla="*/ 201806 h 877585"/>
              <a:gd name="connsiteX23" fmla="*/ 3619898 w 5808155"/>
              <a:gd name="connsiteY23" fmla="*/ 201806 h 877585"/>
              <a:gd name="connsiteX24" fmla="*/ 3831363 w 5808155"/>
              <a:gd name="connsiteY24" fmla="*/ 702219 h 877585"/>
              <a:gd name="connsiteX25" fmla="*/ 3702680 w 5808155"/>
              <a:gd name="connsiteY25" fmla="*/ 702219 h 877585"/>
              <a:gd name="connsiteX26" fmla="*/ 3666207 w 5808155"/>
              <a:gd name="connsiteY26" fmla="*/ 612888 h 877585"/>
              <a:gd name="connsiteX27" fmla="*/ 3442857 w 5808155"/>
              <a:gd name="connsiteY27" fmla="*/ 612888 h 877585"/>
              <a:gd name="connsiteX28" fmla="*/ 3406384 w 5808155"/>
              <a:gd name="connsiteY28" fmla="*/ 702219 h 877585"/>
              <a:gd name="connsiteX29" fmla="*/ 3277702 w 5808155"/>
              <a:gd name="connsiteY29" fmla="*/ 702219 h 877585"/>
              <a:gd name="connsiteX30" fmla="*/ 2934687 w 5808155"/>
              <a:gd name="connsiteY30" fmla="*/ 201806 h 877585"/>
              <a:gd name="connsiteX31" fmla="*/ 3321963 w 5808155"/>
              <a:gd name="connsiteY31" fmla="*/ 201806 h 877585"/>
              <a:gd name="connsiteX32" fmla="*/ 3321963 w 5808155"/>
              <a:gd name="connsiteY32" fmla="*/ 308922 h 877585"/>
              <a:gd name="connsiteX33" fmla="*/ 3067467 w 5808155"/>
              <a:gd name="connsiteY33" fmla="*/ 308922 h 877585"/>
              <a:gd name="connsiteX34" fmla="*/ 3067467 w 5808155"/>
              <a:gd name="connsiteY34" fmla="*/ 392593 h 877585"/>
              <a:gd name="connsiteX35" fmla="*/ 3282210 w 5808155"/>
              <a:gd name="connsiteY35" fmla="*/ 392593 h 877585"/>
              <a:gd name="connsiteX36" fmla="*/ 3282210 w 5808155"/>
              <a:gd name="connsiteY36" fmla="*/ 499709 h 877585"/>
              <a:gd name="connsiteX37" fmla="*/ 3067467 w 5808155"/>
              <a:gd name="connsiteY37" fmla="*/ 499709 h 877585"/>
              <a:gd name="connsiteX38" fmla="*/ 3067467 w 5808155"/>
              <a:gd name="connsiteY38" fmla="*/ 702219 h 877585"/>
              <a:gd name="connsiteX39" fmla="*/ 2934687 w 5808155"/>
              <a:gd name="connsiteY39" fmla="*/ 702219 h 877585"/>
              <a:gd name="connsiteX40" fmla="*/ 2353569 w 5808155"/>
              <a:gd name="connsiteY40" fmla="*/ 201806 h 877585"/>
              <a:gd name="connsiteX41" fmla="*/ 2480612 w 5808155"/>
              <a:gd name="connsiteY41" fmla="*/ 201806 h 877585"/>
              <a:gd name="connsiteX42" fmla="*/ 2706830 w 5808155"/>
              <a:gd name="connsiteY42" fmla="*/ 501326 h 877585"/>
              <a:gd name="connsiteX43" fmla="*/ 2706830 w 5808155"/>
              <a:gd name="connsiteY43" fmla="*/ 201806 h 877585"/>
              <a:gd name="connsiteX44" fmla="*/ 2833463 w 5808155"/>
              <a:gd name="connsiteY44" fmla="*/ 201806 h 877585"/>
              <a:gd name="connsiteX45" fmla="*/ 2833463 w 5808155"/>
              <a:gd name="connsiteY45" fmla="*/ 702219 h 877585"/>
              <a:gd name="connsiteX46" fmla="*/ 2706830 w 5808155"/>
              <a:gd name="connsiteY46" fmla="*/ 702219 h 877585"/>
              <a:gd name="connsiteX47" fmla="*/ 2480612 w 5808155"/>
              <a:gd name="connsiteY47" fmla="*/ 406337 h 877585"/>
              <a:gd name="connsiteX48" fmla="*/ 2480612 w 5808155"/>
              <a:gd name="connsiteY48" fmla="*/ 702219 h 877585"/>
              <a:gd name="connsiteX49" fmla="*/ 2353569 w 5808155"/>
              <a:gd name="connsiteY49" fmla="*/ 702219 h 877585"/>
              <a:gd name="connsiteX50" fmla="*/ 1886379 w 5808155"/>
              <a:gd name="connsiteY50" fmla="*/ 201806 h 877585"/>
              <a:gd name="connsiteX51" fmla="*/ 2261770 w 5808155"/>
              <a:gd name="connsiteY51" fmla="*/ 201806 h 877585"/>
              <a:gd name="connsiteX52" fmla="*/ 2261770 w 5808155"/>
              <a:gd name="connsiteY52" fmla="*/ 308922 h 877585"/>
              <a:gd name="connsiteX53" fmla="*/ 2019159 w 5808155"/>
              <a:gd name="connsiteY53" fmla="*/ 308922 h 877585"/>
              <a:gd name="connsiteX54" fmla="*/ 2019159 w 5808155"/>
              <a:gd name="connsiteY54" fmla="*/ 389360 h 877585"/>
              <a:gd name="connsiteX55" fmla="*/ 2224886 w 5808155"/>
              <a:gd name="connsiteY55" fmla="*/ 389360 h 877585"/>
              <a:gd name="connsiteX56" fmla="*/ 2224886 w 5808155"/>
              <a:gd name="connsiteY56" fmla="*/ 496476 h 877585"/>
              <a:gd name="connsiteX57" fmla="*/ 2019159 w 5808155"/>
              <a:gd name="connsiteY57" fmla="*/ 496476 h 877585"/>
              <a:gd name="connsiteX58" fmla="*/ 2019159 w 5808155"/>
              <a:gd name="connsiteY58" fmla="*/ 595103 h 877585"/>
              <a:gd name="connsiteX59" fmla="*/ 2261770 w 5808155"/>
              <a:gd name="connsiteY59" fmla="*/ 595103 h 877585"/>
              <a:gd name="connsiteX60" fmla="*/ 2261770 w 5808155"/>
              <a:gd name="connsiteY60" fmla="*/ 702219 h 877585"/>
              <a:gd name="connsiteX61" fmla="*/ 2019159 w 5808155"/>
              <a:gd name="connsiteY61" fmla="*/ 702219 h 877585"/>
              <a:gd name="connsiteX62" fmla="*/ 1886379 w 5808155"/>
              <a:gd name="connsiteY62" fmla="*/ 702219 h 877585"/>
              <a:gd name="connsiteX63" fmla="*/ 1408944 w 5808155"/>
              <a:gd name="connsiteY63" fmla="*/ 201806 h 877585"/>
              <a:gd name="connsiteX64" fmla="*/ 1822038 w 5808155"/>
              <a:gd name="connsiteY64" fmla="*/ 201806 h 877585"/>
              <a:gd name="connsiteX65" fmla="*/ 1822038 w 5808155"/>
              <a:gd name="connsiteY65" fmla="*/ 308922 h 877585"/>
              <a:gd name="connsiteX66" fmla="*/ 1674914 w 5808155"/>
              <a:gd name="connsiteY66" fmla="*/ 308922 h 877585"/>
              <a:gd name="connsiteX67" fmla="*/ 1674914 w 5808155"/>
              <a:gd name="connsiteY67" fmla="*/ 702219 h 877585"/>
              <a:gd name="connsiteX68" fmla="*/ 1542134 w 5808155"/>
              <a:gd name="connsiteY68" fmla="*/ 702219 h 877585"/>
              <a:gd name="connsiteX69" fmla="*/ 1542134 w 5808155"/>
              <a:gd name="connsiteY69" fmla="*/ 308922 h 877585"/>
              <a:gd name="connsiteX70" fmla="*/ 1408944 w 5808155"/>
              <a:gd name="connsiteY70" fmla="*/ 308922 h 877585"/>
              <a:gd name="connsiteX71" fmla="*/ 949951 w 5808155"/>
              <a:gd name="connsiteY71" fmla="*/ 201806 h 877585"/>
              <a:gd name="connsiteX72" fmla="*/ 1362635 w 5808155"/>
              <a:gd name="connsiteY72" fmla="*/ 201806 h 877585"/>
              <a:gd name="connsiteX73" fmla="*/ 1362635 w 5808155"/>
              <a:gd name="connsiteY73" fmla="*/ 308922 h 877585"/>
              <a:gd name="connsiteX74" fmla="*/ 1229855 w 5808155"/>
              <a:gd name="connsiteY74" fmla="*/ 308922 h 877585"/>
              <a:gd name="connsiteX75" fmla="*/ 1229855 w 5808155"/>
              <a:gd name="connsiteY75" fmla="*/ 702219 h 877585"/>
              <a:gd name="connsiteX76" fmla="*/ 1097075 w 5808155"/>
              <a:gd name="connsiteY76" fmla="*/ 702219 h 877585"/>
              <a:gd name="connsiteX77" fmla="*/ 1097075 w 5808155"/>
              <a:gd name="connsiteY77" fmla="*/ 308922 h 877585"/>
              <a:gd name="connsiteX78" fmla="*/ 949951 w 5808155"/>
              <a:gd name="connsiteY78" fmla="*/ 308922 h 877585"/>
              <a:gd name="connsiteX79" fmla="*/ 672917 w 5808155"/>
              <a:gd name="connsiteY79" fmla="*/ 201806 h 877585"/>
              <a:gd name="connsiteX80" fmla="*/ 801599 w 5808155"/>
              <a:gd name="connsiteY80" fmla="*/ 201806 h 877585"/>
              <a:gd name="connsiteX81" fmla="*/ 802009 w 5808155"/>
              <a:gd name="connsiteY81" fmla="*/ 201806 h 877585"/>
              <a:gd name="connsiteX82" fmla="*/ 803648 w 5808155"/>
              <a:gd name="connsiteY82" fmla="*/ 201806 h 877585"/>
              <a:gd name="connsiteX83" fmla="*/ 1015112 w 5808155"/>
              <a:gd name="connsiteY83" fmla="*/ 702219 h 877585"/>
              <a:gd name="connsiteX84" fmla="*/ 886430 w 5808155"/>
              <a:gd name="connsiteY84" fmla="*/ 702219 h 877585"/>
              <a:gd name="connsiteX85" fmla="*/ 849957 w 5808155"/>
              <a:gd name="connsiteY85" fmla="*/ 612888 h 877585"/>
              <a:gd name="connsiteX86" fmla="*/ 626607 w 5808155"/>
              <a:gd name="connsiteY86" fmla="*/ 612888 h 877585"/>
              <a:gd name="connsiteX87" fmla="*/ 590134 w 5808155"/>
              <a:gd name="connsiteY87" fmla="*/ 702219 h 877585"/>
              <a:gd name="connsiteX88" fmla="*/ 461452 w 5808155"/>
              <a:gd name="connsiteY88" fmla="*/ 702219 h 877585"/>
              <a:gd name="connsiteX89" fmla="*/ 0 w 5808155"/>
              <a:gd name="connsiteY89" fmla="*/ 201806 h 877585"/>
              <a:gd name="connsiteX90" fmla="*/ 128682 w 5808155"/>
              <a:gd name="connsiteY90" fmla="*/ 201806 h 877585"/>
              <a:gd name="connsiteX91" fmla="*/ 273347 w 5808155"/>
              <a:gd name="connsiteY91" fmla="*/ 553873 h 877585"/>
              <a:gd name="connsiteX92" fmla="*/ 274166 w 5808155"/>
              <a:gd name="connsiteY92" fmla="*/ 553873 h 877585"/>
              <a:gd name="connsiteX93" fmla="*/ 418831 w 5808155"/>
              <a:gd name="connsiteY93" fmla="*/ 201806 h 877585"/>
              <a:gd name="connsiteX94" fmla="*/ 547513 w 5808155"/>
              <a:gd name="connsiteY94" fmla="*/ 201806 h 877585"/>
              <a:gd name="connsiteX95" fmla="*/ 339327 w 5808155"/>
              <a:gd name="connsiteY95" fmla="*/ 702219 h 877585"/>
              <a:gd name="connsiteX96" fmla="*/ 208186 w 5808155"/>
              <a:gd name="connsiteY96" fmla="*/ 702219 h 877585"/>
              <a:gd name="connsiteX97" fmla="*/ 5383207 w 5808155"/>
              <a:gd name="connsiteY97" fmla="*/ 327 h 877585"/>
              <a:gd name="connsiteX98" fmla="*/ 5802500 w 5808155"/>
              <a:gd name="connsiteY98" fmla="*/ 367548 h 877585"/>
              <a:gd name="connsiteX99" fmla="*/ 5433864 w 5808155"/>
              <a:gd name="connsiteY99" fmla="*/ 871695 h 877585"/>
              <a:gd name="connsiteX100" fmla="*/ 4924689 w 5808155"/>
              <a:gd name="connsiteY100" fmla="*/ 510037 h 877585"/>
              <a:gd name="connsiteX101" fmla="*/ 5293324 w 5808155"/>
              <a:gd name="connsiteY101" fmla="*/ 5890 h 877585"/>
              <a:gd name="connsiteX102" fmla="*/ 5383207 w 5808155"/>
              <a:gd name="connsiteY102" fmla="*/ 327 h 877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808155" h="877585">
                <a:moveTo>
                  <a:pt x="3553917" y="340046"/>
                </a:moveTo>
                <a:lnTo>
                  <a:pt x="3484659" y="511027"/>
                </a:lnTo>
                <a:lnTo>
                  <a:pt x="3624406" y="511027"/>
                </a:lnTo>
                <a:lnTo>
                  <a:pt x="3554737" y="340046"/>
                </a:lnTo>
                <a:close/>
                <a:moveTo>
                  <a:pt x="737667" y="340046"/>
                </a:moveTo>
                <a:lnTo>
                  <a:pt x="668409" y="511027"/>
                </a:lnTo>
                <a:lnTo>
                  <a:pt x="808156" y="511027"/>
                </a:lnTo>
                <a:lnTo>
                  <a:pt x="738487" y="340046"/>
                </a:lnTo>
                <a:close/>
                <a:moveTo>
                  <a:pt x="4298552" y="201806"/>
                </a:moveTo>
                <a:lnTo>
                  <a:pt x="4431332" y="201806"/>
                </a:lnTo>
                <a:lnTo>
                  <a:pt x="4431332" y="591465"/>
                </a:lnTo>
                <a:lnTo>
                  <a:pt x="4665337" y="591465"/>
                </a:lnTo>
                <a:lnTo>
                  <a:pt x="4665337" y="702219"/>
                </a:lnTo>
                <a:lnTo>
                  <a:pt x="4298552" y="702219"/>
                </a:lnTo>
                <a:close/>
                <a:moveTo>
                  <a:pt x="3873983" y="201806"/>
                </a:moveTo>
                <a:lnTo>
                  <a:pt x="4007173" y="201806"/>
                </a:lnTo>
                <a:lnTo>
                  <a:pt x="4007173" y="591465"/>
                </a:lnTo>
                <a:lnTo>
                  <a:pt x="4241178" y="591465"/>
                </a:lnTo>
                <a:lnTo>
                  <a:pt x="4241178" y="702219"/>
                </a:lnTo>
                <a:lnTo>
                  <a:pt x="3873983" y="702219"/>
                </a:lnTo>
                <a:close/>
                <a:moveTo>
                  <a:pt x="3489167" y="201806"/>
                </a:moveTo>
                <a:lnTo>
                  <a:pt x="3617848" y="201806"/>
                </a:lnTo>
                <a:lnTo>
                  <a:pt x="3618258" y="201806"/>
                </a:lnTo>
                <a:lnTo>
                  <a:pt x="3619898" y="201806"/>
                </a:lnTo>
                <a:lnTo>
                  <a:pt x="3831363" y="702219"/>
                </a:lnTo>
                <a:lnTo>
                  <a:pt x="3702680" y="702219"/>
                </a:lnTo>
                <a:lnTo>
                  <a:pt x="3666207" y="612888"/>
                </a:lnTo>
                <a:lnTo>
                  <a:pt x="3442857" y="612888"/>
                </a:lnTo>
                <a:lnTo>
                  <a:pt x="3406384" y="702219"/>
                </a:lnTo>
                <a:lnTo>
                  <a:pt x="3277702" y="702219"/>
                </a:lnTo>
                <a:close/>
                <a:moveTo>
                  <a:pt x="2934687" y="201806"/>
                </a:moveTo>
                <a:lnTo>
                  <a:pt x="3321963" y="201806"/>
                </a:lnTo>
                <a:lnTo>
                  <a:pt x="3321963" y="308922"/>
                </a:lnTo>
                <a:lnTo>
                  <a:pt x="3067467" y="308922"/>
                </a:lnTo>
                <a:lnTo>
                  <a:pt x="3067467" y="392593"/>
                </a:lnTo>
                <a:lnTo>
                  <a:pt x="3282210" y="392593"/>
                </a:lnTo>
                <a:lnTo>
                  <a:pt x="3282210" y="499709"/>
                </a:lnTo>
                <a:lnTo>
                  <a:pt x="3067467" y="499709"/>
                </a:lnTo>
                <a:lnTo>
                  <a:pt x="3067467" y="702219"/>
                </a:lnTo>
                <a:lnTo>
                  <a:pt x="2934687" y="702219"/>
                </a:lnTo>
                <a:close/>
                <a:moveTo>
                  <a:pt x="2353569" y="201806"/>
                </a:moveTo>
                <a:lnTo>
                  <a:pt x="2480612" y="201806"/>
                </a:lnTo>
                <a:lnTo>
                  <a:pt x="2706830" y="501326"/>
                </a:lnTo>
                <a:lnTo>
                  <a:pt x="2706830" y="201806"/>
                </a:lnTo>
                <a:lnTo>
                  <a:pt x="2833463" y="201806"/>
                </a:lnTo>
                <a:lnTo>
                  <a:pt x="2833463" y="702219"/>
                </a:lnTo>
                <a:lnTo>
                  <a:pt x="2706830" y="702219"/>
                </a:lnTo>
                <a:lnTo>
                  <a:pt x="2480612" y="406337"/>
                </a:lnTo>
                <a:lnTo>
                  <a:pt x="2480612" y="702219"/>
                </a:lnTo>
                <a:lnTo>
                  <a:pt x="2353569" y="702219"/>
                </a:lnTo>
                <a:close/>
                <a:moveTo>
                  <a:pt x="1886379" y="201806"/>
                </a:moveTo>
                <a:lnTo>
                  <a:pt x="2261770" y="201806"/>
                </a:lnTo>
                <a:lnTo>
                  <a:pt x="2261770" y="308922"/>
                </a:lnTo>
                <a:lnTo>
                  <a:pt x="2019159" y="308922"/>
                </a:lnTo>
                <a:lnTo>
                  <a:pt x="2019159" y="389360"/>
                </a:lnTo>
                <a:lnTo>
                  <a:pt x="2224886" y="389360"/>
                </a:lnTo>
                <a:lnTo>
                  <a:pt x="2224886" y="496476"/>
                </a:lnTo>
                <a:lnTo>
                  <a:pt x="2019159" y="496476"/>
                </a:lnTo>
                <a:lnTo>
                  <a:pt x="2019159" y="595103"/>
                </a:lnTo>
                <a:lnTo>
                  <a:pt x="2261770" y="595103"/>
                </a:lnTo>
                <a:lnTo>
                  <a:pt x="2261770" y="702219"/>
                </a:lnTo>
                <a:lnTo>
                  <a:pt x="2019159" y="702219"/>
                </a:lnTo>
                <a:lnTo>
                  <a:pt x="1886379" y="702219"/>
                </a:lnTo>
                <a:close/>
                <a:moveTo>
                  <a:pt x="1408944" y="201806"/>
                </a:moveTo>
                <a:lnTo>
                  <a:pt x="1822038" y="201806"/>
                </a:lnTo>
                <a:lnTo>
                  <a:pt x="1822038" y="308922"/>
                </a:lnTo>
                <a:lnTo>
                  <a:pt x="1674914" y="308922"/>
                </a:lnTo>
                <a:lnTo>
                  <a:pt x="1674914" y="702219"/>
                </a:lnTo>
                <a:lnTo>
                  <a:pt x="1542134" y="702219"/>
                </a:lnTo>
                <a:lnTo>
                  <a:pt x="1542134" y="308922"/>
                </a:lnTo>
                <a:lnTo>
                  <a:pt x="1408944" y="308922"/>
                </a:lnTo>
                <a:close/>
                <a:moveTo>
                  <a:pt x="949951" y="201806"/>
                </a:moveTo>
                <a:lnTo>
                  <a:pt x="1362635" y="201806"/>
                </a:lnTo>
                <a:lnTo>
                  <a:pt x="1362635" y="308922"/>
                </a:lnTo>
                <a:lnTo>
                  <a:pt x="1229855" y="308922"/>
                </a:lnTo>
                <a:lnTo>
                  <a:pt x="1229855" y="702219"/>
                </a:lnTo>
                <a:lnTo>
                  <a:pt x="1097075" y="702219"/>
                </a:lnTo>
                <a:lnTo>
                  <a:pt x="1097075" y="308922"/>
                </a:lnTo>
                <a:lnTo>
                  <a:pt x="949951" y="308922"/>
                </a:lnTo>
                <a:close/>
                <a:moveTo>
                  <a:pt x="672917" y="201806"/>
                </a:moveTo>
                <a:lnTo>
                  <a:pt x="801599" y="201806"/>
                </a:lnTo>
                <a:lnTo>
                  <a:pt x="802009" y="201806"/>
                </a:lnTo>
                <a:lnTo>
                  <a:pt x="803648" y="201806"/>
                </a:lnTo>
                <a:lnTo>
                  <a:pt x="1015112" y="702219"/>
                </a:lnTo>
                <a:lnTo>
                  <a:pt x="886430" y="702219"/>
                </a:lnTo>
                <a:lnTo>
                  <a:pt x="849957" y="612888"/>
                </a:lnTo>
                <a:lnTo>
                  <a:pt x="626607" y="612888"/>
                </a:lnTo>
                <a:lnTo>
                  <a:pt x="590134" y="702219"/>
                </a:lnTo>
                <a:lnTo>
                  <a:pt x="461452" y="702219"/>
                </a:lnTo>
                <a:close/>
                <a:moveTo>
                  <a:pt x="0" y="201806"/>
                </a:moveTo>
                <a:lnTo>
                  <a:pt x="128682" y="201806"/>
                </a:lnTo>
                <a:lnTo>
                  <a:pt x="273347" y="553873"/>
                </a:lnTo>
                <a:lnTo>
                  <a:pt x="274166" y="553873"/>
                </a:lnTo>
                <a:lnTo>
                  <a:pt x="418831" y="201806"/>
                </a:lnTo>
                <a:lnTo>
                  <a:pt x="547513" y="201806"/>
                </a:lnTo>
                <a:lnTo>
                  <a:pt x="339327" y="702219"/>
                </a:lnTo>
                <a:lnTo>
                  <a:pt x="208186" y="702219"/>
                </a:lnTo>
                <a:close/>
                <a:moveTo>
                  <a:pt x="5383207" y="327"/>
                </a:moveTo>
                <a:cubicBezTo>
                  <a:pt x="5589761" y="8229"/>
                  <a:pt x="5768542" y="158348"/>
                  <a:pt x="5802500" y="367548"/>
                </a:cubicBezTo>
                <a:cubicBezTo>
                  <a:pt x="5841309" y="606633"/>
                  <a:pt x="5676265" y="832348"/>
                  <a:pt x="5433864" y="871695"/>
                </a:cubicBezTo>
                <a:cubicBezTo>
                  <a:pt x="5191464" y="911042"/>
                  <a:pt x="4963498" y="749122"/>
                  <a:pt x="4924689" y="510037"/>
                </a:cubicBezTo>
                <a:cubicBezTo>
                  <a:pt x="4885880" y="270952"/>
                  <a:pt x="5050924" y="45237"/>
                  <a:pt x="5293324" y="5890"/>
                </a:cubicBezTo>
                <a:cubicBezTo>
                  <a:pt x="5323624" y="972"/>
                  <a:pt x="5353699" y="-802"/>
                  <a:pt x="5383207" y="327"/>
                </a:cubicBezTo>
                <a:close/>
              </a:path>
            </a:pathLst>
          </a:custGeom>
          <a:solidFill>
            <a:srgbClr val="0C65AF"/>
          </a:solidFill>
          <a:ln w="0" cap="flat">
            <a:noFill/>
            <a:prstDash val="solid"/>
            <a:miter/>
          </a:ln>
        </p:spPr>
        <p:txBody>
          <a:bodyPr rtlCol="0" anchor="ctr"/>
          <a:lstStyle/>
          <a:p>
            <a:endParaRPr lang="en-GB"/>
          </a:p>
        </p:txBody>
      </p:sp>
      <p:sp>
        <p:nvSpPr>
          <p:cNvPr id="6" name="Title 2">
            <a:extLst>
              <a:ext uri="{FF2B5EF4-FFF2-40B4-BE49-F238E27FC236}">
                <a16:creationId xmlns:a16="http://schemas.microsoft.com/office/drawing/2014/main" id="{A23CE6CE-A2B8-0881-C502-785080745644}"/>
              </a:ext>
            </a:extLst>
          </p:cNvPr>
          <p:cNvSpPr>
            <a:spLocks noGrp="1"/>
          </p:cNvSpPr>
          <p:nvPr>
            <p:ph type="title" hasCustomPrompt="1"/>
          </p:nvPr>
        </p:nvSpPr>
        <p:spPr>
          <a:xfrm>
            <a:off x="323850" y="-1070389"/>
            <a:ext cx="8496300" cy="527051"/>
          </a:xfrm>
        </p:spPr>
        <p:txBody>
          <a:bodyPr/>
          <a:lstStyle>
            <a:lvl1pPr marL="0" marR="0" indent="0" algn="l" defTabSz="685800" rtl="0" eaLnBrk="1" fontAlgn="auto" latinLnBrk="0" hangingPunct="1">
              <a:lnSpc>
                <a:spcPct val="95000"/>
              </a:lnSpc>
              <a:spcBef>
                <a:spcPct val="0"/>
              </a:spcBef>
              <a:spcAft>
                <a:spcPts val="0"/>
              </a:spcAft>
              <a:buClrTx/>
              <a:buSzTx/>
              <a:buFontTx/>
              <a:buNone/>
              <a:tabLst/>
              <a:defRPr/>
            </a:lvl1pPr>
          </a:lstStyle>
          <a:p>
            <a:r>
              <a:rPr lang="en-GB"/>
              <a:t>Click to add hidden slide title for accessibility</a:t>
            </a:r>
          </a:p>
        </p:txBody>
      </p:sp>
    </p:spTree>
    <p:extLst>
      <p:ext uri="{BB962C8B-B14F-4D97-AF65-F5344CB8AC3E}">
        <p14:creationId xmlns:p14="http://schemas.microsoft.com/office/powerpoint/2010/main" val="270928782"/>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 Generic Video Start">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F1CB8391-5425-1AB1-E826-C2E0E97813F9}"/>
              </a:ext>
            </a:extLst>
          </p:cNvPr>
          <p:cNvGrpSpPr/>
          <p:nvPr userDrawn="1"/>
        </p:nvGrpSpPr>
        <p:grpSpPr>
          <a:xfrm>
            <a:off x="6520873" y="2007250"/>
            <a:ext cx="1003877" cy="985332"/>
            <a:chOff x="6520873" y="2007250"/>
            <a:chExt cx="1003877" cy="985332"/>
          </a:xfrm>
        </p:grpSpPr>
        <p:sp>
          <p:nvSpPr>
            <p:cNvPr id="4" name="Rektangel 3">
              <a:extLst>
                <a:ext uri="{FF2B5EF4-FFF2-40B4-BE49-F238E27FC236}">
                  <a16:creationId xmlns:a16="http://schemas.microsoft.com/office/drawing/2014/main" id="{29B8958B-10DA-F24F-A2EC-49711C241895}"/>
                </a:ext>
              </a:extLst>
            </p:cNvPr>
            <p:cNvSpPr/>
            <p:nvPr userDrawn="1"/>
          </p:nvSpPr>
          <p:spPr>
            <a:xfrm>
              <a:off x="6520873" y="2499519"/>
              <a:ext cx="1003877" cy="493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8" name="Rektangel 27">
              <a:extLst>
                <a:ext uri="{FF2B5EF4-FFF2-40B4-BE49-F238E27FC236}">
                  <a16:creationId xmlns:a16="http://schemas.microsoft.com/office/drawing/2014/main" id="{44B06D9C-224E-0C44-86A7-A872605E97D8}"/>
                </a:ext>
              </a:extLst>
            </p:cNvPr>
            <p:cNvSpPr/>
            <p:nvPr userDrawn="1"/>
          </p:nvSpPr>
          <p:spPr>
            <a:xfrm>
              <a:off x="6520873" y="2007250"/>
              <a:ext cx="1003877" cy="4930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
        <p:nvSpPr>
          <p:cNvPr id="52" name="Media Placeholder 51">
            <a:extLst>
              <a:ext uri="{FF2B5EF4-FFF2-40B4-BE49-F238E27FC236}">
                <a16:creationId xmlns:a16="http://schemas.microsoft.com/office/drawing/2014/main" id="{5708EE99-0B61-DABA-AC8E-F36C1A13352F}"/>
              </a:ext>
            </a:extLst>
          </p:cNvPr>
          <p:cNvSpPr>
            <a:spLocks noGrp="1"/>
          </p:cNvSpPr>
          <p:nvPr>
            <p:ph type="media" sz="quarter" idx="11" hasCustomPrompt="1"/>
          </p:nvPr>
        </p:nvSpPr>
        <p:spPr>
          <a:xfrm>
            <a:off x="-32951" y="-18535"/>
            <a:ext cx="9209902" cy="5180570"/>
          </a:xfrm>
          <a:custGeom>
            <a:avLst/>
            <a:gdLst>
              <a:gd name="connsiteX0" fmla="*/ 5256147 w 9209902"/>
              <a:gd name="connsiteY0" fmla="*/ 2410892 h 5180570"/>
              <a:gd name="connsiteX1" fmla="*/ 5256967 w 9209902"/>
              <a:gd name="connsiteY1" fmla="*/ 2410892 h 5180570"/>
              <a:gd name="connsiteX2" fmla="*/ 5326636 w 9209902"/>
              <a:gd name="connsiteY2" fmla="*/ 2581873 h 5180570"/>
              <a:gd name="connsiteX3" fmla="*/ 5186889 w 9209902"/>
              <a:gd name="connsiteY3" fmla="*/ 2581873 h 5180570"/>
              <a:gd name="connsiteX4" fmla="*/ 2439897 w 9209902"/>
              <a:gd name="connsiteY4" fmla="*/ 2410892 h 5180570"/>
              <a:gd name="connsiteX5" fmla="*/ 2440717 w 9209902"/>
              <a:gd name="connsiteY5" fmla="*/ 2410892 h 5180570"/>
              <a:gd name="connsiteX6" fmla="*/ 2510386 w 9209902"/>
              <a:gd name="connsiteY6" fmla="*/ 2581873 h 5180570"/>
              <a:gd name="connsiteX7" fmla="*/ 2370639 w 9209902"/>
              <a:gd name="connsiteY7" fmla="*/ 2581873 h 5180570"/>
              <a:gd name="connsiteX8" fmla="*/ 6000782 w 9209902"/>
              <a:gd name="connsiteY8" fmla="*/ 2272652 h 5180570"/>
              <a:gd name="connsiteX9" fmla="*/ 6000782 w 9209902"/>
              <a:gd name="connsiteY9" fmla="*/ 2773065 h 5180570"/>
              <a:gd name="connsiteX10" fmla="*/ 6367567 w 9209902"/>
              <a:gd name="connsiteY10" fmla="*/ 2773065 h 5180570"/>
              <a:gd name="connsiteX11" fmla="*/ 6367567 w 9209902"/>
              <a:gd name="connsiteY11" fmla="*/ 2662311 h 5180570"/>
              <a:gd name="connsiteX12" fmla="*/ 6133562 w 9209902"/>
              <a:gd name="connsiteY12" fmla="*/ 2662311 h 5180570"/>
              <a:gd name="connsiteX13" fmla="*/ 6133562 w 9209902"/>
              <a:gd name="connsiteY13" fmla="*/ 2272652 h 5180570"/>
              <a:gd name="connsiteX14" fmla="*/ 5576213 w 9209902"/>
              <a:gd name="connsiteY14" fmla="*/ 2272652 h 5180570"/>
              <a:gd name="connsiteX15" fmla="*/ 5576213 w 9209902"/>
              <a:gd name="connsiteY15" fmla="*/ 2773065 h 5180570"/>
              <a:gd name="connsiteX16" fmla="*/ 5943408 w 9209902"/>
              <a:gd name="connsiteY16" fmla="*/ 2773065 h 5180570"/>
              <a:gd name="connsiteX17" fmla="*/ 5943408 w 9209902"/>
              <a:gd name="connsiteY17" fmla="*/ 2662311 h 5180570"/>
              <a:gd name="connsiteX18" fmla="*/ 5709403 w 9209902"/>
              <a:gd name="connsiteY18" fmla="*/ 2662311 h 5180570"/>
              <a:gd name="connsiteX19" fmla="*/ 5709403 w 9209902"/>
              <a:gd name="connsiteY19" fmla="*/ 2272652 h 5180570"/>
              <a:gd name="connsiteX20" fmla="*/ 5191397 w 9209902"/>
              <a:gd name="connsiteY20" fmla="*/ 2272652 h 5180570"/>
              <a:gd name="connsiteX21" fmla="*/ 4979932 w 9209902"/>
              <a:gd name="connsiteY21" fmla="*/ 2773065 h 5180570"/>
              <a:gd name="connsiteX22" fmla="*/ 5108614 w 9209902"/>
              <a:gd name="connsiteY22" fmla="*/ 2773065 h 5180570"/>
              <a:gd name="connsiteX23" fmla="*/ 5145087 w 9209902"/>
              <a:gd name="connsiteY23" fmla="*/ 2683734 h 5180570"/>
              <a:gd name="connsiteX24" fmla="*/ 5368437 w 9209902"/>
              <a:gd name="connsiteY24" fmla="*/ 2683734 h 5180570"/>
              <a:gd name="connsiteX25" fmla="*/ 5404910 w 9209902"/>
              <a:gd name="connsiteY25" fmla="*/ 2773065 h 5180570"/>
              <a:gd name="connsiteX26" fmla="*/ 5533593 w 9209902"/>
              <a:gd name="connsiteY26" fmla="*/ 2773065 h 5180570"/>
              <a:gd name="connsiteX27" fmla="*/ 5322128 w 9209902"/>
              <a:gd name="connsiteY27" fmla="*/ 2272652 h 5180570"/>
              <a:gd name="connsiteX28" fmla="*/ 5320488 w 9209902"/>
              <a:gd name="connsiteY28" fmla="*/ 2272652 h 5180570"/>
              <a:gd name="connsiteX29" fmla="*/ 5320078 w 9209902"/>
              <a:gd name="connsiteY29" fmla="*/ 2272652 h 5180570"/>
              <a:gd name="connsiteX30" fmla="*/ 4636917 w 9209902"/>
              <a:gd name="connsiteY30" fmla="*/ 2272652 h 5180570"/>
              <a:gd name="connsiteX31" fmla="*/ 4636917 w 9209902"/>
              <a:gd name="connsiteY31" fmla="*/ 2773065 h 5180570"/>
              <a:gd name="connsiteX32" fmla="*/ 4769697 w 9209902"/>
              <a:gd name="connsiteY32" fmla="*/ 2773065 h 5180570"/>
              <a:gd name="connsiteX33" fmla="*/ 4769697 w 9209902"/>
              <a:gd name="connsiteY33" fmla="*/ 2570555 h 5180570"/>
              <a:gd name="connsiteX34" fmla="*/ 4984440 w 9209902"/>
              <a:gd name="connsiteY34" fmla="*/ 2570555 h 5180570"/>
              <a:gd name="connsiteX35" fmla="*/ 4984440 w 9209902"/>
              <a:gd name="connsiteY35" fmla="*/ 2463439 h 5180570"/>
              <a:gd name="connsiteX36" fmla="*/ 4769697 w 9209902"/>
              <a:gd name="connsiteY36" fmla="*/ 2463439 h 5180570"/>
              <a:gd name="connsiteX37" fmla="*/ 4769697 w 9209902"/>
              <a:gd name="connsiteY37" fmla="*/ 2379768 h 5180570"/>
              <a:gd name="connsiteX38" fmla="*/ 5024193 w 9209902"/>
              <a:gd name="connsiteY38" fmla="*/ 2379768 h 5180570"/>
              <a:gd name="connsiteX39" fmla="*/ 5024193 w 9209902"/>
              <a:gd name="connsiteY39" fmla="*/ 2272652 h 5180570"/>
              <a:gd name="connsiteX40" fmla="*/ 4055799 w 9209902"/>
              <a:gd name="connsiteY40" fmla="*/ 2272652 h 5180570"/>
              <a:gd name="connsiteX41" fmla="*/ 4055799 w 9209902"/>
              <a:gd name="connsiteY41" fmla="*/ 2773065 h 5180570"/>
              <a:gd name="connsiteX42" fmla="*/ 4182842 w 9209902"/>
              <a:gd name="connsiteY42" fmla="*/ 2773065 h 5180570"/>
              <a:gd name="connsiteX43" fmla="*/ 4182842 w 9209902"/>
              <a:gd name="connsiteY43" fmla="*/ 2477183 h 5180570"/>
              <a:gd name="connsiteX44" fmla="*/ 4409060 w 9209902"/>
              <a:gd name="connsiteY44" fmla="*/ 2773065 h 5180570"/>
              <a:gd name="connsiteX45" fmla="*/ 4535693 w 9209902"/>
              <a:gd name="connsiteY45" fmla="*/ 2773065 h 5180570"/>
              <a:gd name="connsiteX46" fmla="*/ 4535693 w 9209902"/>
              <a:gd name="connsiteY46" fmla="*/ 2272652 h 5180570"/>
              <a:gd name="connsiteX47" fmla="*/ 4409060 w 9209902"/>
              <a:gd name="connsiteY47" fmla="*/ 2272652 h 5180570"/>
              <a:gd name="connsiteX48" fmla="*/ 4409060 w 9209902"/>
              <a:gd name="connsiteY48" fmla="*/ 2572172 h 5180570"/>
              <a:gd name="connsiteX49" fmla="*/ 4182842 w 9209902"/>
              <a:gd name="connsiteY49" fmla="*/ 2272652 h 5180570"/>
              <a:gd name="connsiteX50" fmla="*/ 3588609 w 9209902"/>
              <a:gd name="connsiteY50" fmla="*/ 2272652 h 5180570"/>
              <a:gd name="connsiteX51" fmla="*/ 3588609 w 9209902"/>
              <a:gd name="connsiteY51" fmla="*/ 2773065 h 5180570"/>
              <a:gd name="connsiteX52" fmla="*/ 3721389 w 9209902"/>
              <a:gd name="connsiteY52" fmla="*/ 2773065 h 5180570"/>
              <a:gd name="connsiteX53" fmla="*/ 3964000 w 9209902"/>
              <a:gd name="connsiteY53" fmla="*/ 2773065 h 5180570"/>
              <a:gd name="connsiteX54" fmla="*/ 3964000 w 9209902"/>
              <a:gd name="connsiteY54" fmla="*/ 2665949 h 5180570"/>
              <a:gd name="connsiteX55" fmla="*/ 3721389 w 9209902"/>
              <a:gd name="connsiteY55" fmla="*/ 2665949 h 5180570"/>
              <a:gd name="connsiteX56" fmla="*/ 3721389 w 9209902"/>
              <a:gd name="connsiteY56" fmla="*/ 2567322 h 5180570"/>
              <a:gd name="connsiteX57" fmla="*/ 3927116 w 9209902"/>
              <a:gd name="connsiteY57" fmla="*/ 2567322 h 5180570"/>
              <a:gd name="connsiteX58" fmla="*/ 3927116 w 9209902"/>
              <a:gd name="connsiteY58" fmla="*/ 2460206 h 5180570"/>
              <a:gd name="connsiteX59" fmla="*/ 3721389 w 9209902"/>
              <a:gd name="connsiteY59" fmla="*/ 2460206 h 5180570"/>
              <a:gd name="connsiteX60" fmla="*/ 3721389 w 9209902"/>
              <a:gd name="connsiteY60" fmla="*/ 2379768 h 5180570"/>
              <a:gd name="connsiteX61" fmla="*/ 3964000 w 9209902"/>
              <a:gd name="connsiteY61" fmla="*/ 2379768 h 5180570"/>
              <a:gd name="connsiteX62" fmla="*/ 3964000 w 9209902"/>
              <a:gd name="connsiteY62" fmla="*/ 2272652 h 5180570"/>
              <a:gd name="connsiteX63" fmla="*/ 3111174 w 9209902"/>
              <a:gd name="connsiteY63" fmla="*/ 2272652 h 5180570"/>
              <a:gd name="connsiteX64" fmla="*/ 3111174 w 9209902"/>
              <a:gd name="connsiteY64" fmla="*/ 2379768 h 5180570"/>
              <a:gd name="connsiteX65" fmla="*/ 3244364 w 9209902"/>
              <a:gd name="connsiteY65" fmla="*/ 2379768 h 5180570"/>
              <a:gd name="connsiteX66" fmla="*/ 3244364 w 9209902"/>
              <a:gd name="connsiteY66" fmla="*/ 2773065 h 5180570"/>
              <a:gd name="connsiteX67" fmla="*/ 3377144 w 9209902"/>
              <a:gd name="connsiteY67" fmla="*/ 2773065 h 5180570"/>
              <a:gd name="connsiteX68" fmla="*/ 3377144 w 9209902"/>
              <a:gd name="connsiteY68" fmla="*/ 2379768 h 5180570"/>
              <a:gd name="connsiteX69" fmla="*/ 3524268 w 9209902"/>
              <a:gd name="connsiteY69" fmla="*/ 2379768 h 5180570"/>
              <a:gd name="connsiteX70" fmla="*/ 3524268 w 9209902"/>
              <a:gd name="connsiteY70" fmla="*/ 2272652 h 5180570"/>
              <a:gd name="connsiteX71" fmla="*/ 2652181 w 9209902"/>
              <a:gd name="connsiteY71" fmla="*/ 2272652 h 5180570"/>
              <a:gd name="connsiteX72" fmla="*/ 2652181 w 9209902"/>
              <a:gd name="connsiteY72" fmla="*/ 2379768 h 5180570"/>
              <a:gd name="connsiteX73" fmla="*/ 2799305 w 9209902"/>
              <a:gd name="connsiteY73" fmla="*/ 2379768 h 5180570"/>
              <a:gd name="connsiteX74" fmla="*/ 2799305 w 9209902"/>
              <a:gd name="connsiteY74" fmla="*/ 2773065 h 5180570"/>
              <a:gd name="connsiteX75" fmla="*/ 2932085 w 9209902"/>
              <a:gd name="connsiteY75" fmla="*/ 2773065 h 5180570"/>
              <a:gd name="connsiteX76" fmla="*/ 2932085 w 9209902"/>
              <a:gd name="connsiteY76" fmla="*/ 2379768 h 5180570"/>
              <a:gd name="connsiteX77" fmla="*/ 3064865 w 9209902"/>
              <a:gd name="connsiteY77" fmla="*/ 2379768 h 5180570"/>
              <a:gd name="connsiteX78" fmla="*/ 3064865 w 9209902"/>
              <a:gd name="connsiteY78" fmla="*/ 2272652 h 5180570"/>
              <a:gd name="connsiteX79" fmla="*/ 2375147 w 9209902"/>
              <a:gd name="connsiteY79" fmla="*/ 2272652 h 5180570"/>
              <a:gd name="connsiteX80" fmla="*/ 2163682 w 9209902"/>
              <a:gd name="connsiteY80" fmla="*/ 2773065 h 5180570"/>
              <a:gd name="connsiteX81" fmla="*/ 2292364 w 9209902"/>
              <a:gd name="connsiteY81" fmla="*/ 2773065 h 5180570"/>
              <a:gd name="connsiteX82" fmla="*/ 2328837 w 9209902"/>
              <a:gd name="connsiteY82" fmla="*/ 2683734 h 5180570"/>
              <a:gd name="connsiteX83" fmla="*/ 2552187 w 9209902"/>
              <a:gd name="connsiteY83" fmla="*/ 2683734 h 5180570"/>
              <a:gd name="connsiteX84" fmla="*/ 2588660 w 9209902"/>
              <a:gd name="connsiteY84" fmla="*/ 2773065 h 5180570"/>
              <a:gd name="connsiteX85" fmla="*/ 2717342 w 9209902"/>
              <a:gd name="connsiteY85" fmla="*/ 2773065 h 5180570"/>
              <a:gd name="connsiteX86" fmla="*/ 2505878 w 9209902"/>
              <a:gd name="connsiteY86" fmla="*/ 2272652 h 5180570"/>
              <a:gd name="connsiteX87" fmla="*/ 2504239 w 9209902"/>
              <a:gd name="connsiteY87" fmla="*/ 2272652 h 5180570"/>
              <a:gd name="connsiteX88" fmla="*/ 2503829 w 9209902"/>
              <a:gd name="connsiteY88" fmla="*/ 2272652 h 5180570"/>
              <a:gd name="connsiteX89" fmla="*/ 1702230 w 9209902"/>
              <a:gd name="connsiteY89" fmla="*/ 2272652 h 5180570"/>
              <a:gd name="connsiteX90" fmla="*/ 1910416 w 9209902"/>
              <a:gd name="connsiteY90" fmla="*/ 2773065 h 5180570"/>
              <a:gd name="connsiteX91" fmla="*/ 2041557 w 9209902"/>
              <a:gd name="connsiteY91" fmla="*/ 2773065 h 5180570"/>
              <a:gd name="connsiteX92" fmla="*/ 2249743 w 9209902"/>
              <a:gd name="connsiteY92" fmla="*/ 2272652 h 5180570"/>
              <a:gd name="connsiteX93" fmla="*/ 2121061 w 9209902"/>
              <a:gd name="connsiteY93" fmla="*/ 2272652 h 5180570"/>
              <a:gd name="connsiteX94" fmla="*/ 1976396 w 9209902"/>
              <a:gd name="connsiteY94" fmla="*/ 2624719 h 5180570"/>
              <a:gd name="connsiteX95" fmla="*/ 1975577 w 9209902"/>
              <a:gd name="connsiteY95" fmla="*/ 2624719 h 5180570"/>
              <a:gd name="connsiteX96" fmla="*/ 1830912 w 9209902"/>
              <a:gd name="connsiteY96" fmla="*/ 2272652 h 5180570"/>
              <a:gd name="connsiteX97" fmla="*/ 7085437 w 9209902"/>
              <a:gd name="connsiteY97" fmla="*/ 2071173 h 5180570"/>
              <a:gd name="connsiteX98" fmla="*/ 6995554 w 9209902"/>
              <a:gd name="connsiteY98" fmla="*/ 2076736 h 5180570"/>
              <a:gd name="connsiteX99" fmla="*/ 6626919 w 9209902"/>
              <a:gd name="connsiteY99" fmla="*/ 2580883 h 5180570"/>
              <a:gd name="connsiteX100" fmla="*/ 7136094 w 9209902"/>
              <a:gd name="connsiteY100" fmla="*/ 2942541 h 5180570"/>
              <a:gd name="connsiteX101" fmla="*/ 7504730 w 9209902"/>
              <a:gd name="connsiteY101" fmla="*/ 2438394 h 5180570"/>
              <a:gd name="connsiteX102" fmla="*/ 7085437 w 9209902"/>
              <a:gd name="connsiteY102" fmla="*/ 2071173 h 5180570"/>
              <a:gd name="connsiteX103" fmla="*/ 212339 w 9209902"/>
              <a:gd name="connsiteY103" fmla="*/ 177285 h 5180570"/>
              <a:gd name="connsiteX104" fmla="*/ 8997562 w 9209902"/>
              <a:gd name="connsiteY104" fmla="*/ 177285 h 5180570"/>
              <a:gd name="connsiteX105" fmla="*/ 8997562 w 9209902"/>
              <a:gd name="connsiteY105" fmla="*/ 4858824 h 5180570"/>
              <a:gd name="connsiteX106" fmla="*/ 212339 w 9209902"/>
              <a:gd name="connsiteY106" fmla="*/ 4858824 h 5180570"/>
              <a:gd name="connsiteX107" fmla="*/ 32951 w 9209902"/>
              <a:gd name="connsiteY107" fmla="*/ 18535 h 5180570"/>
              <a:gd name="connsiteX108" fmla="*/ 32951 w 9209902"/>
              <a:gd name="connsiteY108" fmla="*/ 5162034 h 5180570"/>
              <a:gd name="connsiteX109" fmla="*/ 143236 w 9209902"/>
              <a:gd name="connsiteY109" fmla="*/ 5162034 h 5180570"/>
              <a:gd name="connsiteX110" fmla="*/ 143236 w 9209902"/>
              <a:gd name="connsiteY110" fmla="*/ 5162035 h 5180570"/>
              <a:gd name="connsiteX111" fmla="*/ 9151553 w 9209902"/>
              <a:gd name="connsiteY111" fmla="*/ 5162035 h 5180570"/>
              <a:gd name="connsiteX112" fmla="*/ 9176951 w 9209902"/>
              <a:gd name="connsiteY112" fmla="*/ 5162035 h 5180570"/>
              <a:gd name="connsiteX113" fmla="*/ 9176951 w 9209902"/>
              <a:gd name="connsiteY113" fmla="*/ 18535 h 5180570"/>
              <a:gd name="connsiteX114" fmla="*/ 8997562 w 9209902"/>
              <a:gd name="connsiteY114" fmla="*/ 18535 h 5180570"/>
              <a:gd name="connsiteX115" fmla="*/ 143237 w 9209902"/>
              <a:gd name="connsiteY115" fmla="*/ 18535 h 5180570"/>
              <a:gd name="connsiteX116" fmla="*/ 0 w 9209902"/>
              <a:gd name="connsiteY116" fmla="*/ 0 h 5180570"/>
              <a:gd name="connsiteX117" fmla="*/ 9209902 w 9209902"/>
              <a:gd name="connsiteY117" fmla="*/ 0 h 5180570"/>
              <a:gd name="connsiteX118" fmla="*/ 9209902 w 9209902"/>
              <a:gd name="connsiteY118" fmla="*/ 5180570 h 5180570"/>
              <a:gd name="connsiteX119" fmla="*/ 0 w 9209902"/>
              <a:gd name="connsiteY119" fmla="*/ 5180570 h 518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9209902" h="5180570">
                <a:moveTo>
                  <a:pt x="5256147" y="2410892"/>
                </a:moveTo>
                <a:lnTo>
                  <a:pt x="5256967" y="2410892"/>
                </a:lnTo>
                <a:lnTo>
                  <a:pt x="5326636" y="2581873"/>
                </a:lnTo>
                <a:lnTo>
                  <a:pt x="5186889" y="2581873"/>
                </a:lnTo>
                <a:close/>
                <a:moveTo>
                  <a:pt x="2439897" y="2410892"/>
                </a:moveTo>
                <a:lnTo>
                  <a:pt x="2440717" y="2410892"/>
                </a:lnTo>
                <a:lnTo>
                  <a:pt x="2510386" y="2581873"/>
                </a:lnTo>
                <a:lnTo>
                  <a:pt x="2370639" y="2581873"/>
                </a:lnTo>
                <a:close/>
                <a:moveTo>
                  <a:pt x="6000782" y="2272652"/>
                </a:moveTo>
                <a:lnTo>
                  <a:pt x="6000782" y="2773065"/>
                </a:lnTo>
                <a:lnTo>
                  <a:pt x="6367567" y="2773065"/>
                </a:lnTo>
                <a:lnTo>
                  <a:pt x="6367567" y="2662311"/>
                </a:lnTo>
                <a:lnTo>
                  <a:pt x="6133562" y="2662311"/>
                </a:lnTo>
                <a:lnTo>
                  <a:pt x="6133562" y="2272652"/>
                </a:lnTo>
                <a:close/>
                <a:moveTo>
                  <a:pt x="5576213" y="2272652"/>
                </a:moveTo>
                <a:lnTo>
                  <a:pt x="5576213" y="2773065"/>
                </a:lnTo>
                <a:lnTo>
                  <a:pt x="5943408" y="2773065"/>
                </a:lnTo>
                <a:lnTo>
                  <a:pt x="5943408" y="2662311"/>
                </a:lnTo>
                <a:lnTo>
                  <a:pt x="5709403" y="2662311"/>
                </a:lnTo>
                <a:lnTo>
                  <a:pt x="5709403" y="2272652"/>
                </a:lnTo>
                <a:close/>
                <a:moveTo>
                  <a:pt x="5191397" y="2272652"/>
                </a:moveTo>
                <a:lnTo>
                  <a:pt x="4979932" y="2773065"/>
                </a:lnTo>
                <a:lnTo>
                  <a:pt x="5108614" y="2773065"/>
                </a:lnTo>
                <a:lnTo>
                  <a:pt x="5145087" y="2683734"/>
                </a:lnTo>
                <a:lnTo>
                  <a:pt x="5368437" y="2683734"/>
                </a:lnTo>
                <a:lnTo>
                  <a:pt x="5404910" y="2773065"/>
                </a:lnTo>
                <a:lnTo>
                  <a:pt x="5533593" y="2773065"/>
                </a:lnTo>
                <a:lnTo>
                  <a:pt x="5322128" y="2272652"/>
                </a:lnTo>
                <a:lnTo>
                  <a:pt x="5320488" y="2272652"/>
                </a:lnTo>
                <a:lnTo>
                  <a:pt x="5320078" y="2272652"/>
                </a:lnTo>
                <a:close/>
                <a:moveTo>
                  <a:pt x="4636917" y="2272652"/>
                </a:moveTo>
                <a:lnTo>
                  <a:pt x="4636917" y="2773065"/>
                </a:lnTo>
                <a:lnTo>
                  <a:pt x="4769697" y="2773065"/>
                </a:lnTo>
                <a:lnTo>
                  <a:pt x="4769697" y="2570555"/>
                </a:lnTo>
                <a:lnTo>
                  <a:pt x="4984440" y="2570555"/>
                </a:lnTo>
                <a:lnTo>
                  <a:pt x="4984440" y="2463439"/>
                </a:lnTo>
                <a:lnTo>
                  <a:pt x="4769697" y="2463439"/>
                </a:lnTo>
                <a:lnTo>
                  <a:pt x="4769697" y="2379768"/>
                </a:lnTo>
                <a:lnTo>
                  <a:pt x="5024193" y="2379768"/>
                </a:lnTo>
                <a:lnTo>
                  <a:pt x="5024193" y="2272652"/>
                </a:lnTo>
                <a:close/>
                <a:moveTo>
                  <a:pt x="4055799" y="2272652"/>
                </a:moveTo>
                <a:lnTo>
                  <a:pt x="4055799" y="2773065"/>
                </a:lnTo>
                <a:lnTo>
                  <a:pt x="4182842" y="2773065"/>
                </a:lnTo>
                <a:lnTo>
                  <a:pt x="4182842" y="2477183"/>
                </a:lnTo>
                <a:lnTo>
                  <a:pt x="4409060" y="2773065"/>
                </a:lnTo>
                <a:lnTo>
                  <a:pt x="4535693" y="2773065"/>
                </a:lnTo>
                <a:lnTo>
                  <a:pt x="4535693" y="2272652"/>
                </a:lnTo>
                <a:lnTo>
                  <a:pt x="4409060" y="2272652"/>
                </a:lnTo>
                <a:lnTo>
                  <a:pt x="4409060" y="2572172"/>
                </a:lnTo>
                <a:lnTo>
                  <a:pt x="4182842" y="2272652"/>
                </a:lnTo>
                <a:close/>
                <a:moveTo>
                  <a:pt x="3588609" y="2272652"/>
                </a:moveTo>
                <a:lnTo>
                  <a:pt x="3588609" y="2773065"/>
                </a:lnTo>
                <a:lnTo>
                  <a:pt x="3721389" y="2773065"/>
                </a:lnTo>
                <a:lnTo>
                  <a:pt x="3964000" y="2773065"/>
                </a:lnTo>
                <a:lnTo>
                  <a:pt x="3964000" y="2665949"/>
                </a:lnTo>
                <a:lnTo>
                  <a:pt x="3721389" y="2665949"/>
                </a:lnTo>
                <a:lnTo>
                  <a:pt x="3721389" y="2567322"/>
                </a:lnTo>
                <a:lnTo>
                  <a:pt x="3927116" y="2567322"/>
                </a:lnTo>
                <a:lnTo>
                  <a:pt x="3927116" y="2460206"/>
                </a:lnTo>
                <a:lnTo>
                  <a:pt x="3721389" y="2460206"/>
                </a:lnTo>
                <a:lnTo>
                  <a:pt x="3721389" y="2379768"/>
                </a:lnTo>
                <a:lnTo>
                  <a:pt x="3964000" y="2379768"/>
                </a:lnTo>
                <a:lnTo>
                  <a:pt x="3964000" y="2272652"/>
                </a:lnTo>
                <a:close/>
                <a:moveTo>
                  <a:pt x="3111174" y="2272652"/>
                </a:moveTo>
                <a:lnTo>
                  <a:pt x="3111174" y="2379768"/>
                </a:lnTo>
                <a:lnTo>
                  <a:pt x="3244364" y="2379768"/>
                </a:lnTo>
                <a:lnTo>
                  <a:pt x="3244364" y="2773065"/>
                </a:lnTo>
                <a:lnTo>
                  <a:pt x="3377144" y="2773065"/>
                </a:lnTo>
                <a:lnTo>
                  <a:pt x="3377144" y="2379768"/>
                </a:lnTo>
                <a:lnTo>
                  <a:pt x="3524268" y="2379768"/>
                </a:lnTo>
                <a:lnTo>
                  <a:pt x="3524268" y="2272652"/>
                </a:lnTo>
                <a:close/>
                <a:moveTo>
                  <a:pt x="2652181" y="2272652"/>
                </a:moveTo>
                <a:lnTo>
                  <a:pt x="2652181" y="2379768"/>
                </a:lnTo>
                <a:lnTo>
                  <a:pt x="2799305" y="2379768"/>
                </a:lnTo>
                <a:lnTo>
                  <a:pt x="2799305" y="2773065"/>
                </a:lnTo>
                <a:lnTo>
                  <a:pt x="2932085" y="2773065"/>
                </a:lnTo>
                <a:lnTo>
                  <a:pt x="2932085" y="2379768"/>
                </a:lnTo>
                <a:lnTo>
                  <a:pt x="3064865" y="2379768"/>
                </a:lnTo>
                <a:lnTo>
                  <a:pt x="3064865" y="2272652"/>
                </a:lnTo>
                <a:close/>
                <a:moveTo>
                  <a:pt x="2375147" y="2272652"/>
                </a:moveTo>
                <a:lnTo>
                  <a:pt x="2163682" y="2773065"/>
                </a:lnTo>
                <a:lnTo>
                  <a:pt x="2292364" y="2773065"/>
                </a:lnTo>
                <a:lnTo>
                  <a:pt x="2328837" y="2683734"/>
                </a:lnTo>
                <a:lnTo>
                  <a:pt x="2552187" y="2683734"/>
                </a:lnTo>
                <a:lnTo>
                  <a:pt x="2588660" y="2773065"/>
                </a:lnTo>
                <a:lnTo>
                  <a:pt x="2717342" y="2773065"/>
                </a:lnTo>
                <a:lnTo>
                  <a:pt x="2505878" y="2272652"/>
                </a:lnTo>
                <a:lnTo>
                  <a:pt x="2504239" y="2272652"/>
                </a:lnTo>
                <a:lnTo>
                  <a:pt x="2503829" y="2272652"/>
                </a:lnTo>
                <a:close/>
                <a:moveTo>
                  <a:pt x="1702230" y="2272652"/>
                </a:moveTo>
                <a:lnTo>
                  <a:pt x="1910416" y="2773065"/>
                </a:lnTo>
                <a:lnTo>
                  <a:pt x="2041557" y="2773065"/>
                </a:lnTo>
                <a:lnTo>
                  <a:pt x="2249743" y="2272652"/>
                </a:lnTo>
                <a:lnTo>
                  <a:pt x="2121061" y="2272652"/>
                </a:lnTo>
                <a:lnTo>
                  <a:pt x="1976396" y="2624719"/>
                </a:lnTo>
                <a:lnTo>
                  <a:pt x="1975577" y="2624719"/>
                </a:lnTo>
                <a:lnTo>
                  <a:pt x="1830912" y="2272652"/>
                </a:lnTo>
                <a:close/>
                <a:moveTo>
                  <a:pt x="7085437" y="2071173"/>
                </a:moveTo>
                <a:cubicBezTo>
                  <a:pt x="7055929" y="2070044"/>
                  <a:pt x="7025854" y="2071818"/>
                  <a:pt x="6995554" y="2076736"/>
                </a:cubicBezTo>
                <a:cubicBezTo>
                  <a:pt x="6753154" y="2116083"/>
                  <a:pt x="6588110" y="2341798"/>
                  <a:pt x="6626919" y="2580883"/>
                </a:cubicBezTo>
                <a:cubicBezTo>
                  <a:pt x="6665728" y="2819968"/>
                  <a:pt x="6893694" y="2981888"/>
                  <a:pt x="7136094" y="2942541"/>
                </a:cubicBezTo>
                <a:cubicBezTo>
                  <a:pt x="7378495" y="2903194"/>
                  <a:pt x="7543539" y="2677479"/>
                  <a:pt x="7504730" y="2438394"/>
                </a:cubicBezTo>
                <a:cubicBezTo>
                  <a:pt x="7470772" y="2229194"/>
                  <a:pt x="7291991" y="2079075"/>
                  <a:pt x="7085437" y="2071173"/>
                </a:cubicBezTo>
                <a:close/>
                <a:moveTo>
                  <a:pt x="212339" y="177285"/>
                </a:moveTo>
                <a:lnTo>
                  <a:pt x="8997562" y="177285"/>
                </a:lnTo>
                <a:lnTo>
                  <a:pt x="8997562" y="4858824"/>
                </a:lnTo>
                <a:lnTo>
                  <a:pt x="212339" y="4858824"/>
                </a:lnTo>
                <a:close/>
                <a:moveTo>
                  <a:pt x="32951" y="18535"/>
                </a:moveTo>
                <a:lnTo>
                  <a:pt x="32951" y="5162034"/>
                </a:lnTo>
                <a:lnTo>
                  <a:pt x="143236" y="5162034"/>
                </a:lnTo>
                <a:lnTo>
                  <a:pt x="143236" y="5162035"/>
                </a:lnTo>
                <a:lnTo>
                  <a:pt x="9151553" y="5162035"/>
                </a:lnTo>
                <a:lnTo>
                  <a:pt x="9176951" y="5162035"/>
                </a:lnTo>
                <a:lnTo>
                  <a:pt x="9176951" y="18535"/>
                </a:lnTo>
                <a:lnTo>
                  <a:pt x="8997562" y="18535"/>
                </a:lnTo>
                <a:lnTo>
                  <a:pt x="143237" y="18535"/>
                </a:lnTo>
                <a:close/>
                <a:moveTo>
                  <a:pt x="0" y="0"/>
                </a:moveTo>
                <a:lnTo>
                  <a:pt x="9209902" y="0"/>
                </a:lnTo>
                <a:lnTo>
                  <a:pt x="9209902" y="5180570"/>
                </a:lnTo>
                <a:lnTo>
                  <a:pt x="0" y="5180570"/>
                </a:lnTo>
                <a:close/>
              </a:path>
            </a:pathLst>
          </a:custGeom>
          <a:blipFill dpi="0" rotWithShape="1">
            <a:blip r:embed="rId2"/>
            <a:srcRect/>
            <a:tile tx="0" ty="0" sx="100000" sy="100000" flip="none" algn="tl"/>
          </a:blipFill>
        </p:spPr>
        <p:txBody>
          <a:bodyPr vert="horz" wrap="square" lIns="90000" tIns="251999" rIns="90000" bIns="45720" rtlCol="0">
            <a:noAutofit/>
          </a:bodyPr>
          <a:lstStyle>
            <a:lvl1pPr marL="0" indent="0" algn="ctr">
              <a:buNone/>
              <a:defRPr lang="en-GB" sz="800" noProof="0" dirty="0">
                <a:solidFill>
                  <a:schemeClr val="bg1">
                    <a:lumMod val="75000"/>
                  </a:schemeClr>
                </a:solidFill>
              </a:defRPr>
            </a:lvl1pPr>
          </a:lstStyle>
          <a:p>
            <a:pPr marL="171450" lvl="0" indent="-171450" algn="ctr"/>
            <a:r>
              <a:rPr lang="en-GB" noProof="0"/>
              <a:t>Click on the icon to add video</a:t>
            </a:r>
          </a:p>
        </p:txBody>
      </p:sp>
      <p:sp>
        <p:nvSpPr>
          <p:cNvPr id="11" name="Date" hidden="1">
            <a:extLst>
              <a:ext uri="{FF2B5EF4-FFF2-40B4-BE49-F238E27FC236}">
                <a16:creationId xmlns:a16="http://schemas.microsoft.com/office/drawing/2014/main" id="{38CA3AD7-12F8-9F43-820D-33071C26D41A}"/>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A9788C15-EECB-44F4-A76E-8DA963BD4493}" type="datetime1">
              <a:rPr lang="sv-SE" noProof="0" smtClean="0"/>
              <a:t>2025-09-04</a:t>
            </a:fld>
            <a:endParaRPr lang="en-GB" noProof="0"/>
          </a:p>
        </p:txBody>
      </p:sp>
      <p:sp>
        <p:nvSpPr>
          <p:cNvPr id="12" name="Number" hidden="1">
            <a:extLst>
              <a:ext uri="{FF2B5EF4-FFF2-40B4-BE49-F238E27FC236}">
                <a16:creationId xmlns:a16="http://schemas.microsoft.com/office/drawing/2014/main" id="{DFED6C3B-4A73-344C-A9A5-F8224178884F}"/>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3" name="Footer" hidden="1">
            <a:extLst>
              <a:ext uri="{FF2B5EF4-FFF2-40B4-BE49-F238E27FC236}">
                <a16:creationId xmlns:a16="http://schemas.microsoft.com/office/drawing/2014/main" id="{3B9E93E1-A5C6-AE48-99D5-A7A443E60A82}"/>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p:txBody>
      </p:sp>
      <p:sp>
        <p:nvSpPr>
          <p:cNvPr id="14" name="Rectangle 13">
            <a:extLst>
              <a:ext uri="{FF2B5EF4-FFF2-40B4-BE49-F238E27FC236}">
                <a16:creationId xmlns:a16="http://schemas.microsoft.com/office/drawing/2014/main" id="{F2188644-0031-B196-A7B9-A7BC8A01F95B}"/>
              </a:ext>
            </a:extLst>
          </p:cNvPr>
          <p:cNvSpPr/>
          <p:nvPr userDrawn="1"/>
        </p:nvSpPr>
        <p:spPr>
          <a:xfrm>
            <a:off x="4012707" y="4862943"/>
            <a:ext cx="1118587" cy="2692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itle 2">
            <a:extLst>
              <a:ext uri="{FF2B5EF4-FFF2-40B4-BE49-F238E27FC236}">
                <a16:creationId xmlns:a16="http://schemas.microsoft.com/office/drawing/2014/main" id="{1F91519E-2A47-1597-3C8F-039360207E01}"/>
              </a:ext>
            </a:extLst>
          </p:cNvPr>
          <p:cNvSpPr>
            <a:spLocks noGrp="1"/>
          </p:cNvSpPr>
          <p:nvPr>
            <p:ph type="title" hasCustomPrompt="1"/>
          </p:nvPr>
        </p:nvSpPr>
        <p:spPr>
          <a:xfrm>
            <a:off x="323850" y="-1070389"/>
            <a:ext cx="8496300" cy="527051"/>
          </a:xfrm>
        </p:spPr>
        <p:txBody>
          <a:bodyPr/>
          <a:lstStyle>
            <a:lvl1pPr marL="0" marR="0" indent="0" algn="l" defTabSz="685800" rtl="0" eaLnBrk="1" fontAlgn="auto" latinLnBrk="0" hangingPunct="1">
              <a:lnSpc>
                <a:spcPct val="95000"/>
              </a:lnSpc>
              <a:spcBef>
                <a:spcPct val="0"/>
              </a:spcBef>
              <a:spcAft>
                <a:spcPts val="0"/>
              </a:spcAft>
              <a:buClrTx/>
              <a:buSzTx/>
              <a:buFontTx/>
              <a:buNone/>
              <a:tabLst/>
              <a:defRPr/>
            </a:lvl1pPr>
          </a:lstStyle>
          <a:p>
            <a:r>
              <a:rPr lang="en-GB"/>
              <a:t>Click to add hidden slide title for accessibility</a:t>
            </a:r>
          </a:p>
        </p:txBody>
      </p:sp>
    </p:spTree>
    <p:extLst>
      <p:ext uri="{BB962C8B-B14F-4D97-AF65-F5344CB8AC3E}">
        <p14:creationId xmlns:p14="http://schemas.microsoft.com/office/powerpoint/2010/main" val="372823682"/>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 Title Start">
    <p:spTree>
      <p:nvGrpSpPr>
        <p:cNvPr id="1" name=""/>
        <p:cNvGrpSpPr/>
        <p:nvPr/>
      </p:nvGrpSpPr>
      <p:grpSpPr>
        <a:xfrm>
          <a:off x="0" y="0"/>
          <a:ext cx="0" cy="0"/>
          <a:chOff x="0" y="0"/>
          <a:chExt cx="0" cy="0"/>
        </a:xfrm>
      </p:grpSpPr>
      <p:sp>
        <p:nvSpPr>
          <p:cNvPr id="3" name="Background image">
            <a:extLst>
              <a:ext uri="{FF2B5EF4-FFF2-40B4-BE49-F238E27FC236}">
                <a16:creationId xmlns:a16="http://schemas.microsoft.com/office/drawing/2014/main" id="{25798999-2A1E-2547-A8D5-4373B7132ADB}"/>
              </a:ext>
            </a:extLst>
          </p:cNvPr>
          <p:cNvSpPr>
            <a:spLocks noGrp="1"/>
          </p:cNvSpPr>
          <p:nvPr>
            <p:ph type="pic" sz="quarter" idx="10" hasCustomPrompt="1"/>
          </p:nvPr>
        </p:nvSpPr>
        <p:spPr>
          <a:xfrm>
            <a:off x="179388" y="158750"/>
            <a:ext cx="8785322" cy="4681538"/>
          </a:xfrm>
          <a:blipFill dpi="0" rotWithShape="1">
            <a:blip r:embed="rId2"/>
            <a:srcRect/>
            <a:tile tx="0" ty="0" sx="100000" sy="100000" flip="none" algn="tl"/>
          </a:blipFill>
        </p:spPr>
        <p:txBody>
          <a:bodyPr/>
          <a:lstStyle>
            <a:lvl1pPr algn="ctr">
              <a:buNone/>
              <a:defRPr sz="800">
                <a:solidFill>
                  <a:schemeClr val="bg1">
                    <a:lumMod val="75000"/>
                  </a:schemeClr>
                </a:solidFill>
              </a:defRPr>
            </a:lvl1pPr>
          </a:lstStyle>
          <a:p>
            <a:r>
              <a:rPr lang="en-GB" noProof="0"/>
              <a:t>Select placeholder and select Insert &gt; Pictures</a:t>
            </a:r>
          </a:p>
        </p:txBody>
      </p:sp>
      <p:sp>
        <p:nvSpPr>
          <p:cNvPr id="6" name="Title">
            <a:extLst>
              <a:ext uri="{FF2B5EF4-FFF2-40B4-BE49-F238E27FC236}">
                <a16:creationId xmlns:a16="http://schemas.microsoft.com/office/drawing/2014/main" id="{D70BF8E9-745F-E646-8ACE-EA0841D80D16}"/>
              </a:ext>
            </a:extLst>
          </p:cNvPr>
          <p:cNvSpPr>
            <a:spLocks noGrp="1"/>
          </p:cNvSpPr>
          <p:nvPr>
            <p:ph type="title" hasCustomPrompt="1"/>
          </p:nvPr>
        </p:nvSpPr>
        <p:spPr>
          <a:xfrm>
            <a:off x="323850" y="1719827"/>
            <a:ext cx="8496300" cy="1560972"/>
          </a:xfrm>
        </p:spPr>
        <p:txBody>
          <a:bodyPr lIns="216000" rIns="216000" anchor="ctr"/>
          <a:lstStyle>
            <a:lvl1pPr algn="ctr">
              <a:defRPr sz="4800">
                <a:solidFill>
                  <a:schemeClr val="bg1"/>
                </a:solidFill>
              </a:defRPr>
            </a:lvl1pPr>
          </a:lstStyle>
          <a:p>
            <a:r>
              <a:rPr lang="en-GB" noProof="0"/>
              <a:t>Click to add presentation title in two rows</a:t>
            </a:r>
          </a:p>
        </p:txBody>
      </p:sp>
      <p:sp>
        <p:nvSpPr>
          <p:cNvPr id="15" name="Text">
            <a:extLst>
              <a:ext uri="{FF2B5EF4-FFF2-40B4-BE49-F238E27FC236}">
                <a16:creationId xmlns:a16="http://schemas.microsoft.com/office/drawing/2014/main" id="{454F8E95-426A-F348-AA14-06D4E6F905A5}"/>
              </a:ext>
            </a:extLst>
          </p:cNvPr>
          <p:cNvSpPr>
            <a:spLocks noGrp="1"/>
          </p:cNvSpPr>
          <p:nvPr>
            <p:ph type="body" sz="quarter" idx="11" hasCustomPrompt="1"/>
          </p:nvPr>
        </p:nvSpPr>
        <p:spPr>
          <a:xfrm>
            <a:off x="3203575" y="3307557"/>
            <a:ext cx="2736850" cy="715803"/>
          </a:xfrm>
        </p:spPr>
        <p:txBody>
          <a:bodyPr lIns="216000" rIns="216000" anchor="t"/>
          <a:lstStyle>
            <a:lvl1pPr marL="0" indent="-12700" algn="ctr">
              <a:lnSpc>
                <a:spcPct val="95000"/>
              </a:lnSpc>
              <a:spcBef>
                <a:spcPts val="0"/>
              </a:spcBef>
              <a:buNone/>
              <a:tabLst/>
              <a:defRPr b="1" baseline="0">
                <a:solidFill>
                  <a:schemeClr val="bg1"/>
                </a:solidFill>
              </a:defRPr>
            </a:lvl1pPr>
          </a:lstStyle>
          <a:p>
            <a:pPr lvl="0"/>
            <a:r>
              <a:rPr lang="en-GB" noProof="0"/>
              <a:t>Click to add Name of presenter and</a:t>
            </a:r>
            <a:br>
              <a:rPr lang="en-GB" noProof="0"/>
            </a:br>
            <a:r>
              <a:rPr lang="en-GB" noProof="0"/>
              <a:t>Job title</a:t>
            </a:r>
          </a:p>
        </p:txBody>
      </p:sp>
      <p:sp>
        <p:nvSpPr>
          <p:cNvPr id="11" name="Date">
            <a:extLst>
              <a:ext uri="{FF2B5EF4-FFF2-40B4-BE49-F238E27FC236}">
                <a16:creationId xmlns:a16="http://schemas.microsoft.com/office/drawing/2014/main" id="{38CA3AD7-12F8-9F43-820D-33071C26D41A}"/>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B50B24A9-6B0F-4DAC-AF84-FDDDD85F03F4}" type="datetime1">
              <a:rPr lang="sv-SE" noProof="0" smtClean="0"/>
              <a:t>2025-09-04</a:t>
            </a:fld>
            <a:endParaRPr lang="en-GB" noProof="0"/>
          </a:p>
        </p:txBody>
      </p:sp>
      <p:sp>
        <p:nvSpPr>
          <p:cNvPr id="12" name="Number">
            <a:extLst>
              <a:ext uri="{FF2B5EF4-FFF2-40B4-BE49-F238E27FC236}">
                <a16:creationId xmlns:a16="http://schemas.microsoft.com/office/drawing/2014/main" id="{DFED6C3B-4A73-344C-A9A5-F8224178884F}"/>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3" name="Footer">
            <a:extLst>
              <a:ext uri="{FF2B5EF4-FFF2-40B4-BE49-F238E27FC236}">
                <a16:creationId xmlns:a16="http://schemas.microsoft.com/office/drawing/2014/main" id="{3B9E93E1-A5C6-AE48-99D5-A7A443E60A82}"/>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err="1"/>
          </a:p>
        </p:txBody>
      </p:sp>
    </p:spTree>
    <p:extLst>
      <p:ext uri="{BB962C8B-B14F-4D97-AF65-F5344CB8AC3E}">
        <p14:creationId xmlns:p14="http://schemas.microsoft.com/office/powerpoint/2010/main" val="1374375612"/>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 Title Start Video">
    <p:spTree>
      <p:nvGrpSpPr>
        <p:cNvPr id="1" name=""/>
        <p:cNvGrpSpPr/>
        <p:nvPr/>
      </p:nvGrpSpPr>
      <p:grpSpPr>
        <a:xfrm>
          <a:off x="0" y="0"/>
          <a:ext cx="0" cy="0"/>
          <a:chOff x="0" y="0"/>
          <a:chExt cx="0" cy="0"/>
        </a:xfrm>
      </p:grpSpPr>
      <p:sp>
        <p:nvSpPr>
          <p:cNvPr id="2" name="Video placeholder">
            <a:extLst>
              <a:ext uri="{FF2B5EF4-FFF2-40B4-BE49-F238E27FC236}">
                <a16:creationId xmlns:a16="http://schemas.microsoft.com/office/drawing/2014/main" id="{F4897AD2-B1C3-0325-16FD-104E14561548}"/>
              </a:ext>
            </a:extLst>
          </p:cNvPr>
          <p:cNvSpPr>
            <a:spLocks noGrp="1"/>
          </p:cNvSpPr>
          <p:nvPr>
            <p:ph type="media" sz="quarter" idx="12" hasCustomPrompt="1"/>
          </p:nvPr>
        </p:nvSpPr>
        <p:spPr>
          <a:xfrm>
            <a:off x="-32951" y="-18535"/>
            <a:ext cx="9209902" cy="5180570"/>
          </a:xfrm>
          <a:custGeom>
            <a:avLst/>
            <a:gdLst>
              <a:gd name="connsiteX0" fmla="*/ 212339 w 9209902"/>
              <a:gd name="connsiteY0" fmla="*/ 177285 h 5180570"/>
              <a:gd name="connsiteX1" fmla="*/ 8997562 w 9209902"/>
              <a:gd name="connsiteY1" fmla="*/ 177285 h 5180570"/>
              <a:gd name="connsiteX2" fmla="*/ 8997562 w 9209902"/>
              <a:gd name="connsiteY2" fmla="*/ 4858824 h 5180570"/>
              <a:gd name="connsiteX3" fmla="*/ 212339 w 9209902"/>
              <a:gd name="connsiteY3" fmla="*/ 4858824 h 5180570"/>
              <a:gd name="connsiteX4" fmla="*/ 32951 w 9209902"/>
              <a:gd name="connsiteY4" fmla="*/ 18535 h 5180570"/>
              <a:gd name="connsiteX5" fmla="*/ 32951 w 9209902"/>
              <a:gd name="connsiteY5" fmla="*/ 5162034 h 5180570"/>
              <a:gd name="connsiteX6" fmla="*/ 143236 w 9209902"/>
              <a:gd name="connsiteY6" fmla="*/ 5162034 h 5180570"/>
              <a:gd name="connsiteX7" fmla="*/ 143236 w 9209902"/>
              <a:gd name="connsiteY7" fmla="*/ 5162035 h 5180570"/>
              <a:gd name="connsiteX8" fmla="*/ 9151553 w 9209902"/>
              <a:gd name="connsiteY8" fmla="*/ 5162035 h 5180570"/>
              <a:gd name="connsiteX9" fmla="*/ 9176951 w 9209902"/>
              <a:gd name="connsiteY9" fmla="*/ 5162035 h 5180570"/>
              <a:gd name="connsiteX10" fmla="*/ 9176951 w 9209902"/>
              <a:gd name="connsiteY10" fmla="*/ 18535 h 5180570"/>
              <a:gd name="connsiteX11" fmla="*/ 8997562 w 9209902"/>
              <a:gd name="connsiteY11" fmla="*/ 18535 h 5180570"/>
              <a:gd name="connsiteX12" fmla="*/ 143237 w 9209902"/>
              <a:gd name="connsiteY12" fmla="*/ 18535 h 5180570"/>
              <a:gd name="connsiteX13" fmla="*/ 0 w 9209902"/>
              <a:gd name="connsiteY13" fmla="*/ 0 h 5180570"/>
              <a:gd name="connsiteX14" fmla="*/ 9209902 w 9209902"/>
              <a:gd name="connsiteY14" fmla="*/ 0 h 5180570"/>
              <a:gd name="connsiteX15" fmla="*/ 9209902 w 9209902"/>
              <a:gd name="connsiteY15" fmla="*/ 5180570 h 5180570"/>
              <a:gd name="connsiteX16" fmla="*/ 0 w 9209902"/>
              <a:gd name="connsiteY16" fmla="*/ 5180570 h 518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209902" h="5180570">
                <a:moveTo>
                  <a:pt x="212339" y="177285"/>
                </a:moveTo>
                <a:lnTo>
                  <a:pt x="8997562" y="177285"/>
                </a:lnTo>
                <a:lnTo>
                  <a:pt x="8997562" y="4858824"/>
                </a:lnTo>
                <a:lnTo>
                  <a:pt x="212339" y="4858824"/>
                </a:lnTo>
                <a:close/>
                <a:moveTo>
                  <a:pt x="32951" y="18535"/>
                </a:moveTo>
                <a:lnTo>
                  <a:pt x="32951" y="5162034"/>
                </a:lnTo>
                <a:lnTo>
                  <a:pt x="143236" y="5162034"/>
                </a:lnTo>
                <a:lnTo>
                  <a:pt x="143236" y="5162035"/>
                </a:lnTo>
                <a:lnTo>
                  <a:pt x="9151553" y="5162035"/>
                </a:lnTo>
                <a:lnTo>
                  <a:pt x="9176951" y="5162035"/>
                </a:lnTo>
                <a:lnTo>
                  <a:pt x="9176951" y="18535"/>
                </a:lnTo>
                <a:lnTo>
                  <a:pt x="8997562" y="18535"/>
                </a:lnTo>
                <a:lnTo>
                  <a:pt x="143237" y="18535"/>
                </a:lnTo>
                <a:close/>
                <a:moveTo>
                  <a:pt x="0" y="0"/>
                </a:moveTo>
                <a:lnTo>
                  <a:pt x="9209902" y="0"/>
                </a:lnTo>
                <a:lnTo>
                  <a:pt x="9209902" y="5180570"/>
                </a:lnTo>
                <a:lnTo>
                  <a:pt x="0" y="5180570"/>
                </a:lnTo>
                <a:close/>
              </a:path>
            </a:pathLst>
          </a:custGeom>
          <a:blipFill dpi="0" rotWithShape="1">
            <a:blip r:embed="rId2"/>
            <a:srcRect/>
            <a:tile tx="0" ty="0" sx="100000" sy="100000" flip="none" algn="tl"/>
          </a:blipFill>
        </p:spPr>
        <p:txBody>
          <a:bodyPr vert="horz" wrap="square" lIns="90000" tIns="251999" rIns="90000" bIns="45720" rtlCol="0">
            <a:noAutofit/>
          </a:bodyPr>
          <a:lstStyle>
            <a:lvl1pPr marL="0" indent="0" algn="ctr">
              <a:buNone/>
              <a:defRPr lang="en-GB" sz="800" noProof="0" dirty="0">
                <a:solidFill>
                  <a:schemeClr val="bg1">
                    <a:lumMod val="75000"/>
                  </a:schemeClr>
                </a:solidFill>
              </a:defRPr>
            </a:lvl1pPr>
          </a:lstStyle>
          <a:p>
            <a:pPr marL="171450" lvl="0" indent="-171450" algn="ctr"/>
            <a:r>
              <a:rPr lang="en-GB" noProof="0"/>
              <a:t>Select placeholder and select Insert &gt; Insert Video from this device</a:t>
            </a:r>
          </a:p>
        </p:txBody>
      </p:sp>
      <p:sp>
        <p:nvSpPr>
          <p:cNvPr id="6" name="Title">
            <a:extLst>
              <a:ext uri="{FF2B5EF4-FFF2-40B4-BE49-F238E27FC236}">
                <a16:creationId xmlns:a16="http://schemas.microsoft.com/office/drawing/2014/main" id="{D70BF8E9-745F-E646-8ACE-EA0841D80D16}"/>
              </a:ext>
            </a:extLst>
          </p:cNvPr>
          <p:cNvSpPr>
            <a:spLocks noGrp="1"/>
          </p:cNvSpPr>
          <p:nvPr>
            <p:ph type="title" hasCustomPrompt="1"/>
          </p:nvPr>
        </p:nvSpPr>
        <p:spPr>
          <a:xfrm>
            <a:off x="323850" y="1719827"/>
            <a:ext cx="8496300" cy="1560972"/>
          </a:xfrm>
        </p:spPr>
        <p:txBody>
          <a:bodyPr lIns="216000" rIns="216000" anchor="ctr"/>
          <a:lstStyle>
            <a:lvl1pPr algn="ctr">
              <a:defRPr sz="4800">
                <a:solidFill>
                  <a:schemeClr val="bg1"/>
                </a:solidFill>
              </a:defRPr>
            </a:lvl1pPr>
          </a:lstStyle>
          <a:p>
            <a:r>
              <a:rPr lang="en-GB" noProof="0"/>
              <a:t>Click to add presentation title in two rows</a:t>
            </a:r>
          </a:p>
        </p:txBody>
      </p:sp>
      <p:sp>
        <p:nvSpPr>
          <p:cNvPr id="15" name="Text">
            <a:extLst>
              <a:ext uri="{FF2B5EF4-FFF2-40B4-BE49-F238E27FC236}">
                <a16:creationId xmlns:a16="http://schemas.microsoft.com/office/drawing/2014/main" id="{454F8E95-426A-F348-AA14-06D4E6F905A5}"/>
              </a:ext>
            </a:extLst>
          </p:cNvPr>
          <p:cNvSpPr>
            <a:spLocks noGrp="1"/>
          </p:cNvSpPr>
          <p:nvPr>
            <p:ph type="body" sz="quarter" idx="11" hasCustomPrompt="1"/>
          </p:nvPr>
        </p:nvSpPr>
        <p:spPr>
          <a:xfrm>
            <a:off x="3203575" y="3307557"/>
            <a:ext cx="2736850" cy="715803"/>
          </a:xfrm>
        </p:spPr>
        <p:txBody>
          <a:bodyPr lIns="216000" rIns="216000" anchor="t"/>
          <a:lstStyle>
            <a:lvl1pPr marL="0" indent="-12700" algn="ctr">
              <a:lnSpc>
                <a:spcPct val="95000"/>
              </a:lnSpc>
              <a:spcBef>
                <a:spcPts val="0"/>
              </a:spcBef>
              <a:buNone/>
              <a:tabLst/>
              <a:defRPr b="1" baseline="0">
                <a:solidFill>
                  <a:schemeClr val="bg1"/>
                </a:solidFill>
              </a:defRPr>
            </a:lvl1pPr>
          </a:lstStyle>
          <a:p>
            <a:pPr lvl="0"/>
            <a:r>
              <a:rPr lang="en-GB" noProof="0"/>
              <a:t>Click to add Name of presenter and</a:t>
            </a:r>
            <a:br>
              <a:rPr lang="en-GB" noProof="0"/>
            </a:br>
            <a:r>
              <a:rPr lang="en-GB" noProof="0"/>
              <a:t>Job title</a:t>
            </a:r>
          </a:p>
        </p:txBody>
      </p:sp>
      <p:sp>
        <p:nvSpPr>
          <p:cNvPr id="11" name="Date">
            <a:extLst>
              <a:ext uri="{FF2B5EF4-FFF2-40B4-BE49-F238E27FC236}">
                <a16:creationId xmlns:a16="http://schemas.microsoft.com/office/drawing/2014/main" id="{38CA3AD7-12F8-9F43-820D-33071C26D41A}"/>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22BCB97E-3D14-4158-8B9A-2E3534D56137}" type="datetime1">
              <a:rPr lang="sv-SE" noProof="0" smtClean="0"/>
              <a:t>2025-09-04</a:t>
            </a:fld>
            <a:endParaRPr lang="en-GB" noProof="0"/>
          </a:p>
        </p:txBody>
      </p:sp>
      <p:sp>
        <p:nvSpPr>
          <p:cNvPr id="12" name="Number">
            <a:extLst>
              <a:ext uri="{FF2B5EF4-FFF2-40B4-BE49-F238E27FC236}">
                <a16:creationId xmlns:a16="http://schemas.microsoft.com/office/drawing/2014/main" id="{DFED6C3B-4A73-344C-A9A5-F8224178884F}"/>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3" name="Footer">
            <a:extLst>
              <a:ext uri="{FF2B5EF4-FFF2-40B4-BE49-F238E27FC236}">
                <a16:creationId xmlns:a16="http://schemas.microsoft.com/office/drawing/2014/main" id="{3B9E93E1-A5C6-AE48-99D5-A7A443E60A82}"/>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err="1"/>
          </a:p>
        </p:txBody>
      </p:sp>
    </p:spTree>
    <p:extLst>
      <p:ext uri="{BB962C8B-B14F-4D97-AF65-F5344CB8AC3E}">
        <p14:creationId xmlns:p14="http://schemas.microsoft.com/office/powerpoint/2010/main" val="2216675017"/>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Agenda Arrows">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743314A-E9EC-4F47-580C-4632AB725844}"/>
              </a:ext>
            </a:extLst>
          </p:cNvPr>
          <p:cNvSpPr/>
          <p:nvPr userDrawn="1"/>
        </p:nvSpPr>
        <p:spPr>
          <a:xfrm>
            <a:off x="5940425" y="158750"/>
            <a:ext cx="144462" cy="4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Image">
            <a:extLst>
              <a:ext uri="{FF2B5EF4-FFF2-40B4-BE49-F238E27FC236}">
                <a16:creationId xmlns:a16="http://schemas.microsoft.com/office/drawing/2014/main" id="{69385D67-02A2-3847-B925-568E12036F00}"/>
              </a:ext>
            </a:extLst>
          </p:cNvPr>
          <p:cNvSpPr>
            <a:spLocks noGrp="1"/>
          </p:cNvSpPr>
          <p:nvPr>
            <p:ph type="pic" sz="quarter" idx="15" hasCustomPrompt="1"/>
          </p:nvPr>
        </p:nvSpPr>
        <p:spPr>
          <a:xfrm>
            <a:off x="6084887" y="158750"/>
            <a:ext cx="2879725" cy="4681538"/>
          </a:xfrm>
          <a:blipFill dpi="0" rotWithShape="1">
            <a:blip r:embed="rId2"/>
            <a:srcRect/>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17" name="Title">
            <a:extLst>
              <a:ext uri="{FF2B5EF4-FFF2-40B4-BE49-F238E27FC236}">
                <a16:creationId xmlns:a16="http://schemas.microsoft.com/office/drawing/2014/main" id="{2A7B5CC4-3731-AB42-B5BE-731595BD8458}"/>
              </a:ext>
            </a:extLst>
          </p:cNvPr>
          <p:cNvSpPr>
            <a:spLocks noGrp="1"/>
          </p:cNvSpPr>
          <p:nvPr>
            <p:ph type="title" hasCustomPrompt="1"/>
          </p:nvPr>
        </p:nvSpPr>
        <p:spPr>
          <a:xfrm>
            <a:off x="323850" y="239375"/>
            <a:ext cx="5616574" cy="625283"/>
          </a:xfrm>
        </p:spPr>
        <p:txBody>
          <a:bodyPr rIns="216000"/>
          <a:lstStyle>
            <a:lvl1pPr>
              <a:defRPr sz="3000" spc="-70" baseline="0"/>
            </a:lvl1pPr>
          </a:lstStyle>
          <a:p>
            <a:r>
              <a:rPr lang="en-GB"/>
              <a:t>Add agenda headline</a:t>
            </a:r>
          </a:p>
        </p:txBody>
      </p:sp>
      <p:sp>
        <p:nvSpPr>
          <p:cNvPr id="5" name="Text">
            <a:extLst>
              <a:ext uri="{FF2B5EF4-FFF2-40B4-BE49-F238E27FC236}">
                <a16:creationId xmlns:a16="http://schemas.microsoft.com/office/drawing/2014/main" id="{DE6EA794-E34B-EB7F-E8B2-70581E055E96}"/>
              </a:ext>
            </a:extLst>
          </p:cNvPr>
          <p:cNvSpPr>
            <a:spLocks noGrp="1"/>
          </p:cNvSpPr>
          <p:nvPr>
            <p:ph type="body" sz="quarter" idx="16"/>
          </p:nvPr>
        </p:nvSpPr>
        <p:spPr>
          <a:xfrm>
            <a:off x="323849" y="1093788"/>
            <a:ext cx="5616575" cy="3529012"/>
          </a:xfrm>
        </p:spPr>
        <p:txBody>
          <a:bodyPr rIns="216000"/>
          <a:lstStyle>
            <a:lvl1pPr marL="342000" indent="-342000">
              <a:lnSpc>
                <a:spcPct val="95000"/>
              </a:lnSpc>
              <a:spcBef>
                <a:spcPts val="1000"/>
              </a:spcBef>
              <a:buFontTx/>
              <a:buBlip>
                <a:blip r:embed="rId3">
                  <a:extLst>
                    <a:ext uri="{96DAC541-7B7A-43D3-8B79-37D633B846F1}">
                      <asvg:svgBlip xmlns:asvg="http://schemas.microsoft.com/office/drawing/2016/SVG/main" r:embed="rId4"/>
                    </a:ext>
                  </a:extLst>
                </a:blip>
              </a:buBlip>
              <a:defRPr sz="1800" b="1"/>
            </a:lvl1pPr>
            <a:lvl2pPr marL="342000" indent="-342000">
              <a:spcBef>
                <a:spcPts val="0"/>
              </a:spcBef>
              <a:buFontTx/>
              <a:buBlip>
                <a:blip r:embed="rId5"/>
              </a:buBlip>
              <a:defRPr sz="1400"/>
            </a:lvl2pPr>
            <a:lvl3pPr marL="342000" indent="-342000">
              <a:spcBef>
                <a:spcPts val="0"/>
              </a:spcBef>
              <a:spcAft>
                <a:spcPts val="0"/>
              </a:spcAft>
              <a:buFontTx/>
              <a:buBlip>
                <a:blip r:embed="rId5"/>
              </a:buBlip>
              <a:defRPr>
                <a:solidFill>
                  <a:schemeClr val="tx1"/>
                </a:solidFill>
              </a:defRPr>
            </a:lvl3pPr>
          </a:lstStyle>
          <a:p>
            <a:pPr lvl="0"/>
            <a:r>
              <a:rPr lang="en-US"/>
              <a:t>Click to edit Master text styles</a:t>
            </a:r>
          </a:p>
          <a:p>
            <a:pPr lvl="1"/>
            <a:r>
              <a:rPr lang="en-US"/>
              <a:t>Second level</a:t>
            </a:r>
          </a:p>
          <a:p>
            <a:pPr lvl="2"/>
            <a:r>
              <a:rPr lang="en-US"/>
              <a:t>Third level</a:t>
            </a:r>
          </a:p>
        </p:txBody>
      </p:sp>
      <p:sp>
        <p:nvSpPr>
          <p:cNvPr id="38" name="Date">
            <a:extLst>
              <a:ext uri="{FF2B5EF4-FFF2-40B4-BE49-F238E27FC236}">
                <a16:creationId xmlns:a16="http://schemas.microsoft.com/office/drawing/2014/main" id="{B7D04508-015B-A24C-A068-9517A03041E5}"/>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ACDF2587-BD44-4DEF-A7B4-2A574DBF1EB8}" type="datetime1">
              <a:rPr lang="sv-SE" noProof="0" smtClean="0"/>
              <a:t>2025-09-04</a:t>
            </a:fld>
            <a:endParaRPr lang="en-GB" noProof="0"/>
          </a:p>
        </p:txBody>
      </p:sp>
      <p:sp>
        <p:nvSpPr>
          <p:cNvPr id="39" name="Number">
            <a:extLst>
              <a:ext uri="{FF2B5EF4-FFF2-40B4-BE49-F238E27FC236}">
                <a16:creationId xmlns:a16="http://schemas.microsoft.com/office/drawing/2014/main" id="{24E3E452-24F0-1B44-9014-429AC576B5B6}"/>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3" name="Footer">
            <a:extLst>
              <a:ext uri="{FF2B5EF4-FFF2-40B4-BE49-F238E27FC236}">
                <a16:creationId xmlns:a16="http://schemas.microsoft.com/office/drawing/2014/main" id="{B10204F0-D72F-7C43-9047-C52F851EBA3E}"/>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895773428"/>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Agenda Numbers">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83029C-4BD0-01F6-A7DC-553290C00BA4}"/>
              </a:ext>
            </a:extLst>
          </p:cNvPr>
          <p:cNvSpPr/>
          <p:nvPr userDrawn="1"/>
        </p:nvSpPr>
        <p:spPr>
          <a:xfrm>
            <a:off x="5940425" y="158750"/>
            <a:ext cx="144462" cy="4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Image">
            <a:extLst>
              <a:ext uri="{FF2B5EF4-FFF2-40B4-BE49-F238E27FC236}">
                <a16:creationId xmlns:a16="http://schemas.microsoft.com/office/drawing/2014/main" id="{69385D67-02A2-3847-B925-568E12036F00}"/>
              </a:ext>
            </a:extLst>
          </p:cNvPr>
          <p:cNvSpPr>
            <a:spLocks noGrp="1"/>
          </p:cNvSpPr>
          <p:nvPr>
            <p:ph type="pic" sz="quarter" idx="15" hasCustomPrompt="1"/>
          </p:nvPr>
        </p:nvSpPr>
        <p:spPr>
          <a:xfrm>
            <a:off x="6084887" y="158750"/>
            <a:ext cx="2879725" cy="4681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17" name="Title">
            <a:extLst>
              <a:ext uri="{FF2B5EF4-FFF2-40B4-BE49-F238E27FC236}">
                <a16:creationId xmlns:a16="http://schemas.microsoft.com/office/drawing/2014/main" id="{2A7B5CC4-3731-AB42-B5BE-731595BD8458}"/>
              </a:ext>
            </a:extLst>
          </p:cNvPr>
          <p:cNvSpPr>
            <a:spLocks noGrp="1"/>
          </p:cNvSpPr>
          <p:nvPr>
            <p:ph type="title" hasCustomPrompt="1"/>
          </p:nvPr>
        </p:nvSpPr>
        <p:spPr>
          <a:xfrm>
            <a:off x="323850" y="239375"/>
            <a:ext cx="5616574" cy="625283"/>
          </a:xfrm>
        </p:spPr>
        <p:txBody>
          <a:bodyPr rIns="216000"/>
          <a:lstStyle>
            <a:lvl1pPr>
              <a:defRPr sz="3000" spc="-70" baseline="0"/>
            </a:lvl1pPr>
          </a:lstStyle>
          <a:p>
            <a:r>
              <a:rPr lang="en-GB"/>
              <a:t>Add agenda headline</a:t>
            </a:r>
          </a:p>
        </p:txBody>
      </p:sp>
      <p:sp>
        <p:nvSpPr>
          <p:cNvPr id="38" name="Date">
            <a:extLst>
              <a:ext uri="{FF2B5EF4-FFF2-40B4-BE49-F238E27FC236}">
                <a16:creationId xmlns:a16="http://schemas.microsoft.com/office/drawing/2014/main" id="{B7D04508-015B-A24C-A068-9517A03041E5}"/>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C863DDFD-26DC-479D-AE57-F576E444103F}" type="datetime1">
              <a:rPr lang="sv-SE" noProof="0" smtClean="0"/>
              <a:t>2025-09-04</a:t>
            </a:fld>
            <a:endParaRPr lang="en-GB" noProof="0"/>
          </a:p>
        </p:txBody>
      </p:sp>
      <p:sp>
        <p:nvSpPr>
          <p:cNvPr id="39" name="Number">
            <a:extLst>
              <a:ext uri="{FF2B5EF4-FFF2-40B4-BE49-F238E27FC236}">
                <a16:creationId xmlns:a16="http://schemas.microsoft.com/office/drawing/2014/main" id="{24E3E452-24F0-1B44-9014-429AC576B5B6}"/>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3" name="Footer">
            <a:extLst>
              <a:ext uri="{FF2B5EF4-FFF2-40B4-BE49-F238E27FC236}">
                <a16:creationId xmlns:a16="http://schemas.microsoft.com/office/drawing/2014/main" id="{B10204F0-D72F-7C43-9047-C52F851EBA3E}"/>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
        <p:nvSpPr>
          <p:cNvPr id="3" name="Text Placeholder 4">
            <a:extLst>
              <a:ext uri="{FF2B5EF4-FFF2-40B4-BE49-F238E27FC236}">
                <a16:creationId xmlns:a16="http://schemas.microsoft.com/office/drawing/2014/main" id="{1B36BF2C-DC48-8966-772A-4D05FAA4DBF6}"/>
              </a:ext>
            </a:extLst>
          </p:cNvPr>
          <p:cNvSpPr>
            <a:spLocks noGrp="1"/>
          </p:cNvSpPr>
          <p:nvPr>
            <p:ph type="body" sz="quarter" idx="16"/>
          </p:nvPr>
        </p:nvSpPr>
        <p:spPr>
          <a:xfrm>
            <a:off x="323850" y="1093788"/>
            <a:ext cx="5616000" cy="3529012"/>
          </a:xfrm>
        </p:spPr>
        <p:txBody>
          <a:bodyPr rIns="216000"/>
          <a:lstStyle>
            <a:lvl1pPr marL="342900" indent="-342900">
              <a:lnSpc>
                <a:spcPct val="95000"/>
              </a:lnSpc>
              <a:spcBef>
                <a:spcPts val="1000"/>
              </a:spcBef>
              <a:buFont typeface="+mj-lt"/>
              <a:buAutoNum type="arabicPeriod"/>
              <a:defRPr sz="1800" b="1"/>
            </a:lvl1pPr>
            <a:lvl2pPr marL="342000" indent="-342000">
              <a:spcBef>
                <a:spcPts val="0"/>
              </a:spcBef>
              <a:buFontTx/>
              <a:buBlip>
                <a:blip r:embed="rId3"/>
              </a:buBlip>
              <a:defRPr sz="1400"/>
            </a:lvl2pPr>
            <a:lvl3pPr marL="342000" indent="-342000">
              <a:spcBef>
                <a:spcPts val="0"/>
              </a:spcBef>
              <a:spcAft>
                <a:spcPts val="0"/>
              </a:spcAft>
              <a:buFontTx/>
              <a:buBlip>
                <a:blip r:embed="rId3"/>
              </a:buBlip>
              <a:defRPr>
                <a:solidFill>
                  <a:schemeClr val="tx1"/>
                </a:solidFill>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95034821"/>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Agenda on image">
    <p:spTree>
      <p:nvGrpSpPr>
        <p:cNvPr id="1" name=""/>
        <p:cNvGrpSpPr/>
        <p:nvPr/>
      </p:nvGrpSpPr>
      <p:grpSpPr>
        <a:xfrm>
          <a:off x="0" y="0"/>
          <a:ext cx="0" cy="0"/>
          <a:chOff x="0" y="0"/>
          <a:chExt cx="0" cy="0"/>
        </a:xfrm>
      </p:grpSpPr>
      <p:sp>
        <p:nvSpPr>
          <p:cNvPr id="11" name="Background image">
            <a:extLst>
              <a:ext uri="{FF2B5EF4-FFF2-40B4-BE49-F238E27FC236}">
                <a16:creationId xmlns:a16="http://schemas.microsoft.com/office/drawing/2014/main" id="{7DE09709-4C7A-2B45-91B8-828515344C2F}"/>
              </a:ext>
            </a:extLst>
          </p:cNvPr>
          <p:cNvSpPr>
            <a:spLocks noGrp="1"/>
          </p:cNvSpPr>
          <p:nvPr>
            <p:ph type="pic" sz="quarter" idx="10" hasCustomPrompt="1"/>
          </p:nvPr>
        </p:nvSpPr>
        <p:spPr>
          <a:xfrm>
            <a:off x="179388" y="158750"/>
            <a:ext cx="8785322" cy="4681538"/>
          </a:xfrm>
          <a:blipFill dpi="0" rotWithShape="1">
            <a:blip r:embed="rId2"/>
            <a:srcRect/>
            <a:tile tx="0" ty="0" sx="100000" sy="100000" flip="none" algn="tl"/>
          </a:blipFill>
        </p:spPr>
        <p:txBody>
          <a:bodyPr/>
          <a:lstStyle>
            <a:lvl1pPr algn="r">
              <a:buNone/>
              <a:defRPr sz="800">
                <a:solidFill>
                  <a:schemeClr val="bg1">
                    <a:lumMod val="75000"/>
                  </a:schemeClr>
                </a:solidFill>
              </a:defRPr>
            </a:lvl1pPr>
          </a:lstStyle>
          <a:p>
            <a:r>
              <a:rPr lang="en-GB" noProof="0"/>
              <a:t>Select placeholder and select Insert &gt; Pictures</a:t>
            </a:r>
          </a:p>
        </p:txBody>
      </p:sp>
      <p:sp>
        <p:nvSpPr>
          <p:cNvPr id="17" name="Title">
            <a:extLst>
              <a:ext uri="{FF2B5EF4-FFF2-40B4-BE49-F238E27FC236}">
                <a16:creationId xmlns:a16="http://schemas.microsoft.com/office/drawing/2014/main" id="{2A7B5CC4-3731-AB42-B5BE-731595BD8458}"/>
              </a:ext>
            </a:extLst>
          </p:cNvPr>
          <p:cNvSpPr>
            <a:spLocks noGrp="1"/>
          </p:cNvSpPr>
          <p:nvPr>
            <p:ph type="title" hasCustomPrompt="1"/>
          </p:nvPr>
        </p:nvSpPr>
        <p:spPr>
          <a:xfrm>
            <a:off x="323850" y="239375"/>
            <a:ext cx="5616574" cy="625283"/>
          </a:xfrm>
        </p:spPr>
        <p:txBody>
          <a:bodyPr rIns="216000"/>
          <a:lstStyle>
            <a:lvl1pPr>
              <a:defRPr sz="3000" spc="-70" baseline="0">
                <a:solidFill>
                  <a:schemeClr val="bg1"/>
                </a:solidFill>
              </a:defRPr>
            </a:lvl1pPr>
          </a:lstStyle>
          <a:p>
            <a:r>
              <a:rPr lang="en-GB"/>
              <a:t>Add agenda headline</a:t>
            </a:r>
          </a:p>
        </p:txBody>
      </p:sp>
      <p:sp>
        <p:nvSpPr>
          <p:cNvPr id="38" name="Date">
            <a:extLst>
              <a:ext uri="{FF2B5EF4-FFF2-40B4-BE49-F238E27FC236}">
                <a16:creationId xmlns:a16="http://schemas.microsoft.com/office/drawing/2014/main" id="{B7D04508-015B-A24C-A068-9517A03041E5}"/>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D1E0B6BE-7156-45C2-85DB-736DD2CC4BAB}" type="datetime1">
              <a:rPr lang="sv-SE" noProof="0" smtClean="0"/>
              <a:t>2025-09-04</a:t>
            </a:fld>
            <a:endParaRPr lang="en-GB" noProof="0"/>
          </a:p>
        </p:txBody>
      </p:sp>
      <p:sp>
        <p:nvSpPr>
          <p:cNvPr id="39" name="Number">
            <a:extLst>
              <a:ext uri="{FF2B5EF4-FFF2-40B4-BE49-F238E27FC236}">
                <a16:creationId xmlns:a16="http://schemas.microsoft.com/office/drawing/2014/main" id="{24E3E452-24F0-1B44-9014-429AC576B5B6}"/>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3" name="Footer">
            <a:extLst>
              <a:ext uri="{FF2B5EF4-FFF2-40B4-BE49-F238E27FC236}">
                <a16:creationId xmlns:a16="http://schemas.microsoft.com/office/drawing/2014/main" id="{B10204F0-D72F-7C43-9047-C52F851EBA3E}"/>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
        <p:nvSpPr>
          <p:cNvPr id="5" name="Text Placeholder 4">
            <a:extLst>
              <a:ext uri="{FF2B5EF4-FFF2-40B4-BE49-F238E27FC236}">
                <a16:creationId xmlns:a16="http://schemas.microsoft.com/office/drawing/2014/main" id="{B1706622-C08B-4BF2-03BE-8B82945901F9}"/>
              </a:ext>
            </a:extLst>
          </p:cNvPr>
          <p:cNvSpPr>
            <a:spLocks noGrp="1"/>
          </p:cNvSpPr>
          <p:nvPr>
            <p:ph type="body" sz="quarter" idx="16"/>
          </p:nvPr>
        </p:nvSpPr>
        <p:spPr>
          <a:xfrm>
            <a:off x="323850" y="1093788"/>
            <a:ext cx="5616000" cy="3529012"/>
          </a:xfrm>
        </p:spPr>
        <p:txBody>
          <a:bodyPr rIns="216000"/>
          <a:lstStyle>
            <a:lvl1pPr marL="342900" indent="-342900">
              <a:lnSpc>
                <a:spcPct val="95000"/>
              </a:lnSpc>
              <a:spcBef>
                <a:spcPts val="1000"/>
              </a:spcBef>
              <a:buFont typeface="+mj-lt"/>
              <a:buAutoNum type="arabicPeriod"/>
              <a:defRPr sz="1800" b="1">
                <a:solidFill>
                  <a:schemeClr val="bg1"/>
                </a:solidFill>
              </a:defRPr>
            </a:lvl1pPr>
            <a:lvl2pPr marL="342000" indent="-342000">
              <a:spcBef>
                <a:spcPts val="0"/>
              </a:spcBef>
              <a:buFontTx/>
              <a:buBlip>
                <a:blip r:embed="rId3"/>
              </a:buBlip>
              <a:defRPr sz="1400">
                <a:solidFill>
                  <a:schemeClr val="bg1"/>
                </a:solidFill>
              </a:defRPr>
            </a:lvl2pPr>
            <a:lvl3pPr marL="342000" indent="-342000">
              <a:spcBef>
                <a:spcPts val="0"/>
              </a:spcBef>
              <a:spcAft>
                <a:spcPts val="0"/>
              </a:spcAft>
              <a:buFontTx/>
              <a:buBlip>
                <a:blip r:embed="rId3"/>
              </a:buBlip>
              <a:defRPr>
                <a:solidFill>
                  <a:schemeClr val="bg1"/>
                </a:solidFill>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40174287"/>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Chapter divider">
    <p:spTree>
      <p:nvGrpSpPr>
        <p:cNvPr id="1" name=""/>
        <p:cNvGrpSpPr/>
        <p:nvPr/>
      </p:nvGrpSpPr>
      <p:grpSpPr>
        <a:xfrm>
          <a:off x="0" y="0"/>
          <a:ext cx="0" cy="0"/>
          <a:chOff x="0" y="0"/>
          <a:chExt cx="0" cy="0"/>
        </a:xfrm>
      </p:grpSpPr>
      <p:sp>
        <p:nvSpPr>
          <p:cNvPr id="3" name="Background image">
            <a:extLst>
              <a:ext uri="{FF2B5EF4-FFF2-40B4-BE49-F238E27FC236}">
                <a16:creationId xmlns:a16="http://schemas.microsoft.com/office/drawing/2014/main" id="{25798999-2A1E-2547-A8D5-4373B7132ADB}"/>
              </a:ext>
            </a:extLst>
          </p:cNvPr>
          <p:cNvSpPr>
            <a:spLocks noGrp="1"/>
          </p:cNvSpPr>
          <p:nvPr>
            <p:ph type="pic" sz="quarter" idx="10" hasCustomPrompt="1"/>
          </p:nvPr>
        </p:nvSpPr>
        <p:spPr>
          <a:xfrm>
            <a:off x="179388" y="158750"/>
            <a:ext cx="8785322" cy="4681538"/>
          </a:xfrm>
          <a:blipFill dpi="0" rotWithShape="1">
            <a:blip r:embed="rId2"/>
            <a:srcRect/>
            <a:tile tx="0" ty="0" sx="100000" sy="100000" flip="none" algn="tl"/>
          </a:blipFill>
        </p:spPr>
        <p:txBody>
          <a:bodyPr/>
          <a:lstStyle>
            <a:lvl1pPr algn="r">
              <a:buNone/>
              <a:defRPr sz="800">
                <a:solidFill>
                  <a:schemeClr val="bg1">
                    <a:lumMod val="75000"/>
                  </a:schemeClr>
                </a:solidFill>
              </a:defRPr>
            </a:lvl1pPr>
          </a:lstStyle>
          <a:p>
            <a:r>
              <a:rPr lang="en-GB" noProof="0"/>
              <a:t>Select placeholder and select Insert &gt; Pictures</a:t>
            </a:r>
          </a:p>
        </p:txBody>
      </p:sp>
      <p:sp>
        <p:nvSpPr>
          <p:cNvPr id="8" name="Title">
            <a:extLst>
              <a:ext uri="{FF2B5EF4-FFF2-40B4-BE49-F238E27FC236}">
                <a16:creationId xmlns:a16="http://schemas.microsoft.com/office/drawing/2014/main" id="{D0286019-1596-CC4C-95F2-E2F7E54FE89D}"/>
              </a:ext>
            </a:extLst>
          </p:cNvPr>
          <p:cNvSpPr>
            <a:spLocks noGrp="1"/>
          </p:cNvSpPr>
          <p:nvPr>
            <p:ph type="title" hasCustomPrompt="1"/>
          </p:nvPr>
        </p:nvSpPr>
        <p:spPr>
          <a:xfrm>
            <a:off x="324000" y="1719827"/>
            <a:ext cx="8496000" cy="1560972"/>
          </a:xfrm>
        </p:spPr>
        <p:txBody>
          <a:bodyPr lIns="216000" rIns="216000" anchor="ctr"/>
          <a:lstStyle>
            <a:lvl1pPr algn="ctr">
              <a:defRPr sz="4400">
                <a:solidFill>
                  <a:schemeClr val="bg1"/>
                </a:solidFill>
              </a:defRPr>
            </a:lvl1pPr>
          </a:lstStyle>
          <a:p>
            <a:r>
              <a:rPr lang="en-GB" noProof="0"/>
              <a:t>Click to add chapter </a:t>
            </a:r>
            <a:br>
              <a:rPr lang="en-GB" noProof="0"/>
            </a:br>
            <a:r>
              <a:rPr lang="en-GB" noProof="0"/>
              <a:t>or divider text</a:t>
            </a:r>
          </a:p>
        </p:txBody>
      </p:sp>
      <p:sp>
        <p:nvSpPr>
          <p:cNvPr id="30" name="Navigation">
            <a:extLst>
              <a:ext uri="{FF2B5EF4-FFF2-40B4-BE49-F238E27FC236}">
                <a16:creationId xmlns:a16="http://schemas.microsoft.com/office/drawing/2014/main" id="{E89B3305-CD61-6F45-85AE-0AF738D56906}"/>
              </a:ext>
            </a:extLst>
          </p:cNvPr>
          <p:cNvSpPr>
            <a:spLocks noGrp="1"/>
          </p:cNvSpPr>
          <p:nvPr>
            <p:ph type="body" sz="quarter" idx="14" hasCustomPrompt="1"/>
          </p:nvPr>
        </p:nvSpPr>
        <p:spPr>
          <a:xfrm>
            <a:off x="1763713" y="276226"/>
            <a:ext cx="5616575" cy="276999"/>
          </a:xfrm>
        </p:spPr>
        <p:txBody>
          <a:bodyPr lIns="216000" rIns="216000" anchor="t"/>
          <a:lstStyle>
            <a:lvl1pPr marL="3175" indent="-3175" algn="ctr">
              <a:buNone/>
              <a:tabLst/>
              <a:defRPr sz="1200" b="1">
                <a:solidFill>
                  <a:schemeClr val="bg1"/>
                </a:solidFill>
              </a:defRPr>
            </a:lvl1pPr>
            <a:lvl2pPr>
              <a:buNone/>
              <a:defRPr/>
            </a:lvl2pPr>
            <a:lvl3pPr>
              <a:buNone/>
              <a:defRPr/>
            </a:lvl3pPr>
            <a:lvl4pPr>
              <a:buNone/>
              <a:defRPr/>
            </a:lvl4pPr>
            <a:lvl5pPr>
              <a:buNone/>
              <a:defRPr/>
            </a:lvl5pPr>
          </a:lstStyle>
          <a:p>
            <a:pPr lvl="0"/>
            <a:r>
              <a:rPr lang="en-GB" noProof="0"/>
              <a:t>Click to add navigation/chapter tracker</a:t>
            </a:r>
          </a:p>
        </p:txBody>
      </p:sp>
      <p:sp>
        <p:nvSpPr>
          <p:cNvPr id="11" name="Date">
            <a:extLst>
              <a:ext uri="{FF2B5EF4-FFF2-40B4-BE49-F238E27FC236}">
                <a16:creationId xmlns:a16="http://schemas.microsoft.com/office/drawing/2014/main" id="{38CA3AD7-12F8-9F43-820D-33071C26D41A}"/>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C90C7E62-C994-4143-8294-F6EF7C24C358}" type="datetime1">
              <a:rPr lang="sv-SE" noProof="0" smtClean="0"/>
              <a:t>2025-09-04</a:t>
            </a:fld>
            <a:endParaRPr lang="en-GB" noProof="0"/>
          </a:p>
        </p:txBody>
      </p:sp>
      <p:sp>
        <p:nvSpPr>
          <p:cNvPr id="12" name="Number">
            <a:extLst>
              <a:ext uri="{FF2B5EF4-FFF2-40B4-BE49-F238E27FC236}">
                <a16:creationId xmlns:a16="http://schemas.microsoft.com/office/drawing/2014/main" id="{DFED6C3B-4A73-344C-A9A5-F8224178884F}"/>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9" name="Footer">
            <a:extLst>
              <a:ext uri="{FF2B5EF4-FFF2-40B4-BE49-F238E27FC236}">
                <a16:creationId xmlns:a16="http://schemas.microsoft.com/office/drawing/2014/main" id="{8C9F6B2B-126D-5341-B841-385A749EDBFF}"/>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147818135"/>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Chapter divider Video">
    <p:spTree>
      <p:nvGrpSpPr>
        <p:cNvPr id="1" name=""/>
        <p:cNvGrpSpPr/>
        <p:nvPr/>
      </p:nvGrpSpPr>
      <p:grpSpPr>
        <a:xfrm>
          <a:off x="0" y="0"/>
          <a:ext cx="0" cy="0"/>
          <a:chOff x="0" y="0"/>
          <a:chExt cx="0" cy="0"/>
        </a:xfrm>
      </p:grpSpPr>
      <p:sp>
        <p:nvSpPr>
          <p:cNvPr id="6" name="Video placeholder">
            <a:extLst>
              <a:ext uri="{FF2B5EF4-FFF2-40B4-BE49-F238E27FC236}">
                <a16:creationId xmlns:a16="http://schemas.microsoft.com/office/drawing/2014/main" id="{AFA9E759-54BF-ABD9-0FCE-C361BE6D8AAD}"/>
              </a:ext>
            </a:extLst>
          </p:cNvPr>
          <p:cNvSpPr>
            <a:spLocks noGrp="1"/>
          </p:cNvSpPr>
          <p:nvPr>
            <p:ph type="media" sz="quarter" idx="11" hasCustomPrompt="1"/>
          </p:nvPr>
        </p:nvSpPr>
        <p:spPr>
          <a:xfrm>
            <a:off x="-32951" y="-18535"/>
            <a:ext cx="9209902" cy="5180570"/>
          </a:xfrm>
          <a:custGeom>
            <a:avLst/>
            <a:gdLst>
              <a:gd name="connsiteX0" fmla="*/ 212339 w 9209902"/>
              <a:gd name="connsiteY0" fmla="*/ 177285 h 5180570"/>
              <a:gd name="connsiteX1" fmla="*/ 8997562 w 9209902"/>
              <a:gd name="connsiteY1" fmla="*/ 177285 h 5180570"/>
              <a:gd name="connsiteX2" fmla="*/ 8997562 w 9209902"/>
              <a:gd name="connsiteY2" fmla="*/ 4858824 h 5180570"/>
              <a:gd name="connsiteX3" fmla="*/ 212339 w 9209902"/>
              <a:gd name="connsiteY3" fmla="*/ 4858824 h 5180570"/>
              <a:gd name="connsiteX4" fmla="*/ 32951 w 9209902"/>
              <a:gd name="connsiteY4" fmla="*/ 18535 h 5180570"/>
              <a:gd name="connsiteX5" fmla="*/ 32951 w 9209902"/>
              <a:gd name="connsiteY5" fmla="*/ 5162034 h 5180570"/>
              <a:gd name="connsiteX6" fmla="*/ 143236 w 9209902"/>
              <a:gd name="connsiteY6" fmla="*/ 5162034 h 5180570"/>
              <a:gd name="connsiteX7" fmla="*/ 143236 w 9209902"/>
              <a:gd name="connsiteY7" fmla="*/ 5162035 h 5180570"/>
              <a:gd name="connsiteX8" fmla="*/ 9151553 w 9209902"/>
              <a:gd name="connsiteY8" fmla="*/ 5162035 h 5180570"/>
              <a:gd name="connsiteX9" fmla="*/ 9176951 w 9209902"/>
              <a:gd name="connsiteY9" fmla="*/ 5162035 h 5180570"/>
              <a:gd name="connsiteX10" fmla="*/ 9176951 w 9209902"/>
              <a:gd name="connsiteY10" fmla="*/ 18535 h 5180570"/>
              <a:gd name="connsiteX11" fmla="*/ 8997562 w 9209902"/>
              <a:gd name="connsiteY11" fmla="*/ 18535 h 5180570"/>
              <a:gd name="connsiteX12" fmla="*/ 143237 w 9209902"/>
              <a:gd name="connsiteY12" fmla="*/ 18535 h 5180570"/>
              <a:gd name="connsiteX13" fmla="*/ 0 w 9209902"/>
              <a:gd name="connsiteY13" fmla="*/ 0 h 5180570"/>
              <a:gd name="connsiteX14" fmla="*/ 9209902 w 9209902"/>
              <a:gd name="connsiteY14" fmla="*/ 0 h 5180570"/>
              <a:gd name="connsiteX15" fmla="*/ 9209902 w 9209902"/>
              <a:gd name="connsiteY15" fmla="*/ 5180570 h 5180570"/>
              <a:gd name="connsiteX16" fmla="*/ 0 w 9209902"/>
              <a:gd name="connsiteY16" fmla="*/ 5180570 h 518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209902" h="5180570">
                <a:moveTo>
                  <a:pt x="212339" y="177285"/>
                </a:moveTo>
                <a:lnTo>
                  <a:pt x="8997562" y="177285"/>
                </a:lnTo>
                <a:lnTo>
                  <a:pt x="8997562" y="4858824"/>
                </a:lnTo>
                <a:lnTo>
                  <a:pt x="212339" y="4858824"/>
                </a:lnTo>
                <a:close/>
                <a:moveTo>
                  <a:pt x="32951" y="18535"/>
                </a:moveTo>
                <a:lnTo>
                  <a:pt x="32951" y="5162034"/>
                </a:lnTo>
                <a:lnTo>
                  <a:pt x="143236" y="5162034"/>
                </a:lnTo>
                <a:lnTo>
                  <a:pt x="143236" y="5162035"/>
                </a:lnTo>
                <a:lnTo>
                  <a:pt x="9151553" y="5162035"/>
                </a:lnTo>
                <a:lnTo>
                  <a:pt x="9176951" y="5162035"/>
                </a:lnTo>
                <a:lnTo>
                  <a:pt x="9176951" y="18535"/>
                </a:lnTo>
                <a:lnTo>
                  <a:pt x="8997562" y="18535"/>
                </a:lnTo>
                <a:lnTo>
                  <a:pt x="143237" y="18535"/>
                </a:lnTo>
                <a:close/>
                <a:moveTo>
                  <a:pt x="0" y="0"/>
                </a:moveTo>
                <a:lnTo>
                  <a:pt x="9209902" y="0"/>
                </a:lnTo>
                <a:lnTo>
                  <a:pt x="9209902" y="5180570"/>
                </a:lnTo>
                <a:lnTo>
                  <a:pt x="0" y="5180570"/>
                </a:lnTo>
                <a:close/>
              </a:path>
            </a:pathLst>
          </a:custGeom>
          <a:blipFill dpi="0" rotWithShape="1">
            <a:blip r:embed="rId2"/>
            <a:srcRect/>
            <a:tile tx="0" ty="0" sx="100000" sy="100000" flip="none" algn="tl"/>
          </a:blipFill>
        </p:spPr>
        <p:txBody>
          <a:bodyPr vert="horz" wrap="square" lIns="90000" tIns="251999" rIns="90000" bIns="45720" rtlCol="0">
            <a:noAutofit/>
          </a:bodyPr>
          <a:lstStyle>
            <a:lvl1pPr marL="0" indent="0" algn="ctr">
              <a:buNone/>
              <a:defRPr lang="en-GB" sz="800" noProof="0" dirty="0">
                <a:solidFill>
                  <a:schemeClr val="bg1">
                    <a:lumMod val="75000"/>
                  </a:schemeClr>
                </a:solidFill>
              </a:defRPr>
            </a:lvl1pPr>
          </a:lstStyle>
          <a:p>
            <a:pPr marL="171450" lvl="0" indent="-171450" algn="ctr"/>
            <a:r>
              <a:rPr lang="en-GB" noProof="0"/>
              <a:t>Select placeholder and select Insert &gt; Insert Video from this device</a:t>
            </a:r>
          </a:p>
        </p:txBody>
      </p:sp>
      <p:sp>
        <p:nvSpPr>
          <p:cNvPr id="8" name="Title">
            <a:extLst>
              <a:ext uri="{FF2B5EF4-FFF2-40B4-BE49-F238E27FC236}">
                <a16:creationId xmlns:a16="http://schemas.microsoft.com/office/drawing/2014/main" id="{D0286019-1596-CC4C-95F2-E2F7E54FE89D}"/>
              </a:ext>
            </a:extLst>
          </p:cNvPr>
          <p:cNvSpPr>
            <a:spLocks noGrp="1"/>
          </p:cNvSpPr>
          <p:nvPr>
            <p:ph type="title" hasCustomPrompt="1"/>
          </p:nvPr>
        </p:nvSpPr>
        <p:spPr>
          <a:xfrm>
            <a:off x="324000" y="1719827"/>
            <a:ext cx="8496000" cy="1560972"/>
          </a:xfrm>
        </p:spPr>
        <p:txBody>
          <a:bodyPr lIns="216000" rIns="216000" anchor="ctr"/>
          <a:lstStyle>
            <a:lvl1pPr algn="ctr">
              <a:defRPr sz="4400">
                <a:solidFill>
                  <a:schemeClr val="bg1"/>
                </a:solidFill>
              </a:defRPr>
            </a:lvl1pPr>
          </a:lstStyle>
          <a:p>
            <a:r>
              <a:rPr lang="en-GB" noProof="0"/>
              <a:t>Click to add chapter </a:t>
            </a:r>
            <a:br>
              <a:rPr lang="en-GB" noProof="0"/>
            </a:br>
            <a:r>
              <a:rPr lang="en-GB" noProof="0"/>
              <a:t>or divider text</a:t>
            </a:r>
          </a:p>
        </p:txBody>
      </p:sp>
      <p:sp>
        <p:nvSpPr>
          <p:cNvPr id="30" name="Navigation">
            <a:extLst>
              <a:ext uri="{FF2B5EF4-FFF2-40B4-BE49-F238E27FC236}">
                <a16:creationId xmlns:a16="http://schemas.microsoft.com/office/drawing/2014/main" id="{E89B3305-CD61-6F45-85AE-0AF738D56906}"/>
              </a:ext>
            </a:extLst>
          </p:cNvPr>
          <p:cNvSpPr>
            <a:spLocks noGrp="1"/>
          </p:cNvSpPr>
          <p:nvPr>
            <p:ph type="body" sz="quarter" idx="14" hasCustomPrompt="1"/>
          </p:nvPr>
        </p:nvSpPr>
        <p:spPr>
          <a:xfrm>
            <a:off x="1763713" y="276226"/>
            <a:ext cx="5616575" cy="276999"/>
          </a:xfrm>
        </p:spPr>
        <p:txBody>
          <a:bodyPr lIns="216000" rIns="216000" anchor="t"/>
          <a:lstStyle>
            <a:lvl1pPr marL="3175" indent="-3175" algn="ctr">
              <a:buNone/>
              <a:tabLst/>
              <a:defRPr sz="1200" b="1">
                <a:solidFill>
                  <a:schemeClr val="bg1"/>
                </a:solidFill>
              </a:defRPr>
            </a:lvl1pPr>
            <a:lvl2pPr>
              <a:buNone/>
              <a:defRPr/>
            </a:lvl2pPr>
            <a:lvl3pPr>
              <a:buNone/>
              <a:defRPr/>
            </a:lvl3pPr>
            <a:lvl4pPr>
              <a:buNone/>
              <a:defRPr/>
            </a:lvl4pPr>
            <a:lvl5pPr>
              <a:buNone/>
              <a:defRPr/>
            </a:lvl5pPr>
          </a:lstStyle>
          <a:p>
            <a:pPr lvl="0"/>
            <a:r>
              <a:rPr lang="en-GB" noProof="0"/>
              <a:t>Click to add navigation/chapter tracker</a:t>
            </a:r>
          </a:p>
        </p:txBody>
      </p:sp>
      <p:sp>
        <p:nvSpPr>
          <p:cNvPr id="11" name="Date">
            <a:extLst>
              <a:ext uri="{FF2B5EF4-FFF2-40B4-BE49-F238E27FC236}">
                <a16:creationId xmlns:a16="http://schemas.microsoft.com/office/drawing/2014/main" id="{38CA3AD7-12F8-9F43-820D-33071C26D41A}"/>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599603A1-9B88-4ACF-AD0D-ED799FBBB775}" type="datetime1">
              <a:rPr lang="sv-SE" noProof="0" smtClean="0"/>
              <a:t>2025-09-04</a:t>
            </a:fld>
            <a:endParaRPr lang="en-GB" noProof="0"/>
          </a:p>
        </p:txBody>
      </p:sp>
      <p:sp>
        <p:nvSpPr>
          <p:cNvPr id="12" name="Number">
            <a:extLst>
              <a:ext uri="{FF2B5EF4-FFF2-40B4-BE49-F238E27FC236}">
                <a16:creationId xmlns:a16="http://schemas.microsoft.com/office/drawing/2014/main" id="{DFED6C3B-4A73-344C-A9A5-F8224178884F}"/>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9" name="Footer">
            <a:extLst>
              <a:ext uri="{FF2B5EF4-FFF2-40B4-BE49-F238E27FC236}">
                <a16:creationId xmlns:a16="http://schemas.microsoft.com/office/drawing/2014/main" id="{8C9F6B2B-126D-5341-B841-385A749EDBFF}"/>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4009986819"/>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 Statement/Insight">
    <p:bg>
      <p:bgPr>
        <a:solidFill>
          <a:schemeClr val="bg2"/>
        </a:solidFill>
        <a:effectLst/>
      </p:bgPr>
    </p:bg>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A55878FD-9E3E-1D42-8830-1CCBED7F67BF}"/>
              </a:ext>
            </a:extLst>
          </p:cNvPr>
          <p:cNvSpPr>
            <a:spLocks noGrp="1"/>
          </p:cNvSpPr>
          <p:nvPr>
            <p:ph type="title" hasCustomPrompt="1"/>
          </p:nvPr>
        </p:nvSpPr>
        <p:spPr>
          <a:xfrm>
            <a:off x="324000" y="1719827"/>
            <a:ext cx="8496000" cy="1560972"/>
          </a:xfrm>
        </p:spPr>
        <p:txBody>
          <a:bodyPr lIns="216000" rIns="216000" anchor="ctr"/>
          <a:lstStyle>
            <a:lvl1pPr algn="ctr">
              <a:defRPr sz="4400">
                <a:solidFill>
                  <a:schemeClr val="tx1"/>
                </a:solidFill>
              </a:defRPr>
            </a:lvl1pPr>
          </a:lstStyle>
          <a:p>
            <a:r>
              <a:rPr lang="en-GB" noProof="0"/>
              <a:t>Click to add statement </a:t>
            </a:r>
            <a:br>
              <a:rPr lang="en-GB" noProof="0"/>
            </a:br>
            <a:r>
              <a:rPr lang="en-GB" noProof="0"/>
              <a:t>or insight</a:t>
            </a:r>
          </a:p>
        </p:txBody>
      </p:sp>
      <p:sp>
        <p:nvSpPr>
          <p:cNvPr id="11" name="Date">
            <a:extLst>
              <a:ext uri="{FF2B5EF4-FFF2-40B4-BE49-F238E27FC236}">
                <a16:creationId xmlns:a16="http://schemas.microsoft.com/office/drawing/2014/main" id="{38CA3AD7-12F8-9F43-820D-33071C26D41A}"/>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E50C1F8F-56E8-4E42-B553-F68B3261A083}" type="datetime1">
              <a:rPr lang="sv-SE" noProof="0" smtClean="0"/>
              <a:t>2025-09-04</a:t>
            </a:fld>
            <a:endParaRPr lang="en-GB" noProof="0"/>
          </a:p>
        </p:txBody>
      </p:sp>
      <p:sp>
        <p:nvSpPr>
          <p:cNvPr id="12" name="Number">
            <a:extLst>
              <a:ext uri="{FF2B5EF4-FFF2-40B4-BE49-F238E27FC236}">
                <a16:creationId xmlns:a16="http://schemas.microsoft.com/office/drawing/2014/main" id="{DFED6C3B-4A73-344C-A9A5-F8224178884F}"/>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8" name="Footer">
            <a:extLst>
              <a:ext uri="{FF2B5EF4-FFF2-40B4-BE49-F238E27FC236}">
                <a16:creationId xmlns:a16="http://schemas.microsoft.com/office/drawing/2014/main" id="{F76D3661-5BD5-6848-A702-AC0A276D4C4A}"/>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3894826325"/>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Agenda on image">
    <p:spTree>
      <p:nvGrpSpPr>
        <p:cNvPr id="1" name=""/>
        <p:cNvGrpSpPr/>
        <p:nvPr/>
      </p:nvGrpSpPr>
      <p:grpSpPr>
        <a:xfrm>
          <a:off x="0" y="0"/>
          <a:ext cx="0" cy="0"/>
          <a:chOff x="0" y="0"/>
          <a:chExt cx="0" cy="0"/>
        </a:xfrm>
      </p:grpSpPr>
      <p:sp>
        <p:nvSpPr>
          <p:cNvPr id="11" name="Background image">
            <a:extLst>
              <a:ext uri="{FF2B5EF4-FFF2-40B4-BE49-F238E27FC236}">
                <a16:creationId xmlns:a16="http://schemas.microsoft.com/office/drawing/2014/main" id="{7DE09709-4C7A-2B45-91B8-828515344C2F}"/>
              </a:ext>
            </a:extLst>
          </p:cNvPr>
          <p:cNvSpPr>
            <a:spLocks noGrp="1"/>
          </p:cNvSpPr>
          <p:nvPr>
            <p:ph type="pic" sz="quarter" idx="10" hasCustomPrompt="1"/>
          </p:nvPr>
        </p:nvSpPr>
        <p:spPr>
          <a:xfrm>
            <a:off x="179388" y="158750"/>
            <a:ext cx="8785322" cy="4681538"/>
          </a:xfrm>
          <a:blipFill dpi="0" rotWithShape="1">
            <a:blip r:embed="rId2"/>
            <a:srcRect/>
            <a:tile tx="0" ty="0" sx="100000" sy="100000" flip="none" algn="tl"/>
          </a:blipFill>
        </p:spPr>
        <p:txBody>
          <a:bodyPr/>
          <a:lstStyle>
            <a:lvl1pPr algn="r">
              <a:buNone/>
              <a:defRPr sz="800">
                <a:solidFill>
                  <a:schemeClr val="bg1">
                    <a:lumMod val="75000"/>
                  </a:schemeClr>
                </a:solidFill>
              </a:defRPr>
            </a:lvl1pPr>
          </a:lstStyle>
          <a:p>
            <a:r>
              <a:rPr lang="en-GB" noProof="0"/>
              <a:t>Select placeholder and select Insert &gt; Pictures</a:t>
            </a:r>
          </a:p>
        </p:txBody>
      </p:sp>
      <p:sp>
        <p:nvSpPr>
          <p:cNvPr id="17" name="Title">
            <a:extLst>
              <a:ext uri="{FF2B5EF4-FFF2-40B4-BE49-F238E27FC236}">
                <a16:creationId xmlns:a16="http://schemas.microsoft.com/office/drawing/2014/main" id="{2A7B5CC4-3731-AB42-B5BE-731595BD8458}"/>
              </a:ext>
            </a:extLst>
          </p:cNvPr>
          <p:cNvSpPr>
            <a:spLocks noGrp="1"/>
          </p:cNvSpPr>
          <p:nvPr>
            <p:ph type="title" hasCustomPrompt="1"/>
          </p:nvPr>
        </p:nvSpPr>
        <p:spPr>
          <a:xfrm>
            <a:off x="323850" y="239375"/>
            <a:ext cx="5616574" cy="625283"/>
          </a:xfrm>
        </p:spPr>
        <p:txBody>
          <a:bodyPr rIns="216000"/>
          <a:lstStyle>
            <a:lvl1pPr>
              <a:defRPr sz="3000" spc="-70" baseline="0">
                <a:solidFill>
                  <a:schemeClr val="bg1"/>
                </a:solidFill>
              </a:defRPr>
            </a:lvl1pPr>
          </a:lstStyle>
          <a:p>
            <a:r>
              <a:rPr lang="en-GB"/>
              <a:t>Add agenda headline</a:t>
            </a:r>
          </a:p>
        </p:txBody>
      </p:sp>
      <p:sp>
        <p:nvSpPr>
          <p:cNvPr id="38" name="Date">
            <a:extLst>
              <a:ext uri="{FF2B5EF4-FFF2-40B4-BE49-F238E27FC236}">
                <a16:creationId xmlns:a16="http://schemas.microsoft.com/office/drawing/2014/main" id="{B7D04508-015B-A24C-A068-9517A03041E5}"/>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1B776DD5-4D25-4118-BA70-FE329B3BE8E8}" type="datetime1">
              <a:rPr lang="sv-SE" noProof="0" smtClean="0"/>
              <a:t>2025-09-04</a:t>
            </a:fld>
            <a:endParaRPr lang="en-GB" noProof="0"/>
          </a:p>
        </p:txBody>
      </p:sp>
      <p:sp>
        <p:nvSpPr>
          <p:cNvPr id="39" name="Number">
            <a:extLst>
              <a:ext uri="{FF2B5EF4-FFF2-40B4-BE49-F238E27FC236}">
                <a16:creationId xmlns:a16="http://schemas.microsoft.com/office/drawing/2014/main" id="{24E3E452-24F0-1B44-9014-429AC576B5B6}"/>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3" name="Footer">
            <a:extLst>
              <a:ext uri="{FF2B5EF4-FFF2-40B4-BE49-F238E27FC236}">
                <a16:creationId xmlns:a16="http://schemas.microsoft.com/office/drawing/2014/main" id="{B10204F0-D72F-7C43-9047-C52F851EBA3E}"/>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
        <p:nvSpPr>
          <p:cNvPr id="5" name="Text Placeholder 4">
            <a:extLst>
              <a:ext uri="{FF2B5EF4-FFF2-40B4-BE49-F238E27FC236}">
                <a16:creationId xmlns:a16="http://schemas.microsoft.com/office/drawing/2014/main" id="{B1706622-C08B-4BF2-03BE-8B82945901F9}"/>
              </a:ext>
            </a:extLst>
          </p:cNvPr>
          <p:cNvSpPr>
            <a:spLocks noGrp="1"/>
          </p:cNvSpPr>
          <p:nvPr>
            <p:ph type="body" sz="quarter" idx="16"/>
          </p:nvPr>
        </p:nvSpPr>
        <p:spPr>
          <a:xfrm>
            <a:off x="323850" y="1093788"/>
            <a:ext cx="5616000" cy="3529012"/>
          </a:xfrm>
        </p:spPr>
        <p:txBody>
          <a:bodyPr rIns="216000"/>
          <a:lstStyle>
            <a:lvl1pPr marL="342900" indent="-342900">
              <a:lnSpc>
                <a:spcPct val="95000"/>
              </a:lnSpc>
              <a:spcBef>
                <a:spcPts val="1000"/>
              </a:spcBef>
              <a:buFont typeface="+mj-lt"/>
              <a:buAutoNum type="arabicPeriod"/>
              <a:defRPr sz="1800" b="1">
                <a:solidFill>
                  <a:schemeClr val="bg1"/>
                </a:solidFill>
              </a:defRPr>
            </a:lvl1pPr>
            <a:lvl2pPr marL="342000" indent="-342000">
              <a:spcBef>
                <a:spcPts val="0"/>
              </a:spcBef>
              <a:buFontTx/>
              <a:buBlip>
                <a:blip r:embed="rId3"/>
              </a:buBlip>
              <a:defRPr sz="1400">
                <a:solidFill>
                  <a:schemeClr val="bg1"/>
                </a:solidFill>
              </a:defRPr>
            </a:lvl2pPr>
            <a:lvl3pPr marL="342000" indent="-342000">
              <a:spcBef>
                <a:spcPts val="0"/>
              </a:spcBef>
              <a:spcAft>
                <a:spcPts val="0"/>
              </a:spcAft>
              <a:buFontTx/>
              <a:buBlip>
                <a:blip r:embed="rId3"/>
              </a:buBlip>
              <a:defRPr>
                <a:solidFill>
                  <a:schemeClr val="bg1"/>
                </a:solidFill>
              </a:defRPr>
            </a:lvl3pPr>
          </a:lstStyle>
          <a:p>
            <a:pPr lvl="0"/>
            <a:r>
              <a:rPr lang="sv-SE"/>
              <a:t>Klicka här för att ändra format på bakgrundstexten</a:t>
            </a:r>
          </a:p>
          <a:p>
            <a:pPr lvl="1"/>
            <a:r>
              <a:rPr lang="sv-SE"/>
              <a:t>Nivå två</a:t>
            </a:r>
          </a:p>
          <a:p>
            <a:pPr lvl="2"/>
            <a:r>
              <a:rPr lang="sv-SE"/>
              <a:t>Nivå tre</a:t>
            </a:r>
          </a:p>
        </p:txBody>
      </p:sp>
    </p:spTree>
    <p:extLst>
      <p:ext uri="{BB962C8B-B14F-4D97-AF65-F5344CB8AC3E}">
        <p14:creationId xmlns:p14="http://schemas.microsoft.com/office/powerpoint/2010/main" val="256796790"/>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 Statement/Insight image">
    <p:spTree>
      <p:nvGrpSpPr>
        <p:cNvPr id="1" name=""/>
        <p:cNvGrpSpPr/>
        <p:nvPr/>
      </p:nvGrpSpPr>
      <p:grpSpPr>
        <a:xfrm>
          <a:off x="0" y="0"/>
          <a:ext cx="0" cy="0"/>
          <a:chOff x="0" y="0"/>
          <a:chExt cx="0" cy="0"/>
        </a:xfrm>
      </p:grpSpPr>
      <p:sp>
        <p:nvSpPr>
          <p:cNvPr id="3" name="Background image">
            <a:extLst>
              <a:ext uri="{FF2B5EF4-FFF2-40B4-BE49-F238E27FC236}">
                <a16:creationId xmlns:a16="http://schemas.microsoft.com/office/drawing/2014/main" id="{25798999-2A1E-2547-A8D5-4373B7132ADB}"/>
              </a:ext>
            </a:extLst>
          </p:cNvPr>
          <p:cNvSpPr>
            <a:spLocks noGrp="1"/>
          </p:cNvSpPr>
          <p:nvPr>
            <p:ph type="pic" sz="quarter" idx="10" hasCustomPrompt="1"/>
          </p:nvPr>
        </p:nvSpPr>
        <p:spPr>
          <a:xfrm>
            <a:off x="179388" y="158750"/>
            <a:ext cx="8785322" cy="4681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Select placeholder and select Insert &gt; Pictures</a:t>
            </a:r>
          </a:p>
        </p:txBody>
      </p:sp>
      <p:sp>
        <p:nvSpPr>
          <p:cNvPr id="7" name="Title">
            <a:extLst>
              <a:ext uri="{FF2B5EF4-FFF2-40B4-BE49-F238E27FC236}">
                <a16:creationId xmlns:a16="http://schemas.microsoft.com/office/drawing/2014/main" id="{A55878FD-9E3E-1D42-8830-1CCBED7F67BF}"/>
              </a:ext>
            </a:extLst>
          </p:cNvPr>
          <p:cNvSpPr>
            <a:spLocks noGrp="1"/>
          </p:cNvSpPr>
          <p:nvPr>
            <p:ph type="title" hasCustomPrompt="1"/>
          </p:nvPr>
        </p:nvSpPr>
        <p:spPr>
          <a:xfrm>
            <a:off x="324000" y="1719827"/>
            <a:ext cx="8496000" cy="1560972"/>
          </a:xfrm>
        </p:spPr>
        <p:txBody>
          <a:bodyPr lIns="216000" rIns="216000" anchor="ctr"/>
          <a:lstStyle>
            <a:lvl1pPr algn="ctr">
              <a:defRPr sz="4400">
                <a:solidFill>
                  <a:schemeClr val="bg1"/>
                </a:solidFill>
              </a:defRPr>
            </a:lvl1pPr>
          </a:lstStyle>
          <a:p>
            <a:r>
              <a:rPr lang="en-GB" noProof="0"/>
              <a:t>Click to add statement </a:t>
            </a:r>
            <a:br>
              <a:rPr lang="en-GB" noProof="0"/>
            </a:br>
            <a:r>
              <a:rPr lang="en-GB" noProof="0"/>
              <a:t>or insight</a:t>
            </a:r>
          </a:p>
        </p:txBody>
      </p:sp>
      <p:sp>
        <p:nvSpPr>
          <p:cNvPr id="11" name="Date">
            <a:extLst>
              <a:ext uri="{FF2B5EF4-FFF2-40B4-BE49-F238E27FC236}">
                <a16:creationId xmlns:a16="http://schemas.microsoft.com/office/drawing/2014/main" id="{38CA3AD7-12F8-9F43-820D-33071C26D41A}"/>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3EA5AABA-1478-4548-901F-A612554FE1C7}" type="datetime1">
              <a:rPr lang="sv-SE" noProof="0" smtClean="0"/>
              <a:t>2025-09-04</a:t>
            </a:fld>
            <a:endParaRPr lang="en-GB" noProof="0"/>
          </a:p>
        </p:txBody>
      </p:sp>
      <p:sp>
        <p:nvSpPr>
          <p:cNvPr id="12" name="Number">
            <a:extLst>
              <a:ext uri="{FF2B5EF4-FFF2-40B4-BE49-F238E27FC236}">
                <a16:creationId xmlns:a16="http://schemas.microsoft.com/office/drawing/2014/main" id="{DFED6C3B-4A73-344C-A9A5-F8224178884F}"/>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9" name="Footer">
            <a:extLst>
              <a:ext uri="{FF2B5EF4-FFF2-40B4-BE49-F238E27FC236}">
                <a16:creationId xmlns:a16="http://schemas.microsoft.com/office/drawing/2014/main" id="{3AFBD1D1-32D7-814D-842E-EBEF1C14001E}"/>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3742084124"/>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 Quote image">
    <p:spTree>
      <p:nvGrpSpPr>
        <p:cNvPr id="1" name=""/>
        <p:cNvGrpSpPr/>
        <p:nvPr/>
      </p:nvGrpSpPr>
      <p:grpSpPr>
        <a:xfrm>
          <a:off x="0" y="0"/>
          <a:ext cx="0" cy="0"/>
          <a:chOff x="0" y="0"/>
          <a:chExt cx="0" cy="0"/>
        </a:xfrm>
      </p:grpSpPr>
      <p:sp>
        <p:nvSpPr>
          <p:cNvPr id="33" name="Background image">
            <a:extLst>
              <a:ext uri="{FF2B5EF4-FFF2-40B4-BE49-F238E27FC236}">
                <a16:creationId xmlns:a16="http://schemas.microsoft.com/office/drawing/2014/main" id="{99FB47D4-AFE7-B043-97C1-A69890F347EC}"/>
              </a:ext>
            </a:extLst>
          </p:cNvPr>
          <p:cNvSpPr>
            <a:spLocks noGrp="1"/>
          </p:cNvSpPr>
          <p:nvPr>
            <p:ph type="pic" sz="quarter" idx="10" hasCustomPrompt="1"/>
          </p:nvPr>
        </p:nvSpPr>
        <p:spPr>
          <a:xfrm>
            <a:off x="179388" y="158750"/>
            <a:ext cx="8785322" cy="4681538"/>
          </a:xfrm>
          <a:custGeom>
            <a:avLst/>
            <a:gdLst/>
            <a:ahLst/>
            <a:cxnLst/>
            <a:rect l="l" t="t" r="r" b="b"/>
            <a:pathLst>
              <a:path w="8785322" h="4681538">
                <a:moveTo>
                  <a:pt x="8379260" y="3874916"/>
                </a:moveTo>
                <a:lnTo>
                  <a:pt x="8379260" y="4136296"/>
                </a:lnTo>
                <a:lnTo>
                  <a:pt x="8504834" y="4136296"/>
                </a:lnTo>
                <a:cubicBezTo>
                  <a:pt x="8504214" y="4187766"/>
                  <a:pt x="8492586" y="4229003"/>
                  <a:pt x="8469952" y="4260009"/>
                </a:cubicBezTo>
                <a:cubicBezTo>
                  <a:pt x="8447318" y="4291015"/>
                  <a:pt x="8409956" y="4315200"/>
                  <a:pt x="8357866" y="4332563"/>
                </a:cubicBezTo>
                <a:lnTo>
                  <a:pt x="8409026" y="4441394"/>
                </a:lnTo>
                <a:cubicBezTo>
                  <a:pt x="8464216" y="4421550"/>
                  <a:pt x="8509950" y="4394110"/>
                  <a:pt x="8546226" y="4359073"/>
                </a:cubicBezTo>
                <a:cubicBezTo>
                  <a:pt x="8582503" y="4324036"/>
                  <a:pt x="8607308" y="4284814"/>
                  <a:pt x="8620640" y="4241406"/>
                </a:cubicBezTo>
                <a:cubicBezTo>
                  <a:pt x="8633973" y="4197998"/>
                  <a:pt x="8640639" y="4138466"/>
                  <a:pt x="8640639" y="4062812"/>
                </a:cubicBezTo>
                <a:lnTo>
                  <a:pt x="8640639" y="3874916"/>
                </a:lnTo>
                <a:close/>
                <a:moveTo>
                  <a:pt x="7940217" y="3874916"/>
                </a:moveTo>
                <a:lnTo>
                  <a:pt x="7940217" y="4136296"/>
                </a:lnTo>
                <a:lnTo>
                  <a:pt x="8066721" y="4136296"/>
                </a:lnTo>
                <a:cubicBezTo>
                  <a:pt x="8065481" y="4187766"/>
                  <a:pt x="8053699" y="4229003"/>
                  <a:pt x="8031374" y="4260009"/>
                </a:cubicBezTo>
                <a:cubicBezTo>
                  <a:pt x="8009050" y="4291015"/>
                  <a:pt x="7971533" y="4315200"/>
                  <a:pt x="7918823" y="4332563"/>
                </a:cubicBezTo>
                <a:lnTo>
                  <a:pt x="7969983" y="4441394"/>
                </a:lnTo>
                <a:cubicBezTo>
                  <a:pt x="8025793" y="4421550"/>
                  <a:pt x="8071837" y="4394110"/>
                  <a:pt x="8108114" y="4359073"/>
                </a:cubicBezTo>
                <a:cubicBezTo>
                  <a:pt x="8144391" y="4324036"/>
                  <a:pt x="8169040" y="4284814"/>
                  <a:pt x="8182063" y="4241406"/>
                </a:cubicBezTo>
                <a:cubicBezTo>
                  <a:pt x="8195085" y="4197998"/>
                  <a:pt x="8201597" y="4138466"/>
                  <a:pt x="8201597" y="4062812"/>
                </a:cubicBezTo>
                <a:lnTo>
                  <a:pt x="8201597" y="3874916"/>
                </a:lnTo>
                <a:close/>
                <a:moveTo>
                  <a:pt x="816817" y="173144"/>
                </a:moveTo>
                <a:cubicBezTo>
                  <a:pt x="761626" y="192988"/>
                  <a:pt x="715893" y="220273"/>
                  <a:pt x="679616" y="254999"/>
                </a:cubicBezTo>
                <a:cubicBezTo>
                  <a:pt x="643339" y="289726"/>
                  <a:pt x="618534" y="328793"/>
                  <a:pt x="605202" y="372202"/>
                </a:cubicBezTo>
                <a:cubicBezTo>
                  <a:pt x="591869" y="415610"/>
                  <a:pt x="585203" y="475451"/>
                  <a:pt x="585203" y="551726"/>
                </a:cubicBezTo>
                <a:lnTo>
                  <a:pt x="585203" y="738691"/>
                </a:lnTo>
                <a:lnTo>
                  <a:pt x="846582" y="738691"/>
                </a:lnTo>
                <a:lnTo>
                  <a:pt x="846582" y="477311"/>
                </a:lnTo>
                <a:lnTo>
                  <a:pt x="720078" y="477311"/>
                </a:lnTo>
                <a:cubicBezTo>
                  <a:pt x="721319" y="425842"/>
                  <a:pt x="733256" y="384604"/>
                  <a:pt x="755890" y="353598"/>
                </a:cubicBezTo>
                <a:cubicBezTo>
                  <a:pt x="778524" y="322592"/>
                  <a:pt x="815887" y="298408"/>
                  <a:pt x="867976" y="281044"/>
                </a:cubicBezTo>
                <a:close/>
                <a:moveTo>
                  <a:pt x="380564" y="173144"/>
                </a:moveTo>
                <a:cubicBezTo>
                  <a:pt x="324754" y="192988"/>
                  <a:pt x="278865" y="220273"/>
                  <a:pt x="242898" y="254999"/>
                </a:cubicBezTo>
                <a:cubicBezTo>
                  <a:pt x="206931" y="289726"/>
                  <a:pt x="182282" y="328948"/>
                  <a:pt x="168949" y="372667"/>
                </a:cubicBezTo>
                <a:cubicBezTo>
                  <a:pt x="155617" y="416385"/>
                  <a:pt x="148950" y="476071"/>
                  <a:pt x="148950" y="551726"/>
                </a:cubicBezTo>
                <a:lnTo>
                  <a:pt x="148950" y="738691"/>
                </a:lnTo>
                <a:lnTo>
                  <a:pt x="410330" y="738691"/>
                </a:lnTo>
                <a:lnTo>
                  <a:pt x="410330" y="477311"/>
                </a:lnTo>
                <a:lnTo>
                  <a:pt x="283826" y="477311"/>
                </a:lnTo>
                <a:cubicBezTo>
                  <a:pt x="285066" y="425842"/>
                  <a:pt x="297003" y="384604"/>
                  <a:pt x="319638" y="353598"/>
                </a:cubicBezTo>
                <a:cubicBezTo>
                  <a:pt x="342272" y="322592"/>
                  <a:pt x="379634" y="298408"/>
                  <a:pt x="431724" y="281044"/>
                </a:cubicBezTo>
                <a:close/>
                <a:moveTo>
                  <a:pt x="0" y="0"/>
                </a:moveTo>
                <a:lnTo>
                  <a:pt x="8785322" y="0"/>
                </a:lnTo>
                <a:lnTo>
                  <a:pt x="8785322" y="4681538"/>
                </a:lnTo>
                <a:lnTo>
                  <a:pt x="0" y="4681538"/>
                </a:lnTo>
                <a:close/>
              </a:path>
            </a:pathLst>
          </a:custGeom>
          <a:blipFill>
            <a:blip r:embed="rId2"/>
            <a:tile tx="0" ty="0" sx="100000" sy="100000" flip="none" algn="tl"/>
          </a:blipFill>
        </p:spPr>
        <p:txBody>
          <a:bodyPr wrap="square">
            <a:noAutofit/>
          </a:bodyPr>
          <a:lstStyle>
            <a:lvl1pPr algn="ctr">
              <a:buNone/>
              <a:defRPr sz="800">
                <a:solidFill>
                  <a:schemeClr val="bg1">
                    <a:lumMod val="75000"/>
                  </a:schemeClr>
                </a:solidFill>
              </a:defRPr>
            </a:lvl1pPr>
          </a:lstStyle>
          <a:p>
            <a:r>
              <a:rPr lang="en-GB" noProof="0"/>
              <a:t>Select placeholder and select Insert &gt; Pictures</a:t>
            </a:r>
          </a:p>
        </p:txBody>
      </p:sp>
      <p:sp>
        <p:nvSpPr>
          <p:cNvPr id="8" name="Title">
            <a:extLst>
              <a:ext uri="{FF2B5EF4-FFF2-40B4-BE49-F238E27FC236}">
                <a16:creationId xmlns:a16="http://schemas.microsoft.com/office/drawing/2014/main" id="{2AF8C6B0-2A99-6F45-B536-0E0C728FB39E}"/>
              </a:ext>
            </a:extLst>
          </p:cNvPr>
          <p:cNvSpPr>
            <a:spLocks noGrp="1"/>
          </p:cNvSpPr>
          <p:nvPr>
            <p:ph type="title" hasCustomPrompt="1"/>
          </p:nvPr>
        </p:nvSpPr>
        <p:spPr>
          <a:xfrm>
            <a:off x="324000" y="1031010"/>
            <a:ext cx="8496000" cy="2937018"/>
          </a:xfrm>
        </p:spPr>
        <p:txBody>
          <a:bodyPr lIns="216000" rIns="216000" anchor="ctr"/>
          <a:lstStyle>
            <a:lvl1pPr algn="ctr">
              <a:defRPr sz="4400">
                <a:solidFill>
                  <a:schemeClr val="bg1"/>
                </a:solidFill>
              </a:defRPr>
            </a:lvl1pPr>
          </a:lstStyle>
          <a:p>
            <a:r>
              <a:rPr lang="en-GB" noProof="0"/>
              <a:t>Click to add inspiring quote</a:t>
            </a:r>
          </a:p>
        </p:txBody>
      </p:sp>
      <p:sp>
        <p:nvSpPr>
          <p:cNvPr id="29" name="Text">
            <a:extLst>
              <a:ext uri="{FF2B5EF4-FFF2-40B4-BE49-F238E27FC236}">
                <a16:creationId xmlns:a16="http://schemas.microsoft.com/office/drawing/2014/main" id="{0752070A-41E1-7D46-9FFE-B3EB4F12E077}"/>
              </a:ext>
            </a:extLst>
          </p:cNvPr>
          <p:cNvSpPr>
            <a:spLocks noGrp="1"/>
          </p:cNvSpPr>
          <p:nvPr>
            <p:ph type="body" sz="quarter" idx="11" hasCustomPrompt="1"/>
          </p:nvPr>
        </p:nvSpPr>
        <p:spPr>
          <a:xfrm>
            <a:off x="3203575" y="3961777"/>
            <a:ext cx="2736850" cy="742286"/>
          </a:xfrm>
        </p:spPr>
        <p:txBody>
          <a:bodyPr anchor="t"/>
          <a:lstStyle>
            <a:lvl1pPr marL="0" indent="-12700" algn="ctr">
              <a:lnSpc>
                <a:spcPct val="95000"/>
              </a:lnSpc>
              <a:spcBef>
                <a:spcPts val="0"/>
              </a:spcBef>
              <a:buNone/>
              <a:tabLst/>
              <a:defRPr b="1" spc="0" baseline="0">
                <a:solidFill>
                  <a:schemeClr val="bg1"/>
                </a:solidFill>
              </a:defRPr>
            </a:lvl1pPr>
          </a:lstStyle>
          <a:p>
            <a:pPr lvl="0"/>
            <a:r>
              <a:rPr lang="en-GB" noProof="0"/>
              <a:t>– Source of quote</a:t>
            </a:r>
          </a:p>
        </p:txBody>
      </p:sp>
      <p:sp>
        <p:nvSpPr>
          <p:cNvPr id="11" name="Date">
            <a:extLst>
              <a:ext uri="{FF2B5EF4-FFF2-40B4-BE49-F238E27FC236}">
                <a16:creationId xmlns:a16="http://schemas.microsoft.com/office/drawing/2014/main" id="{38CA3AD7-12F8-9F43-820D-33071C26D41A}"/>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2D4AA92D-6262-4FB0-A4A7-753DBF63D2F8}" type="datetime1">
              <a:rPr lang="sv-SE" noProof="0" smtClean="0"/>
              <a:t>2025-09-04</a:t>
            </a:fld>
            <a:endParaRPr lang="en-GB" noProof="0"/>
          </a:p>
        </p:txBody>
      </p:sp>
      <p:sp>
        <p:nvSpPr>
          <p:cNvPr id="12" name="Number">
            <a:extLst>
              <a:ext uri="{FF2B5EF4-FFF2-40B4-BE49-F238E27FC236}">
                <a16:creationId xmlns:a16="http://schemas.microsoft.com/office/drawing/2014/main" id="{DFED6C3B-4A73-344C-A9A5-F8224178884F}"/>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9" name="Footer">
            <a:extLst>
              <a:ext uri="{FF2B5EF4-FFF2-40B4-BE49-F238E27FC236}">
                <a16:creationId xmlns:a16="http://schemas.microsoft.com/office/drawing/2014/main" id="{D235B6C8-FB19-4544-A8A8-260345B89FFC}"/>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4128255561"/>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5 Text and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F46B149-EE35-5F76-5302-E64A76A85984}"/>
              </a:ext>
            </a:extLst>
          </p:cNvPr>
          <p:cNvSpPr/>
          <p:nvPr userDrawn="1"/>
        </p:nvSpPr>
        <p:spPr>
          <a:xfrm>
            <a:off x="4499769" y="158750"/>
            <a:ext cx="144462" cy="4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Image">
            <a:extLst>
              <a:ext uri="{FF2B5EF4-FFF2-40B4-BE49-F238E27FC236}">
                <a16:creationId xmlns:a16="http://schemas.microsoft.com/office/drawing/2014/main" id="{0C18E683-E62F-A04E-9D50-572DEA18E067}"/>
              </a:ext>
            </a:extLst>
          </p:cNvPr>
          <p:cNvSpPr>
            <a:spLocks noGrp="1"/>
          </p:cNvSpPr>
          <p:nvPr>
            <p:ph type="pic" sz="quarter" idx="15" hasCustomPrompt="1"/>
          </p:nvPr>
        </p:nvSpPr>
        <p:spPr>
          <a:xfrm>
            <a:off x="4643439" y="158750"/>
            <a:ext cx="4321272" cy="4681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323850" y="525600"/>
            <a:ext cx="4176713" cy="1583617"/>
          </a:xfrm>
        </p:spPr>
        <p:txBody>
          <a:bodyPr rIns="216000"/>
          <a:lstStyle>
            <a:lvl1pPr>
              <a:defRPr sz="3000" spc="-50"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50" y="276226"/>
            <a:ext cx="4176713" cy="276999"/>
          </a:xfrm>
        </p:spPr>
        <p:txBody>
          <a:bodyPr lIns="111600" rIns="216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chapter tracker</a:t>
            </a:r>
          </a:p>
          <a:p>
            <a:pPr lvl="0"/>
            <a:endParaRPr lang="en-GB" noProof="0"/>
          </a:p>
        </p:txBody>
      </p:sp>
      <p:sp>
        <p:nvSpPr>
          <p:cNvPr id="12" name="Text">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323851" y="2103438"/>
            <a:ext cx="4176712" cy="2607170"/>
          </a:xfrm>
        </p:spPr>
        <p:txBody>
          <a:bodyPr rIns="216000"/>
          <a:lstStyle>
            <a:lvl1pPr>
              <a:defRPr sz="1400"/>
            </a:lvl1pPr>
            <a:lvl2pPr>
              <a:defRPr sz="1200"/>
            </a:lvl2pPr>
            <a:lvl3pPr>
              <a:defRPr sz="1200"/>
            </a:lvl3pPr>
            <a:lvl4pPr>
              <a:defRPr sz="1200"/>
            </a:lvl4pPr>
            <a:lvl5pPr>
              <a:defRPr sz="12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Date">
            <a:extLst>
              <a:ext uri="{FF2B5EF4-FFF2-40B4-BE49-F238E27FC236}">
                <a16:creationId xmlns:a16="http://schemas.microsoft.com/office/drawing/2014/main" id="{B7D04508-015B-A24C-A068-9517A03041E5}"/>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81E4D5A5-178E-45D2-A7F4-62A4145FAFC2}" type="datetime1">
              <a:rPr lang="sv-SE" noProof="0" smtClean="0"/>
              <a:t>2025-09-04</a:t>
            </a:fld>
            <a:endParaRPr lang="en-GB" noProof="0"/>
          </a:p>
        </p:txBody>
      </p:sp>
      <p:sp>
        <p:nvSpPr>
          <p:cNvPr id="39" name="Number">
            <a:extLst>
              <a:ext uri="{FF2B5EF4-FFF2-40B4-BE49-F238E27FC236}">
                <a16:creationId xmlns:a16="http://schemas.microsoft.com/office/drawing/2014/main" id="{24E3E452-24F0-1B44-9014-429AC576B5B6}"/>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0" name="Footer">
            <a:extLst>
              <a:ext uri="{FF2B5EF4-FFF2-40B4-BE49-F238E27FC236}">
                <a16:creationId xmlns:a16="http://schemas.microsoft.com/office/drawing/2014/main" id="{9F273896-B1DA-2A4A-9AEB-368D26B986DD}"/>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4285028239"/>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 Text and Small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831C907-1832-6462-0053-4E9B38292362}"/>
              </a:ext>
            </a:extLst>
          </p:cNvPr>
          <p:cNvSpPr/>
          <p:nvPr userDrawn="1"/>
        </p:nvSpPr>
        <p:spPr>
          <a:xfrm>
            <a:off x="5940425" y="158750"/>
            <a:ext cx="144462" cy="4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Image">
            <a:extLst>
              <a:ext uri="{FF2B5EF4-FFF2-40B4-BE49-F238E27FC236}">
                <a16:creationId xmlns:a16="http://schemas.microsoft.com/office/drawing/2014/main" id="{0C18E683-E62F-A04E-9D50-572DEA18E067}"/>
              </a:ext>
            </a:extLst>
          </p:cNvPr>
          <p:cNvSpPr>
            <a:spLocks noGrp="1"/>
          </p:cNvSpPr>
          <p:nvPr>
            <p:ph type="pic" sz="quarter" idx="15" hasCustomPrompt="1"/>
          </p:nvPr>
        </p:nvSpPr>
        <p:spPr>
          <a:xfrm>
            <a:off x="6084887" y="158750"/>
            <a:ext cx="2879725" cy="4681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a:p>
            <a:endParaRPr lang="en-GB" noProof="0"/>
          </a:p>
        </p:txBody>
      </p:sp>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323850" y="525600"/>
            <a:ext cx="5616576" cy="1498314"/>
          </a:xfrm>
        </p:spPr>
        <p:txBody>
          <a:bodyPr rIns="216000"/>
          <a:lstStyle>
            <a:lvl1pPr>
              <a:defRPr sz="3000" spc="-50"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50" y="276227"/>
            <a:ext cx="5616575" cy="249374"/>
          </a:xfrm>
        </p:spPr>
        <p:txBody>
          <a:bodyPr lIns="111600" rIns="216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chapter tracker</a:t>
            </a:r>
          </a:p>
        </p:txBody>
      </p:sp>
      <p:sp>
        <p:nvSpPr>
          <p:cNvPr id="12" name="Text 1">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323851" y="2103438"/>
            <a:ext cx="2735262" cy="2592387"/>
          </a:xfrm>
        </p:spPr>
        <p:txBody>
          <a:bodyPr rIns="216000"/>
          <a:lstStyle>
            <a:lvl1pPr>
              <a:defRPr sz="1400"/>
            </a:lvl1pPr>
            <a:lvl2pPr>
              <a:defRPr sz="1200"/>
            </a:lvl2pPr>
            <a:lvl3pPr>
              <a:defRPr sz="1200"/>
            </a:lvl3pPr>
            <a:lvl4pPr>
              <a:defRPr sz="1200"/>
            </a:lvl4pPr>
            <a:lvl5pPr>
              <a:defRPr sz="12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9" name="Text 2">
            <a:extLst>
              <a:ext uri="{FF2B5EF4-FFF2-40B4-BE49-F238E27FC236}">
                <a16:creationId xmlns:a16="http://schemas.microsoft.com/office/drawing/2014/main" id="{0FB76FD9-59CC-F342-90A0-4CBDA20D19ED}"/>
              </a:ext>
            </a:extLst>
          </p:cNvPr>
          <p:cNvSpPr>
            <a:spLocks noGrp="1"/>
          </p:cNvSpPr>
          <p:nvPr>
            <p:ph type="body" sz="quarter" idx="16" hasCustomPrompt="1"/>
          </p:nvPr>
        </p:nvSpPr>
        <p:spPr>
          <a:xfrm>
            <a:off x="3204369" y="2103438"/>
            <a:ext cx="2736056" cy="2592387"/>
          </a:xfrm>
        </p:spPr>
        <p:txBody>
          <a:bodyPr rIns="216000"/>
          <a:lstStyle>
            <a:lvl1pPr>
              <a:defRPr sz="1400"/>
            </a:lvl1pPr>
            <a:lvl2pPr>
              <a:defRPr sz="1200"/>
            </a:lvl2pPr>
            <a:lvl3pPr>
              <a:defRPr sz="1200"/>
            </a:lvl3pPr>
            <a:lvl4pPr>
              <a:defRPr sz="1200"/>
            </a:lvl4pPr>
            <a:lvl5pPr>
              <a:defRPr sz="12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5" name="Date">
            <a:extLst>
              <a:ext uri="{FF2B5EF4-FFF2-40B4-BE49-F238E27FC236}">
                <a16:creationId xmlns:a16="http://schemas.microsoft.com/office/drawing/2014/main" id="{EBF909F0-CE1B-3D46-83B7-E4DA279DC19B}"/>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2F0B311F-B75C-49EE-B51E-801C496876FE}" type="datetime1">
              <a:rPr lang="sv-SE" noProof="0" smtClean="0"/>
              <a:t>2025-09-04</a:t>
            </a:fld>
            <a:endParaRPr lang="en-GB" noProof="0"/>
          </a:p>
        </p:txBody>
      </p:sp>
      <p:sp>
        <p:nvSpPr>
          <p:cNvPr id="36" name="Number">
            <a:extLst>
              <a:ext uri="{FF2B5EF4-FFF2-40B4-BE49-F238E27FC236}">
                <a16:creationId xmlns:a16="http://schemas.microsoft.com/office/drawing/2014/main" id="{EB2FF840-5D29-6845-91DA-E82490F28637}"/>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1" name="Footer">
            <a:extLst>
              <a:ext uri="{FF2B5EF4-FFF2-40B4-BE49-F238E27FC236}">
                <a16:creationId xmlns:a16="http://schemas.microsoft.com/office/drawing/2014/main" id="{82519C75-0594-8F47-9542-99B135CAA319}"/>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1300928930"/>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5 Text on background image">
    <p:spTree>
      <p:nvGrpSpPr>
        <p:cNvPr id="1" name=""/>
        <p:cNvGrpSpPr/>
        <p:nvPr/>
      </p:nvGrpSpPr>
      <p:grpSpPr>
        <a:xfrm>
          <a:off x="0" y="0"/>
          <a:ext cx="0" cy="0"/>
          <a:chOff x="0" y="0"/>
          <a:chExt cx="0" cy="0"/>
        </a:xfrm>
      </p:grpSpPr>
      <p:sp>
        <p:nvSpPr>
          <p:cNvPr id="4" name="Background image">
            <a:extLst>
              <a:ext uri="{FF2B5EF4-FFF2-40B4-BE49-F238E27FC236}">
                <a16:creationId xmlns:a16="http://schemas.microsoft.com/office/drawing/2014/main" id="{0C18E683-E62F-A04E-9D50-572DEA18E067}"/>
              </a:ext>
            </a:extLst>
          </p:cNvPr>
          <p:cNvSpPr>
            <a:spLocks noGrp="1"/>
          </p:cNvSpPr>
          <p:nvPr>
            <p:ph type="pic" sz="quarter" idx="15" hasCustomPrompt="1"/>
          </p:nvPr>
        </p:nvSpPr>
        <p:spPr>
          <a:xfrm>
            <a:off x="179388" y="158750"/>
            <a:ext cx="8785225" cy="4681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323850" y="525600"/>
            <a:ext cx="4176713" cy="1498314"/>
          </a:xfrm>
        </p:spPr>
        <p:txBody>
          <a:bodyPr rIns="216000"/>
          <a:lstStyle>
            <a:lvl1pPr>
              <a:defRPr sz="3000" spc="-50" baseline="0">
                <a:solidFill>
                  <a:schemeClr val="bg1"/>
                </a:solidFill>
              </a:defRPr>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50" y="276226"/>
            <a:ext cx="4176713" cy="276999"/>
          </a:xfrm>
        </p:spPr>
        <p:txBody>
          <a:bodyPr lIns="111600" rIns="216000" anchor="t"/>
          <a:lstStyle>
            <a:lvl1pPr marL="3175" indent="-3175">
              <a:buNone/>
              <a:tabLst/>
              <a:defRPr sz="1200" b="1">
                <a:solidFill>
                  <a:schemeClr val="bg1"/>
                </a:solidFill>
              </a:defRPr>
            </a:lvl1pPr>
            <a:lvl2pPr>
              <a:buNone/>
              <a:defRPr/>
            </a:lvl2pPr>
            <a:lvl3pPr>
              <a:buNone/>
              <a:defRPr/>
            </a:lvl3pPr>
            <a:lvl4pPr>
              <a:buNone/>
              <a:defRPr/>
            </a:lvl4pPr>
            <a:lvl5pPr>
              <a:buNone/>
              <a:defRPr/>
            </a:lvl5pPr>
          </a:lstStyle>
          <a:p>
            <a:pPr lvl="0"/>
            <a:r>
              <a:rPr lang="en-GB" noProof="0"/>
              <a:t>Click to add navigation/chapter tracker</a:t>
            </a:r>
          </a:p>
        </p:txBody>
      </p:sp>
      <p:sp>
        <p:nvSpPr>
          <p:cNvPr id="12" name="Text">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323851" y="2103438"/>
            <a:ext cx="4176712" cy="2592387"/>
          </a:xfrm>
        </p:spPr>
        <p:txBody>
          <a:bodyPr rIns="216000"/>
          <a:lstStyle>
            <a:lvl1pPr>
              <a:defRPr sz="14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Date">
            <a:extLst>
              <a:ext uri="{FF2B5EF4-FFF2-40B4-BE49-F238E27FC236}">
                <a16:creationId xmlns:a16="http://schemas.microsoft.com/office/drawing/2014/main" id="{B7D04508-015B-A24C-A068-9517A03041E5}"/>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330A2BF9-86E3-4EB4-9597-EAA968C1BFBA}" type="datetime1">
              <a:rPr lang="sv-SE" noProof="0" smtClean="0"/>
              <a:t>2025-09-04</a:t>
            </a:fld>
            <a:endParaRPr lang="en-GB" noProof="0"/>
          </a:p>
        </p:txBody>
      </p:sp>
      <p:sp>
        <p:nvSpPr>
          <p:cNvPr id="39" name="Number">
            <a:extLst>
              <a:ext uri="{FF2B5EF4-FFF2-40B4-BE49-F238E27FC236}">
                <a16:creationId xmlns:a16="http://schemas.microsoft.com/office/drawing/2014/main" id="{24E3E452-24F0-1B44-9014-429AC576B5B6}"/>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0" name="Footer">
            <a:extLst>
              <a:ext uri="{FF2B5EF4-FFF2-40B4-BE49-F238E27FC236}">
                <a16:creationId xmlns:a16="http://schemas.microsoft.com/office/drawing/2014/main" id="{5CA8B606-3188-9643-98F0-31B8738AF063}"/>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3111785811"/>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 Large image small text">
    <p:bg>
      <p:bgPr>
        <a:solidFill>
          <a:srgbClr val="EBF2F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3BCD082-6D86-921B-1F86-51388796B050}"/>
              </a:ext>
            </a:extLst>
          </p:cNvPr>
          <p:cNvSpPr/>
          <p:nvPr userDrawn="1"/>
        </p:nvSpPr>
        <p:spPr>
          <a:xfrm>
            <a:off x="5940425" y="158750"/>
            <a:ext cx="144462" cy="4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Image">
            <a:extLst>
              <a:ext uri="{FF2B5EF4-FFF2-40B4-BE49-F238E27FC236}">
                <a16:creationId xmlns:a16="http://schemas.microsoft.com/office/drawing/2014/main" id="{25798999-2A1E-2547-A8D5-4373B7132ADB}"/>
              </a:ext>
            </a:extLst>
          </p:cNvPr>
          <p:cNvSpPr>
            <a:spLocks noGrp="1"/>
          </p:cNvSpPr>
          <p:nvPr>
            <p:ph type="pic" sz="quarter" idx="10" hasCustomPrompt="1"/>
          </p:nvPr>
        </p:nvSpPr>
        <p:spPr>
          <a:xfrm>
            <a:off x="179388" y="158750"/>
            <a:ext cx="5761037" cy="4681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11" name="Date">
            <a:extLst>
              <a:ext uri="{FF2B5EF4-FFF2-40B4-BE49-F238E27FC236}">
                <a16:creationId xmlns:a16="http://schemas.microsoft.com/office/drawing/2014/main" id="{38CA3AD7-12F8-9F43-820D-33071C26D41A}"/>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F5819939-AE06-4557-97E0-D31A65C9C7CB}" type="datetime1">
              <a:rPr lang="sv-SE" noProof="0" smtClean="0"/>
              <a:t>2025-09-04</a:t>
            </a:fld>
            <a:endParaRPr lang="en-GB" noProof="0"/>
          </a:p>
        </p:txBody>
      </p:sp>
      <p:sp>
        <p:nvSpPr>
          <p:cNvPr id="12" name="Number">
            <a:extLst>
              <a:ext uri="{FF2B5EF4-FFF2-40B4-BE49-F238E27FC236}">
                <a16:creationId xmlns:a16="http://schemas.microsoft.com/office/drawing/2014/main" id="{DFED6C3B-4A73-344C-A9A5-F8224178884F}"/>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4" name="Footer">
            <a:extLst>
              <a:ext uri="{FF2B5EF4-FFF2-40B4-BE49-F238E27FC236}">
                <a16:creationId xmlns:a16="http://schemas.microsoft.com/office/drawing/2014/main" id="{373FE5A1-132B-B247-9BF4-ED02DBE7E9C2}"/>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
        <p:nvSpPr>
          <p:cNvPr id="8" name="Title">
            <a:extLst>
              <a:ext uri="{FF2B5EF4-FFF2-40B4-BE49-F238E27FC236}">
                <a16:creationId xmlns:a16="http://schemas.microsoft.com/office/drawing/2014/main" id="{57BA0AC4-7B61-A491-A4CA-FDB8858B8831}"/>
              </a:ext>
            </a:extLst>
          </p:cNvPr>
          <p:cNvSpPr>
            <a:spLocks noGrp="1"/>
          </p:cNvSpPr>
          <p:nvPr>
            <p:ph type="title" hasCustomPrompt="1"/>
          </p:nvPr>
        </p:nvSpPr>
        <p:spPr>
          <a:xfrm>
            <a:off x="6084889" y="525599"/>
            <a:ext cx="2735262" cy="2872740"/>
          </a:xfrm>
        </p:spPr>
        <p:txBody>
          <a:bodyPr lIns="154800" rIns="144000"/>
          <a:lstStyle>
            <a:lvl1pPr>
              <a:defRPr sz="3000" spc="-50" baseline="0">
                <a:solidFill>
                  <a:schemeClr val="tx1"/>
                </a:solidFill>
              </a:defRPr>
            </a:lvl1pPr>
          </a:lstStyle>
          <a:p>
            <a:r>
              <a:rPr lang="en-GB" noProof="0"/>
              <a:t>Click to add a headline of one to six lines of text</a:t>
            </a:r>
          </a:p>
        </p:txBody>
      </p:sp>
      <p:sp>
        <p:nvSpPr>
          <p:cNvPr id="9" name="Navigation">
            <a:extLst>
              <a:ext uri="{FF2B5EF4-FFF2-40B4-BE49-F238E27FC236}">
                <a16:creationId xmlns:a16="http://schemas.microsoft.com/office/drawing/2014/main" id="{BFCEBC49-E251-C34D-23C9-35EC0903C583}"/>
              </a:ext>
            </a:extLst>
          </p:cNvPr>
          <p:cNvSpPr>
            <a:spLocks noGrp="1"/>
          </p:cNvSpPr>
          <p:nvPr>
            <p:ph type="body" sz="quarter" idx="14" hasCustomPrompt="1"/>
          </p:nvPr>
        </p:nvSpPr>
        <p:spPr>
          <a:xfrm>
            <a:off x="6084889" y="276226"/>
            <a:ext cx="2735262" cy="276999"/>
          </a:xfrm>
        </p:spPr>
        <p:txBody>
          <a:bodyPr lIns="154800" rIns="216000" anchor="t"/>
          <a:lstStyle>
            <a:lvl1pPr marL="3175" indent="-3175">
              <a:buNone/>
              <a:tabLst/>
              <a:defRPr sz="1200" b="1">
                <a:solidFill>
                  <a:schemeClr val="tx1"/>
                </a:solidFill>
              </a:defRPr>
            </a:lvl1pPr>
            <a:lvl2pPr>
              <a:buNone/>
              <a:defRPr/>
            </a:lvl2pPr>
            <a:lvl3pPr>
              <a:buNone/>
              <a:defRPr/>
            </a:lvl3pPr>
            <a:lvl4pPr>
              <a:buNone/>
              <a:defRPr/>
            </a:lvl4pPr>
            <a:lvl5pPr>
              <a:buNone/>
              <a:defRPr/>
            </a:lvl5pPr>
          </a:lstStyle>
          <a:p>
            <a:pPr lvl="0"/>
            <a:r>
              <a:rPr lang="en-GB" noProof="0"/>
              <a:t>Click to add short tracker</a:t>
            </a:r>
          </a:p>
        </p:txBody>
      </p:sp>
      <p:sp>
        <p:nvSpPr>
          <p:cNvPr id="10" name="Text">
            <a:extLst>
              <a:ext uri="{FF2B5EF4-FFF2-40B4-BE49-F238E27FC236}">
                <a16:creationId xmlns:a16="http://schemas.microsoft.com/office/drawing/2014/main" id="{FB92BDDD-CC14-2C4C-9D78-0BB5C9D6D22B}"/>
              </a:ext>
            </a:extLst>
          </p:cNvPr>
          <p:cNvSpPr>
            <a:spLocks noGrp="1"/>
          </p:cNvSpPr>
          <p:nvPr>
            <p:ph type="body" sz="quarter" idx="13" hasCustomPrompt="1"/>
          </p:nvPr>
        </p:nvSpPr>
        <p:spPr>
          <a:xfrm>
            <a:off x="6084889" y="3603811"/>
            <a:ext cx="2735261" cy="1092013"/>
          </a:xfrm>
        </p:spPr>
        <p:txBody>
          <a:bodyPr lIns="154800" rIns="216000"/>
          <a:lstStyle>
            <a:lvl1pPr marL="0" indent="0">
              <a:buNone/>
              <a:defRPr sz="14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GB" noProof="0"/>
              <a:t>Click to add a short description text in a few lines</a:t>
            </a:r>
          </a:p>
        </p:txBody>
      </p:sp>
    </p:spTree>
    <p:extLst>
      <p:ext uri="{BB962C8B-B14F-4D97-AF65-F5344CB8AC3E}">
        <p14:creationId xmlns:p14="http://schemas.microsoft.com/office/powerpoint/2010/main" val="3432433466"/>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5 Text only">
    <p:bg>
      <p:bgPr>
        <a:solidFill>
          <a:schemeClr val="bg2"/>
        </a:solidFill>
        <a:effectLst/>
      </p:bgPr>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323848" y="525600"/>
            <a:ext cx="7056440" cy="1498314"/>
          </a:xfrm>
        </p:spPr>
        <p:txBody>
          <a:bodyPr rIns="144000"/>
          <a:lstStyle>
            <a:lvl1pPr>
              <a:defRPr sz="3000" spc="-50"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50" y="276227"/>
            <a:ext cx="7056438" cy="249374"/>
          </a:xfrm>
        </p:spPr>
        <p:txBody>
          <a:bodyPr lIns="111600" rIns="144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chapter tracker</a:t>
            </a:r>
          </a:p>
        </p:txBody>
      </p:sp>
      <p:sp>
        <p:nvSpPr>
          <p:cNvPr id="12" name="Text 1">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323851" y="2103438"/>
            <a:ext cx="4176712" cy="2592387"/>
          </a:xfrm>
        </p:spPr>
        <p:txBody>
          <a:bodyPr rIns="180000"/>
          <a:lstStyle>
            <a:lvl1pPr>
              <a:defRPr sz="1400"/>
            </a:lvl1pPr>
            <a:lvl2pPr>
              <a:defRPr sz="1200"/>
            </a:lvl2pPr>
            <a:lvl3pPr>
              <a:defRPr sz="1200"/>
            </a:lvl3pPr>
            <a:lvl4pPr>
              <a:defRPr sz="1200"/>
            </a:lvl4pPr>
            <a:lvl5pPr>
              <a:defRPr sz="12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1" name="Text 2">
            <a:extLst>
              <a:ext uri="{FF2B5EF4-FFF2-40B4-BE49-F238E27FC236}">
                <a16:creationId xmlns:a16="http://schemas.microsoft.com/office/drawing/2014/main" id="{C849FC5B-B320-ED44-9AC1-132066E1AA48}"/>
              </a:ext>
            </a:extLst>
          </p:cNvPr>
          <p:cNvSpPr>
            <a:spLocks noGrp="1"/>
          </p:cNvSpPr>
          <p:nvPr>
            <p:ph type="body" sz="quarter" idx="15" hasCustomPrompt="1"/>
          </p:nvPr>
        </p:nvSpPr>
        <p:spPr>
          <a:xfrm>
            <a:off x="4643438" y="2103438"/>
            <a:ext cx="4176712" cy="2592387"/>
          </a:xfrm>
        </p:spPr>
        <p:txBody>
          <a:bodyPr rIns="180000"/>
          <a:lstStyle>
            <a:lvl1pPr>
              <a:defRPr sz="1400"/>
            </a:lvl1pPr>
            <a:lvl2pPr>
              <a:defRPr sz="1200"/>
            </a:lvl2pPr>
            <a:lvl3pPr>
              <a:defRPr sz="1200"/>
            </a:lvl3pPr>
            <a:lvl4pPr>
              <a:defRPr sz="1200"/>
            </a:lvl4pPr>
            <a:lvl5pPr>
              <a:defRPr sz="12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5" name="Date">
            <a:extLst>
              <a:ext uri="{FF2B5EF4-FFF2-40B4-BE49-F238E27FC236}">
                <a16:creationId xmlns:a16="http://schemas.microsoft.com/office/drawing/2014/main" id="{EBF909F0-CE1B-3D46-83B7-E4DA279DC19B}"/>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8346EA9E-E7A1-43A6-9131-E3C51EEFF172}" type="datetime1">
              <a:rPr lang="sv-SE" noProof="0" smtClean="0"/>
              <a:t>2025-09-04</a:t>
            </a:fld>
            <a:endParaRPr lang="en-GB" noProof="0"/>
          </a:p>
        </p:txBody>
      </p:sp>
      <p:sp>
        <p:nvSpPr>
          <p:cNvPr id="36" name="Number">
            <a:extLst>
              <a:ext uri="{FF2B5EF4-FFF2-40B4-BE49-F238E27FC236}">
                <a16:creationId xmlns:a16="http://schemas.microsoft.com/office/drawing/2014/main" id="{EB2FF840-5D29-6845-91DA-E82490F28637}"/>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0" name="Footer">
            <a:extLst>
              <a:ext uri="{FF2B5EF4-FFF2-40B4-BE49-F238E27FC236}">
                <a16:creationId xmlns:a16="http://schemas.microsoft.com/office/drawing/2014/main" id="{9081F78F-04AB-B54E-AA0D-682C305BD0C3}"/>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2485460498"/>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5 Three Bullets">
    <p:bg>
      <p:bgPr>
        <a:solidFill>
          <a:schemeClr val="bg2"/>
        </a:solidFill>
        <a:effectLst/>
      </p:bgPr>
    </p:bg>
    <p:spTree>
      <p:nvGrpSpPr>
        <p:cNvPr id="1" name=""/>
        <p:cNvGrpSpPr/>
        <p:nvPr/>
      </p:nvGrpSpPr>
      <p:grpSpPr>
        <a:xfrm>
          <a:off x="0" y="0"/>
          <a:ext cx="0" cy="0"/>
          <a:chOff x="0" y="0"/>
          <a:chExt cx="0" cy="0"/>
        </a:xfrm>
      </p:grpSpPr>
      <p:sp>
        <p:nvSpPr>
          <p:cNvPr id="10" name="Title">
            <a:extLst>
              <a:ext uri="{FF2B5EF4-FFF2-40B4-BE49-F238E27FC236}">
                <a16:creationId xmlns:a16="http://schemas.microsoft.com/office/drawing/2014/main" id="{53087196-C9C5-BE48-9D76-3372ECAC159C}"/>
              </a:ext>
            </a:extLst>
          </p:cNvPr>
          <p:cNvSpPr>
            <a:spLocks noGrp="1"/>
          </p:cNvSpPr>
          <p:nvPr>
            <p:ph type="title" hasCustomPrompt="1"/>
          </p:nvPr>
        </p:nvSpPr>
        <p:spPr>
          <a:xfrm>
            <a:off x="323848" y="525600"/>
            <a:ext cx="7056440" cy="630236"/>
          </a:xfrm>
        </p:spPr>
        <p:txBody>
          <a:bodyPr rIns="216000"/>
          <a:lstStyle>
            <a:lvl1pPr>
              <a:defRPr sz="3000" spc="-50" baseline="0"/>
            </a:lvl1pPr>
          </a:lstStyle>
          <a:p>
            <a:r>
              <a:rPr lang="en-GB" noProof="0"/>
              <a:t>Click to add short headline or delete</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50" y="276226"/>
            <a:ext cx="4176713" cy="276999"/>
          </a:xfrm>
        </p:spPr>
        <p:txBody>
          <a:bodyPr lIns="111600" rIns="216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chapter tracker</a:t>
            </a:r>
          </a:p>
        </p:txBody>
      </p:sp>
      <p:sp>
        <p:nvSpPr>
          <p:cNvPr id="3" name="Text 1">
            <a:extLst>
              <a:ext uri="{FF2B5EF4-FFF2-40B4-BE49-F238E27FC236}">
                <a16:creationId xmlns:a16="http://schemas.microsoft.com/office/drawing/2014/main" id="{3BF31E87-F6F5-0C4F-B6DB-72F0D53D636B}"/>
              </a:ext>
            </a:extLst>
          </p:cNvPr>
          <p:cNvSpPr>
            <a:spLocks noGrp="1" noChangeAspect="1"/>
          </p:cNvSpPr>
          <p:nvPr>
            <p:ph type="body" sz="quarter" idx="17" hasCustomPrompt="1"/>
          </p:nvPr>
        </p:nvSpPr>
        <p:spPr>
          <a:xfrm>
            <a:off x="669509" y="1473519"/>
            <a:ext cx="2052000" cy="2052000"/>
          </a:xfrm>
          <a:prstGeom prst="ellipse">
            <a:avLst/>
          </a:prstGeom>
          <a:solidFill>
            <a:schemeClr val="accent5"/>
          </a:solidFill>
        </p:spPr>
        <p:txBody>
          <a:bodyPr lIns="0" tIns="36000" rIns="0" bIns="36000" anchor="ctr"/>
          <a:lstStyle>
            <a:lvl1pPr marL="0" indent="-17463" algn="ctr">
              <a:lnSpc>
                <a:spcPct val="95000"/>
              </a:lnSpc>
              <a:spcBef>
                <a:spcPts val="0"/>
              </a:spcBef>
              <a:buNone/>
              <a:tabLst/>
              <a:defRPr sz="1400" b="1">
                <a:solidFill>
                  <a:schemeClr val="tx1"/>
                </a:solidFill>
              </a:defRPr>
            </a:lvl1pPr>
          </a:lstStyle>
          <a:p>
            <a:pPr lvl="0"/>
            <a:r>
              <a:rPr lang="en-GB" noProof="0"/>
              <a:t>Click to add text in a maximum of four lines</a:t>
            </a:r>
          </a:p>
        </p:txBody>
      </p:sp>
      <p:sp>
        <p:nvSpPr>
          <p:cNvPr id="18" name="Text 2">
            <a:extLst>
              <a:ext uri="{FF2B5EF4-FFF2-40B4-BE49-F238E27FC236}">
                <a16:creationId xmlns:a16="http://schemas.microsoft.com/office/drawing/2014/main" id="{8782FCDA-CE43-ED4B-B564-F2CC331FC617}"/>
              </a:ext>
            </a:extLst>
          </p:cNvPr>
          <p:cNvSpPr>
            <a:spLocks noGrp="1" noChangeAspect="1"/>
          </p:cNvSpPr>
          <p:nvPr>
            <p:ph type="body" sz="quarter" idx="18" hasCustomPrompt="1"/>
          </p:nvPr>
        </p:nvSpPr>
        <p:spPr>
          <a:xfrm>
            <a:off x="3546000" y="1473519"/>
            <a:ext cx="2052000" cy="2052000"/>
          </a:xfrm>
          <a:prstGeom prst="ellipse">
            <a:avLst/>
          </a:prstGeom>
          <a:solidFill>
            <a:schemeClr val="accent5"/>
          </a:solidFill>
        </p:spPr>
        <p:txBody>
          <a:bodyPr lIns="0" tIns="36000" rIns="0" bIns="36000" anchor="ctr"/>
          <a:lstStyle>
            <a:lvl1pPr marL="0" indent="-17463" algn="ctr">
              <a:lnSpc>
                <a:spcPct val="95000"/>
              </a:lnSpc>
              <a:spcBef>
                <a:spcPts val="0"/>
              </a:spcBef>
              <a:buNone/>
              <a:tabLst/>
              <a:defRPr sz="1400" b="1">
                <a:solidFill>
                  <a:schemeClr val="tx1"/>
                </a:solidFill>
              </a:defRPr>
            </a:lvl1pPr>
          </a:lstStyle>
          <a:p>
            <a:pPr lvl="0"/>
            <a:r>
              <a:rPr lang="en-GB" noProof="0"/>
              <a:t>Click to add text in a maximum of four lines</a:t>
            </a:r>
          </a:p>
        </p:txBody>
      </p:sp>
      <p:sp>
        <p:nvSpPr>
          <p:cNvPr id="19" name="Text 3">
            <a:extLst>
              <a:ext uri="{FF2B5EF4-FFF2-40B4-BE49-F238E27FC236}">
                <a16:creationId xmlns:a16="http://schemas.microsoft.com/office/drawing/2014/main" id="{86327479-9D75-FF49-A369-D1A00CC1DA81}"/>
              </a:ext>
            </a:extLst>
          </p:cNvPr>
          <p:cNvSpPr>
            <a:spLocks noGrp="1" noChangeAspect="1"/>
          </p:cNvSpPr>
          <p:nvPr>
            <p:ph type="body" sz="quarter" idx="19" hasCustomPrompt="1"/>
          </p:nvPr>
        </p:nvSpPr>
        <p:spPr>
          <a:xfrm>
            <a:off x="6432099" y="1473519"/>
            <a:ext cx="2052000" cy="2052000"/>
          </a:xfrm>
          <a:prstGeom prst="ellipse">
            <a:avLst/>
          </a:prstGeom>
          <a:solidFill>
            <a:schemeClr val="accent5"/>
          </a:solidFill>
        </p:spPr>
        <p:txBody>
          <a:bodyPr lIns="0" tIns="36000" rIns="0" bIns="36000" anchor="ctr"/>
          <a:lstStyle>
            <a:lvl1pPr marL="0" indent="-17463" algn="ctr">
              <a:lnSpc>
                <a:spcPct val="95000"/>
              </a:lnSpc>
              <a:spcBef>
                <a:spcPts val="0"/>
              </a:spcBef>
              <a:buNone/>
              <a:tabLst/>
              <a:defRPr sz="1400" b="1">
                <a:solidFill>
                  <a:schemeClr val="tx1"/>
                </a:solidFill>
              </a:defRPr>
            </a:lvl1pPr>
          </a:lstStyle>
          <a:p>
            <a:pPr lvl="0"/>
            <a:r>
              <a:rPr lang="en-GB" noProof="0"/>
              <a:t>Click to add text in a maximum of four lines</a:t>
            </a:r>
          </a:p>
        </p:txBody>
      </p:sp>
      <p:sp>
        <p:nvSpPr>
          <p:cNvPr id="35" name="Date">
            <a:extLst>
              <a:ext uri="{FF2B5EF4-FFF2-40B4-BE49-F238E27FC236}">
                <a16:creationId xmlns:a16="http://schemas.microsoft.com/office/drawing/2014/main" id="{EBF909F0-CE1B-3D46-83B7-E4DA279DC19B}"/>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63A70B8F-DBB9-499C-8430-817091E306F3}" type="datetime1">
              <a:rPr lang="sv-SE" noProof="0" smtClean="0"/>
              <a:t>2025-09-04</a:t>
            </a:fld>
            <a:endParaRPr lang="en-GB" noProof="0"/>
          </a:p>
        </p:txBody>
      </p:sp>
      <p:sp>
        <p:nvSpPr>
          <p:cNvPr id="36" name="Number">
            <a:extLst>
              <a:ext uri="{FF2B5EF4-FFF2-40B4-BE49-F238E27FC236}">
                <a16:creationId xmlns:a16="http://schemas.microsoft.com/office/drawing/2014/main" id="{EB2FF840-5D29-6845-91DA-E82490F28637}"/>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3" name="Footer">
            <a:extLst>
              <a:ext uri="{FF2B5EF4-FFF2-40B4-BE49-F238E27FC236}">
                <a16:creationId xmlns:a16="http://schemas.microsoft.com/office/drawing/2014/main" id="{8DF4D24D-538B-A54E-BE5A-7EAB96CDD093}"/>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2763635231"/>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5 Three Bullets and Image">
    <p:spTree>
      <p:nvGrpSpPr>
        <p:cNvPr id="1" name=""/>
        <p:cNvGrpSpPr/>
        <p:nvPr/>
      </p:nvGrpSpPr>
      <p:grpSpPr>
        <a:xfrm>
          <a:off x="0" y="0"/>
          <a:ext cx="0" cy="0"/>
          <a:chOff x="0" y="0"/>
          <a:chExt cx="0" cy="0"/>
        </a:xfrm>
      </p:grpSpPr>
      <p:sp>
        <p:nvSpPr>
          <p:cNvPr id="19" name="Background image">
            <a:extLst>
              <a:ext uri="{FF2B5EF4-FFF2-40B4-BE49-F238E27FC236}">
                <a16:creationId xmlns:a16="http://schemas.microsoft.com/office/drawing/2014/main" id="{1C249437-ECE8-8C43-BEB1-A558F34C86D4}"/>
              </a:ext>
            </a:extLst>
          </p:cNvPr>
          <p:cNvSpPr>
            <a:spLocks noGrp="1"/>
          </p:cNvSpPr>
          <p:nvPr>
            <p:ph type="pic" sz="quarter" idx="10" hasCustomPrompt="1"/>
          </p:nvPr>
        </p:nvSpPr>
        <p:spPr>
          <a:xfrm>
            <a:off x="179388" y="158750"/>
            <a:ext cx="8785322" cy="4681538"/>
          </a:xfrm>
          <a:blipFill>
            <a:blip r:embed="rId2"/>
            <a:tile tx="0" ty="0" sx="100000" sy="100000" flip="none" algn="tl"/>
          </a:blipFill>
        </p:spPr>
        <p:txBody>
          <a:bodyPr/>
          <a:lstStyle>
            <a:lvl1pPr algn="r">
              <a:buNone/>
              <a:defRPr sz="800">
                <a:solidFill>
                  <a:schemeClr val="bg1">
                    <a:lumMod val="75000"/>
                  </a:schemeClr>
                </a:solidFill>
              </a:defRPr>
            </a:lvl1pPr>
          </a:lstStyle>
          <a:p>
            <a:r>
              <a:rPr lang="en-GB" noProof="0"/>
              <a:t>Select placeholder and select Insert &gt; Pictures</a:t>
            </a:r>
          </a:p>
        </p:txBody>
      </p:sp>
      <p:sp>
        <p:nvSpPr>
          <p:cNvPr id="13" name="Title">
            <a:extLst>
              <a:ext uri="{FF2B5EF4-FFF2-40B4-BE49-F238E27FC236}">
                <a16:creationId xmlns:a16="http://schemas.microsoft.com/office/drawing/2014/main" id="{E49F3BE6-D2B1-164B-B9F4-18257A7F1BEE}"/>
              </a:ext>
            </a:extLst>
          </p:cNvPr>
          <p:cNvSpPr>
            <a:spLocks noGrp="1"/>
          </p:cNvSpPr>
          <p:nvPr>
            <p:ph type="title" hasCustomPrompt="1"/>
          </p:nvPr>
        </p:nvSpPr>
        <p:spPr>
          <a:xfrm>
            <a:off x="323848" y="525600"/>
            <a:ext cx="7056440" cy="630236"/>
          </a:xfrm>
        </p:spPr>
        <p:txBody>
          <a:bodyPr rIns="216000"/>
          <a:lstStyle>
            <a:lvl1pPr>
              <a:defRPr sz="3000" spc="-50" baseline="0">
                <a:solidFill>
                  <a:schemeClr val="bg1"/>
                </a:solidFill>
              </a:defRPr>
            </a:lvl1pPr>
          </a:lstStyle>
          <a:p>
            <a:r>
              <a:rPr lang="en-GB" noProof="0"/>
              <a:t>Click to add short headline or delete</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50" y="276226"/>
            <a:ext cx="4176713" cy="276999"/>
          </a:xfrm>
        </p:spPr>
        <p:txBody>
          <a:bodyPr lIns="111600" rIns="216000" anchor="t"/>
          <a:lstStyle>
            <a:lvl1pPr marL="3175" indent="-3175">
              <a:buNone/>
              <a:tabLst/>
              <a:defRPr sz="1200" b="1">
                <a:solidFill>
                  <a:schemeClr val="bg1"/>
                </a:solidFill>
              </a:defRPr>
            </a:lvl1pPr>
            <a:lvl2pPr>
              <a:buNone/>
              <a:defRPr/>
            </a:lvl2pPr>
            <a:lvl3pPr>
              <a:buNone/>
              <a:defRPr/>
            </a:lvl3pPr>
            <a:lvl4pPr>
              <a:buNone/>
              <a:defRPr/>
            </a:lvl4pPr>
            <a:lvl5pPr>
              <a:buNone/>
              <a:defRPr/>
            </a:lvl5pPr>
          </a:lstStyle>
          <a:p>
            <a:pPr lvl="0"/>
            <a:r>
              <a:rPr lang="en-GB" noProof="0"/>
              <a:t>Click to add navigation/chapter tracker</a:t>
            </a:r>
          </a:p>
        </p:txBody>
      </p:sp>
      <p:sp>
        <p:nvSpPr>
          <p:cNvPr id="10" name="Text 1">
            <a:extLst>
              <a:ext uri="{FF2B5EF4-FFF2-40B4-BE49-F238E27FC236}">
                <a16:creationId xmlns:a16="http://schemas.microsoft.com/office/drawing/2014/main" id="{A0D0A950-AAC5-7A4C-BBFF-C2F1D36A2CFF}"/>
              </a:ext>
            </a:extLst>
          </p:cNvPr>
          <p:cNvSpPr>
            <a:spLocks noGrp="1" noChangeAspect="1"/>
          </p:cNvSpPr>
          <p:nvPr>
            <p:ph type="body" sz="quarter" idx="17" hasCustomPrompt="1"/>
          </p:nvPr>
        </p:nvSpPr>
        <p:spPr>
          <a:xfrm>
            <a:off x="669509" y="1473519"/>
            <a:ext cx="2052000" cy="2052000"/>
          </a:xfrm>
          <a:prstGeom prst="ellipse">
            <a:avLst/>
          </a:prstGeom>
          <a:solidFill>
            <a:srgbClr val="EDF9F3"/>
          </a:solidFill>
        </p:spPr>
        <p:txBody>
          <a:bodyPr lIns="0" tIns="36000" rIns="0" bIns="36000" anchor="ctr"/>
          <a:lstStyle>
            <a:lvl1pPr marL="0" indent="-17463" algn="ctr">
              <a:lnSpc>
                <a:spcPct val="95000"/>
              </a:lnSpc>
              <a:spcBef>
                <a:spcPts val="0"/>
              </a:spcBef>
              <a:buNone/>
              <a:tabLst/>
              <a:defRPr sz="1400" b="1">
                <a:solidFill>
                  <a:schemeClr val="tx1"/>
                </a:solidFill>
              </a:defRPr>
            </a:lvl1pPr>
          </a:lstStyle>
          <a:p>
            <a:pPr lvl="0"/>
            <a:r>
              <a:rPr lang="en-GB" noProof="0"/>
              <a:t>Click to add text in a maximum of four lines</a:t>
            </a:r>
          </a:p>
        </p:txBody>
      </p:sp>
      <p:sp>
        <p:nvSpPr>
          <p:cNvPr id="11" name="Text 2">
            <a:extLst>
              <a:ext uri="{FF2B5EF4-FFF2-40B4-BE49-F238E27FC236}">
                <a16:creationId xmlns:a16="http://schemas.microsoft.com/office/drawing/2014/main" id="{E23DDBC6-EA11-0449-AB3C-6281C5EDAC05}"/>
              </a:ext>
            </a:extLst>
          </p:cNvPr>
          <p:cNvSpPr>
            <a:spLocks noGrp="1" noChangeAspect="1"/>
          </p:cNvSpPr>
          <p:nvPr>
            <p:ph type="body" sz="quarter" idx="18" hasCustomPrompt="1"/>
          </p:nvPr>
        </p:nvSpPr>
        <p:spPr>
          <a:xfrm>
            <a:off x="3546000" y="1473519"/>
            <a:ext cx="2052000" cy="2052000"/>
          </a:xfrm>
          <a:prstGeom prst="ellipse">
            <a:avLst/>
          </a:prstGeom>
          <a:solidFill>
            <a:srgbClr val="EDF9F3"/>
          </a:solidFill>
        </p:spPr>
        <p:txBody>
          <a:bodyPr lIns="0" tIns="36000" rIns="0" bIns="36000" anchor="ctr"/>
          <a:lstStyle>
            <a:lvl1pPr marL="0" indent="-17463" algn="ctr">
              <a:lnSpc>
                <a:spcPct val="95000"/>
              </a:lnSpc>
              <a:spcBef>
                <a:spcPts val="0"/>
              </a:spcBef>
              <a:buNone/>
              <a:tabLst/>
              <a:defRPr sz="1400" b="1">
                <a:solidFill>
                  <a:schemeClr val="tx1"/>
                </a:solidFill>
              </a:defRPr>
            </a:lvl1pPr>
          </a:lstStyle>
          <a:p>
            <a:pPr lvl="0"/>
            <a:r>
              <a:rPr lang="en-GB" noProof="0"/>
              <a:t>Click to add text in a maximum of four lines</a:t>
            </a:r>
          </a:p>
        </p:txBody>
      </p:sp>
      <p:sp>
        <p:nvSpPr>
          <p:cNvPr id="12" name="Text 3">
            <a:extLst>
              <a:ext uri="{FF2B5EF4-FFF2-40B4-BE49-F238E27FC236}">
                <a16:creationId xmlns:a16="http://schemas.microsoft.com/office/drawing/2014/main" id="{4BE092D2-014A-3A42-9A92-2EBCB0703736}"/>
              </a:ext>
            </a:extLst>
          </p:cNvPr>
          <p:cNvSpPr>
            <a:spLocks noGrp="1" noChangeAspect="1"/>
          </p:cNvSpPr>
          <p:nvPr>
            <p:ph type="body" sz="quarter" idx="19" hasCustomPrompt="1"/>
          </p:nvPr>
        </p:nvSpPr>
        <p:spPr>
          <a:xfrm>
            <a:off x="6432099" y="1473519"/>
            <a:ext cx="2052000" cy="2052000"/>
          </a:xfrm>
          <a:prstGeom prst="ellipse">
            <a:avLst/>
          </a:prstGeom>
          <a:solidFill>
            <a:srgbClr val="EDF9F3"/>
          </a:solidFill>
        </p:spPr>
        <p:txBody>
          <a:bodyPr lIns="0" tIns="36000" rIns="0" bIns="36000" anchor="ctr"/>
          <a:lstStyle>
            <a:lvl1pPr marL="0" indent="-17463" algn="ctr">
              <a:lnSpc>
                <a:spcPct val="95000"/>
              </a:lnSpc>
              <a:spcBef>
                <a:spcPts val="0"/>
              </a:spcBef>
              <a:buNone/>
              <a:tabLst/>
              <a:defRPr sz="1400" b="1">
                <a:solidFill>
                  <a:schemeClr val="tx1"/>
                </a:solidFill>
              </a:defRPr>
            </a:lvl1pPr>
          </a:lstStyle>
          <a:p>
            <a:pPr lvl="0"/>
            <a:r>
              <a:rPr lang="en-GB" noProof="0"/>
              <a:t>Click to add text in a maximum of four lines</a:t>
            </a:r>
          </a:p>
        </p:txBody>
      </p:sp>
      <p:sp>
        <p:nvSpPr>
          <p:cNvPr id="35" name="Date">
            <a:extLst>
              <a:ext uri="{FF2B5EF4-FFF2-40B4-BE49-F238E27FC236}">
                <a16:creationId xmlns:a16="http://schemas.microsoft.com/office/drawing/2014/main" id="{EBF909F0-CE1B-3D46-83B7-E4DA279DC19B}"/>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B8F0FD9A-4B4B-4799-9212-415D986668C6}" type="datetime1">
              <a:rPr lang="sv-SE" noProof="0" smtClean="0"/>
              <a:t>2025-09-04</a:t>
            </a:fld>
            <a:endParaRPr lang="en-GB" noProof="0"/>
          </a:p>
        </p:txBody>
      </p:sp>
      <p:sp>
        <p:nvSpPr>
          <p:cNvPr id="36" name="Number">
            <a:extLst>
              <a:ext uri="{FF2B5EF4-FFF2-40B4-BE49-F238E27FC236}">
                <a16:creationId xmlns:a16="http://schemas.microsoft.com/office/drawing/2014/main" id="{EB2FF840-5D29-6845-91DA-E82490F28637}"/>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5" name="Footer">
            <a:extLst>
              <a:ext uri="{FF2B5EF4-FFF2-40B4-BE49-F238E27FC236}">
                <a16:creationId xmlns:a16="http://schemas.microsoft.com/office/drawing/2014/main" id="{4C90DA47-3EEB-B445-BFD0-FB49D53363F6}"/>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err="1"/>
          </a:p>
        </p:txBody>
      </p:sp>
    </p:spTree>
    <p:extLst>
      <p:ext uri="{BB962C8B-B14F-4D97-AF65-F5344CB8AC3E}">
        <p14:creationId xmlns:p14="http://schemas.microsoft.com/office/powerpoint/2010/main" val="4013239926"/>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5 Three Icons">
    <p:bg>
      <p:bgPr>
        <a:solidFill>
          <a:schemeClr val="bg2"/>
        </a:solidFill>
        <a:effectLst/>
      </p:bgPr>
    </p:bg>
    <p:spTree>
      <p:nvGrpSpPr>
        <p:cNvPr id="1" name=""/>
        <p:cNvGrpSpPr/>
        <p:nvPr/>
      </p:nvGrpSpPr>
      <p:grpSpPr>
        <a:xfrm>
          <a:off x="0" y="0"/>
          <a:ext cx="0" cy="0"/>
          <a:chOff x="0" y="0"/>
          <a:chExt cx="0" cy="0"/>
        </a:xfrm>
      </p:grpSpPr>
      <p:sp>
        <p:nvSpPr>
          <p:cNvPr id="42" name="Title">
            <a:extLst>
              <a:ext uri="{FF2B5EF4-FFF2-40B4-BE49-F238E27FC236}">
                <a16:creationId xmlns:a16="http://schemas.microsoft.com/office/drawing/2014/main" id="{4EE3E706-517C-DA49-BD6A-D25F70D7C32F}"/>
              </a:ext>
            </a:extLst>
          </p:cNvPr>
          <p:cNvSpPr>
            <a:spLocks noGrp="1"/>
          </p:cNvSpPr>
          <p:nvPr>
            <p:ph type="title" hasCustomPrompt="1"/>
          </p:nvPr>
        </p:nvSpPr>
        <p:spPr>
          <a:xfrm>
            <a:off x="323850" y="525600"/>
            <a:ext cx="7056438" cy="619845"/>
          </a:xfrm>
        </p:spPr>
        <p:txBody>
          <a:bodyPr rIns="144000"/>
          <a:lstStyle>
            <a:lvl1pPr>
              <a:defRPr sz="3000" spc="-50" baseline="0"/>
            </a:lvl1pPr>
          </a:lstStyle>
          <a:p>
            <a:r>
              <a:rPr lang="en-GB" noProof="0"/>
              <a:t>Click to add short headline or delete</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50" y="276226"/>
            <a:ext cx="4176713" cy="276999"/>
          </a:xfrm>
        </p:spPr>
        <p:txBody>
          <a:bodyPr lIns="111600" rIns="144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chapter tracker</a:t>
            </a:r>
          </a:p>
        </p:txBody>
      </p:sp>
      <p:sp>
        <p:nvSpPr>
          <p:cNvPr id="3" name="Icon 1">
            <a:extLst>
              <a:ext uri="{FF2B5EF4-FFF2-40B4-BE49-F238E27FC236}">
                <a16:creationId xmlns:a16="http://schemas.microsoft.com/office/drawing/2014/main" id="{BF6831D5-0949-4149-AC62-D7EE74E03FA0}"/>
              </a:ext>
            </a:extLst>
          </p:cNvPr>
          <p:cNvSpPr>
            <a:spLocks noGrp="1"/>
          </p:cNvSpPr>
          <p:nvPr>
            <p:ph type="pic" sz="quarter" idx="22" hasCustomPrompt="1"/>
          </p:nvPr>
        </p:nvSpPr>
        <p:spPr>
          <a:xfrm>
            <a:off x="1199520" y="2003401"/>
            <a:ext cx="992237" cy="992237"/>
          </a:xfrm>
        </p:spPr>
        <p:txBody>
          <a:bodyPr/>
          <a:lstStyle>
            <a:lvl1pPr algn="ctr">
              <a:buNone/>
              <a:defRPr sz="800"/>
            </a:lvl1pPr>
          </a:lstStyle>
          <a:p>
            <a:r>
              <a:rPr lang="en-GB" sz="800" noProof="0"/>
              <a:t>Click to add icon</a:t>
            </a:r>
            <a:endParaRPr lang="en-GB" noProof="0"/>
          </a:p>
        </p:txBody>
      </p:sp>
      <p:sp>
        <p:nvSpPr>
          <p:cNvPr id="27" name="Subtitle 1">
            <a:extLst>
              <a:ext uri="{FF2B5EF4-FFF2-40B4-BE49-F238E27FC236}">
                <a16:creationId xmlns:a16="http://schemas.microsoft.com/office/drawing/2014/main" id="{66FB5539-4991-4D46-884F-A63F571088C6}"/>
              </a:ext>
            </a:extLst>
          </p:cNvPr>
          <p:cNvSpPr>
            <a:spLocks noGrp="1"/>
          </p:cNvSpPr>
          <p:nvPr>
            <p:ph type="body" sz="quarter" idx="16" hasCustomPrompt="1"/>
          </p:nvPr>
        </p:nvSpPr>
        <p:spPr>
          <a:xfrm>
            <a:off x="323850" y="3390838"/>
            <a:ext cx="2735263" cy="355993"/>
          </a:xfrm>
        </p:spPr>
        <p:txBody>
          <a:bodyPr lIns="144000" rIns="144000" anchor="b"/>
          <a:lstStyle>
            <a:lvl1pPr marL="0" indent="0" algn="ctr">
              <a:lnSpc>
                <a:spcPct val="95000"/>
              </a:lnSpc>
              <a:spcBef>
                <a:spcPts val="0"/>
              </a:spcBef>
              <a:buNone/>
              <a:tabLst/>
              <a:defRPr sz="1800" b="1"/>
            </a:lvl1pPr>
            <a:lvl2pPr marL="0" indent="0">
              <a:buNone/>
              <a:tabLst/>
              <a:defRPr sz="1200"/>
            </a:lvl2pPr>
            <a:lvl3pPr marL="0" indent="0">
              <a:buNone/>
              <a:tabLst/>
              <a:defRPr sz="1200"/>
            </a:lvl3pPr>
            <a:lvl4pPr marL="0" indent="0">
              <a:buNone/>
              <a:tabLst/>
              <a:defRPr sz="1200"/>
            </a:lvl4pPr>
            <a:lvl5pPr marL="0" indent="0">
              <a:buNone/>
              <a:tabLst/>
              <a:defRPr sz="1200"/>
            </a:lvl5pPr>
          </a:lstStyle>
          <a:p>
            <a:pPr lvl="0"/>
            <a:r>
              <a:rPr lang="en-GB" noProof="0"/>
              <a:t>Click to add headline</a:t>
            </a:r>
          </a:p>
        </p:txBody>
      </p:sp>
      <p:sp>
        <p:nvSpPr>
          <p:cNvPr id="28" name="Text 1">
            <a:extLst>
              <a:ext uri="{FF2B5EF4-FFF2-40B4-BE49-F238E27FC236}">
                <a16:creationId xmlns:a16="http://schemas.microsoft.com/office/drawing/2014/main" id="{0BDC7661-3072-564C-891C-82718D2BF14C}"/>
              </a:ext>
            </a:extLst>
          </p:cNvPr>
          <p:cNvSpPr>
            <a:spLocks noGrp="1"/>
          </p:cNvSpPr>
          <p:nvPr>
            <p:ph type="body" sz="quarter" idx="17" hasCustomPrompt="1"/>
          </p:nvPr>
        </p:nvSpPr>
        <p:spPr>
          <a:xfrm>
            <a:off x="323850" y="3777335"/>
            <a:ext cx="2736000" cy="918490"/>
          </a:xfrm>
        </p:spPr>
        <p:txBody>
          <a:bodyPr lIns="180000" rIns="180000"/>
          <a:lstStyle>
            <a:lvl1pPr marL="15875" indent="-15875" algn="ctr">
              <a:buNone/>
              <a:tabLst/>
              <a:defRPr sz="1400"/>
            </a:lvl1pPr>
            <a:lvl2pPr marL="15875" indent="-15875" algn="ctr">
              <a:buNone/>
              <a:tabLst/>
              <a:defRPr sz="1200"/>
            </a:lvl2pPr>
            <a:lvl3pPr marL="15875" indent="-15875" algn="ctr">
              <a:buNone/>
              <a:tabLst/>
              <a:defRPr sz="1200"/>
            </a:lvl3pPr>
            <a:lvl4pPr marL="15875" indent="-15875" algn="ctr">
              <a:buNone/>
              <a:tabLst/>
              <a:defRPr sz="1200"/>
            </a:lvl4pPr>
            <a:lvl5pPr marL="15875" indent="-15875" algn="ctr">
              <a:buNone/>
              <a:tabLst/>
              <a:defRPr sz="1200"/>
            </a:lvl5pPr>
          </a:lstStyle>
          <a:p>
            <a:pPr lvl="0"/>
            <a:r>
              <a:rPr lang="en-GB" noProof="0"/>
              <a:t>Click to add text</a:t>
            </a:r>
          </a:p>
        </p:txBody>
      </p:sp>
      <p:sp>
        <p:nvSpPr>
          <p:cNvPr id="43" name="Icon 2">
            <a:extLst>
              <a:ext uri="{FF2B5EF4-FFF2-40B4-BE49-F238E27FC236}">
                <a16:creationId xmlns:a16="http://schemas.microsoft.com/office/drawing/2014/main" id="{BF57B7AA-6436-9944-BED9-277CEAC62278}"/>
              </a:ext>
            </a:extLst>
          </p:cNvPr>
          <p:cNvSpPr>
            <a:spLocks noGrp="1"/>
          </p:cNvSpPr>
          <p:nvPr>
            <p:ph type="pic" sz="quarter" idx="23" hasCustomPrompt="1"/>
          </p:nvPr>
        </p:nvSpPr>
        <p:spPr>
          <a:xfrm>
            <a:off x="4076070" y="2003401"/>
            <a:ext cx="992237" cy="992237"/>
          </a:xfrm>
        </p:spPr>
        <p:txBody>
          <a:bodyPr/>
          <a:lstStyle>
            <a:lvl1pPr algn="ctr">
              <a:buNone/>
              <a:defRPr sz="800"/>
            </a:lvl1pPr>
          </a:lstStyle>
          <a:p>
            <a:r>
              <a:rPr lang="en-GB" sz="800" noProof="0"/>
              <a:t>Click to add icon</a:t>
            </a:r>
            <a:endParaRPr lang="en-GB" noProof="0"/>
          </a:p>
        </p:txBody>
      </p:sp>
      <p:sp>
        <p:nvSpPr>
          <p:cNvPr id="29" name="Subtitle 2">
            <a:extLst>
              <a:ext uri="{FF2B5EF4-FFF2-40B4-BE49-F238E27FC236}">
                <a16:creationId xmlns:a16="http://schemas.microsoft.com/office/drawing/2014/main" id="{C48D686F-94A2-DD46-82F1-E264BEE11C43}"/>
              </a:ext>
            </a:extLst>
          </p:cNvPr>
          <p:cNvSpPr>
            <a:spLocks noGrp="1"/>
          </p:cNvSpPr>
          <p:nvPr>
            <p:ph type="body" sz="quarter" idx="18" hasCustomPrompt="1"/>
          </p:nvPr>
        </p:nvSpPr>
        <p:spPr>
          <a:xfrm>
            <a:off x="3203575" y="3390838"/>
            <a:ext cx="2735263" cy="355993"/>
          </a:xfrm>
        </p:spPr>
        <p:txBody>
          <a:bodyPr lIns="144000" rIns="144000" anchor="b"/>
          <a:lstStyle>
            <a:lvl1pPr marL="0" indent="0" algn="ctr">
              <a:lnSpc>
                <a:spcPct val="95000"/>
              </a:lnSpc>
              <a:spcBef>
                <a:spcPts val="0"/>
              </a:spcBef>
              <a:buNone/>
              <a:tabLst/>
              <a:defRPr sz="1800" b="1"/>
            </a:lvl1pPr>
            <a:lvl2pPr marL="0" indent="0">
              <a:buNone/>
              <a:tabLst/>
              <a:defRPr sz="1200"/>
            </a:lvl2pPr>
            <a:lvl3pPr marL="0" indent="0">
              <a:buNone/>
              <a:tabLst/>
              <a:defRPr sz="1200"/>
            </a:lvl3pPr>
            <a:lvl4pPr marL="0" indent="0">
              <a:buNone/>
              <a:tabLst/>
              <a:defRPr sz="1200"/>
            </a:lvl4pPr>
            <a:lvl5pPr marL="0" indent="0">
              <a:buNone/>
              <a:tabLst/>
              <a:defRPr sz="1200"/>
            </a:lvl5pPr>
          </a:lstStyle>
          <a:p>
            <a:pPr lvl="0"/>
            <a:r>
              <a:rPr lang="en-GB" noProof="0"/>
              <a:t>Click to add headline</a:t>
            </a:r>
          </a:p>
        </p:txBody>
      </p:sp>
      <p:sp>
        <p:nvSpPr>
          <p:cNvPr id="30" name="Text 2">
            <a:extLst>
              <a:ext uri="{FF2B5EF4-FFF2-40B4-BE49-F238E27FC236}">
                <a16:creationId xmlns:a16="http://schemas.microsoft.com/office/drawing/2014/main" id="{642F0A82-A9F6-AF48-B15A-56A4F0C4908D}"/>
              </a:ext>
            </a:extLst>
          </p:cNvPr>
          <p:cNvSpPr>
            <a:spLocks noGrp="1"/>
          </p:cNvSpPr>
          <p:nvPr>
            <p:ph type="body" sz="quarter" idx="19" hasCustomPrompt="1"/>
          </p:nvPr>
        </p:nvSpPr>
        <p:spPr>
          <a:xfrm>
            <a:off x="3203575" y="3777335"/>
            <a:ext cx="2736000" cy="918490"/>
          </a:xfrm>
        </p:spPr>
        <p:txBody>
          <a:bodyPr lIns="180000" rIns="180000"/>
          <a:lstStyle>
            <a:lvl1pPr marL="15875" indent="-15875" algn="ctr">
              <a:buNone/>
              <a:tabLst/>
              <a:defRPr sz="1400"/>
            </a:lvl1pPr>
            <a:lvl2pPr marL="15875" indent="-15875" algn="ctr">
              <a:buNone/>
              <a:tabLst/>
              <a:defRPr sz="1200"/>
            </a:lvl2pPr>
            <a:lvl3pPr marL="15875" indent="-15875" algn="ctr">
              <a:buNone/>
              <a:tabLst/>
              <a:defRPr sz="1200"/>
            </a:lvl3pPr>
            <a:lvl4pPr marL="15875" indent="-15875" algn="ctr">
              <a:buNone/>
              <a:tabLst/>
              <a:defRPr sz="1200"/>
            </a:lvl4pPr>
            <a:lvl5pPr marL="15875" indent="-15875" algn="ctr">
              <a:buNone/>
              <a:tabLst/>
              <a:defRPr sz="1200"/>
            </a:lvl5pPr>
          </a:lstStyle>
          <a:p>
            <a:pPr lvl="0"/>
            <a:r>
              <a:rPr lang="en-GB" noProof="0"/>
              <a:t>Click to add text</a:t>
            </a:r>
          </a:p>
        </p:txBody>
      </p:sp>
      <p:sp>
        <p:nvSpPr>
          <p:cNvPr id="44" name="Icon 3">
            <a:extLst>
              <a:ext uri="{FF2B5EF4-FFF2-40B4-BE49-F238E27FC236}">
                <a16:creationId xmlns:a16="http://schemas.microsoft.com/office/drawing/2014/main" id="{D533FAC1-ED80-7B4E-8ECA-38C55CFD41A1}"/>
              </a:ext>
            </a:extLst>
          </p:cNvPr>
          <p:cNvSpPr>
            <a:spLocks noGrp="1"/>
          </p:cNvSpPr>
          <p:nvPr>
            <p:ph type="pic" sz="quarter" idx="24" hasCustomPrompt="1"/>
          </p:nvPr>
        </p:nvSpPr>
        <p:spPr>
          <a:xfrm>
            <a:off x="6962145" y="2003401"/>
            <a:ext cx="992237" cy="992237"/>
          </a:xfrm>
        </p:spPr>
        <p:txBody>
          <a:bodyPr/>
          <a:lstStyle>
            <a:lvl1pPr algn="ctr">
              <a:buNone/>
              <a:defRPr sz="800"/>
            </a:lvl1pPr>
          </a:lstStyle>
          <a:p>
            <a:r>
              <a:rPr lang="en-GB" sz="800" noProof="0"/>
              <a:t>Click to add icon</a:t>
            </a:r>
            <a:endParaRPr lang="en-GB" noProof="0"/>
          </a:p>
        </p:txBody>
      </p:sp>
      <p:sp>
        <p:nvSpPr>
          <p:cNvPr id="31" name="Subtitle 3">
            <a:extLst>
              <a:ext uri="{FF2B5EF4-FFF2-40B4-BE49-F238E27FC236}">
                <a16:creationId xmlns:a16="http://schemas.microsoft.com/office/drawing/2014/main" id="{54CE80BA-70B6-674B-8EEE-564BBFD7E630}"/>
              </a:ext>
            </a:extLst>
          </p:cNvPr>
          <p:cNvSpPr>
            <a:spLocks noGrp="1"/>
          </p:cNvSpPr>
          <p:nvPr>
            <p:ph type="body" sz="quarter" idx="20" hasCustomPrompt="1"/>
          </p:nvPr>
        </p:nvSpPr>
        <p:spPr>
          <a:xfrm>
            <a:off x="6084888" y="3390838"/>
            <a:ext cx="2735262" cy="355993"/>
          </a:xfrm>
        </p:spPr>
        <p:txBody>
          <a:bodyPr lIns="144000" rIns="144000" anchor="b"/>
          <a:lstStyle>
            <a:lvl1pPr marL="0" indent="0" algn="ctr">
              <a:lnSpc>
                <a:spcPct val="95000"/>
              </a:lnSpc>
              <a:spcBef>
                <a:spcPts val="0"/>
              </a:spcBef>
              <a:buNone/>
              <a:tabLst/>
              <a:defRPr sz="1800" b="1"/>
            </a:lvl1pPr>
            <a:lvl2pPr marL="0" indent="0">
              <a:buNone/>
              <a:tabLst/>
              <a:defRPr sz="1200"/>
            </a:lvl2pPr>
            <a:lvl3pPr marL="0" indent="0">
              <a:buNone/>
              <a:tabLst/>
              <a:defRPr sz="1200"/>
            </a:lvl3pPr>
            <a:lvl4pPr marL="0" indent="0">
              <a:buNone/>
              <a:tabLst/>
              <a:defRPr sz="1200"/>
            </a:lvl4pPr>
            <a:lvl5pPr marL="0" indent="0">
              <a:buNone/>
              <a:tabLst/>
              <a:defRPr sz="1200"/>
            </a:lvl5pPr>
          </a:lstStyle>
          <a:p>
            <a:pPr lvl="0"/>
            <a:r>
              <a:rPr lang="en-GB" noProof="0"/>
              <a:t>Click to add headline</a:t>
            </a:r>
          </a:p>
        </p:txBody>
      </p:sp>
      <p:sp>
        <p:nvSpPr>
          <p:cNvPr id="32" name="Text 3">
            <a:extLst>
              <a:ext uri="{FF2B5EF4-FFF2-40B4-BE49-F238E27FC236}">
                <a16:creationId xmlns:a16="http://schemas.microsoft.com/office/drawing/2014/main" id="{F5FFA93D-6EB2-9F4D-A77F-D10B1DBE6477}"/>
              </a:ext>
            </a:extLst>
          </p:cNvPr>
          <p:cNvSpPr>
            <a:spLocks noGrp="1"/>
          </p:cNvSpPr>
          <p:nvPr>
            <p:ph type="body" sz="quarter" idx="21" hasCustomPrompt="1"/>
          </p:nvPr>
        </p:nvSpPr>
        <p:spPr>
          <a:xfrm>
            <a:off x="6084888" y="3777335"/>
            <a:ext cx="2736000" cy="918490"/>
          </a:xfrm>
        </p:spPr>
        <p:txBody>
          <a:bodyPr lIns="180000" rIns="180000"/>
          <a:lstStyle>
            <a:lvl1pPr marL="15875" indent="-15875" algn="ctr">
              <a:buNone/>
              <a:tabLst/>
              <a:defRPr sz="1400"/>
            </a:lvl1pPr>
            <a:lvl2pPr marL="15875" indent="-15875" algn="ctr">
              <a:buNone/>
              <a:tabLst/>
              <a:defRPr sz="1200"/>
            </a:lvl2pPr>
            <a:lvl3pPr marL="15875" indent="-15875" algn="ctr">
              <a:buNone/>
              <a:tabLst/>
              <a:defRPr sz="1200"/>
            </a:lvl3pPr>
            <a:lvl4pPr marL="15875" indent="-15875" algn="ctr">
              <a:buNone/>
              <a:tabLst/>
              <a:defRPr sz="1200"/>
            </a:lvl4pPr>
            <a:lvl5pPr marL="15875" indent="-15875" algn="ctr">
              <a:buNone/>
              <a:tabLst/>
              <a:defRPr sz="1200"/>
            </a:lvl5pPr>
          </a:lstStyle>
          <a:p>
            <a:pPr lvl="0"/>
            <a:r>
              <a:rPr lang="en-GB" noProof="0"/>
              <a:t>Click to add text</a:t>
            </a:r>
          </a:p>
        </p:txBody>
      </p:sp>
      <p:sp>
        <p:nvSpPr>
          <p:cNvPr id="35" name="Date">
            <a:extLst>
              <a:ext uri="{FF2B5EF4-FFF2-40B4-BE49-F238E27FC236}">
                <a16:creationId xmlns:a16="http://schemas.microsoft.com/office/drawing/2014/main" id="{EBF909F0-CE1B-3D46-83B7-E4DA279DC19B}"/>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AE65BB92-C1E7-4310-A621-0EA59D351914}" type="datetime1">
              <a:rPr lang="sv-SE" noProof="0" smtClean="0"/>
              <a:t>2025-09-04</a:t>
            </a:fld>
            <a:endParaRPr lang="en-GB" noProof="0"/>
          </a:p>
        </p:txBody>
      </p:sp>
      <p:sp>
        <p:nvSpPr>
          <p:cNvPr id="36" name="Number">
            <a:extLst>
              <a:ext uri="{FF2B5EF4-FFF2-40B4-BE49-F238E27FC236}">
                <a16:creationId xmlns:a16="http://schemas.microsoft.com/office/drawing/2014/main" id="{EB2FF840-5D29-6845-91DA-E82490F28637}"/>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8" name="Footer">
            <a:extLst>
              <a:ext uri="{FF2B5EF4-FFF2-40B4-BE49-F238E27FC236}">
                <a16:creationId xmlns:a16="http://schemas.microsoft.com/office/drawing/2014/main" id="{004EB2A8-772A-6F45-A53E-60955D52F3A6}"/>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2677242386"/>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 Chapter divider">
    <p:spTree>
      <p:nvGrpSpPr>
        <p:cNvPr id="1" name=""/>
        <p:cNvGrpSpPr/>
        <p:nvPr/>
      </p:nvGrpSpPr>
      <p:grpSpPr>
        <a:xfrm>
          <a:off x="0" y="0"/>
          <a:ext cx="0" cy="0"/>
          <a:chOff x="0" y="0"/>
          <a:chExt cx="0" cy="0"/>
        </a:xfrm>
      </p:grpSpPr>
      <p:sp>
        <p:nvSpPr>
          <p:cNvPr id="3" name="Background image">
            <a:extLst>
              <a:ext uri="{FF2B5EF4-FFF2-40B4-BE49-F238E27FC236}">
                <a16:creationId xmlns:a16="http://schemas.microsoft.com/office/drawing/2014/main" id="{25798999-2A1E-2547-A8D5-4373B7132ADB}"/>
              </a:ext>
            </a:extLst>
          </p:cNvPr>
          <p:cNvSpPr>
            <a:spLocks noGrp="1"/>
          </p:cNvSpPr>
          <p:nvPr>
            <p:ph type="pic" sz="quarter" idx="10" hasCustomPrompt="1"/>
          </p:nvPr>
        </p:nvSpPr>
        <p:spPr>
          <a:xfrm>
            <a:off x="179388" y="158750"/>
            <a:ext cx="8785322" cy="4681538"/>
          </a:xfrm>
          <a:blipFill dpi="0" rotWithShape="1">
            <a:blip r:embed="rId2"/>
            <a:srcRect/>
            <a:tile tx="0" ty="0" sx="100000" sy="100000" flip="none" algn="tl"/>
          </a:blipFill>
        </p:spPr>
        <p:txBody>
          <a:bodyPr/>
          <a:lstStyle>
            <a:lvl1pPr algn="r">
              <a:buNone/>
              <a:defRPr sz="800">
                <a:solidFill>
                  <a:schemeClr val="bg1">
                    <a:lumMod val="75000"/>
                  </a:schemeClr>
                </a:solidFill>
              </a:defRPr>
            </a:lvl1pPr>
          </a:lstStyle>
          <a:p>
            <a:r>
              <a:rPr lang="en-GB" noProof="0"/>
              <a:t>Select placeholder and select Insert &gt; Pictures</a:t>
            </a:r>
          </a:p>
        </p:txBody>
      </p:sp>
      <p:sp>
        <p:nvSpPr>
          <p:cNvPr id="8" name="Title">
            <a:extLst>
              <a:ext uri="{FF2B5EF4-FFF2-40B4-BE49-F238E27FC236}">
                <a16:creationId xmlns:a16="http://schemas.microsoft.com/office/drawing/2014/main" id="{D0286019-1596-CC4C-95F2-E2F7E54FE89D}"/>
              </a:ext>
            </a:extLst>
          </p:cNvPr>
          <p:cNvSpPr>
            <a:spLocks noGrp="1"/>
          </p:cNvSpPr>
          <p:nvPr>
            <p:ph type="title" hasCustomPrompt="1"/>
          </p:nvPr>
        </p:nvSpPr>
        <p:spPr>
          <a:xfrm>
            <a:off x="324000" y="1719827"/>
            <a:ext cx="8496000" cy="1560972"/>
          </a:xfrm>
        </p:spPr>
        <p:txBody>
          <a:bodyPr lIns="216000" rIns="216000" anchor="ctr"/>
          <a:lstStyle>
            <a:lvl1pPr algn="ctr">
              <a:defRPr sz="4400">
                <a:solidFill>
                  <a:schemeClr val="bg1"/>
                </a:solidFill>
              </a:defRPr>
            </a:lvl1pPr>
          </a:lstStyle>
          <a:p>
            <a:r>
              <a:rPr lang="en-GB" noProof="0"/>
              <a:t>Click to add chapter </a:t>
            </a:r>
            <a:br>
              <a:rPr lang="en-GB" noProof="0"/>
            </a:br>
            <a:r>
              <a:rPr lang="en-GB" noProof="0"/>
              <a:t>or divider text</a:t>
            </a:r>
          </a:p>
        </p:txBody>
      </p:sp>
      <p:sp>
        <p:nvSpPr>
          <p:cNvPr id="30" name="Navigation">
            <a:extLst>
              <a:ext uri="{FF2B5EF4-FFF2-40B4-BE49-F238E27FC236}">
                <a16:creationId xmlns:a16="http://schemas.microsoft.com/office/drawing/2014/main" id="{E89B3305-CD61-6F45-85AE-0AF738D56906}"/>
              </a:ext>
            </a:extLst>
          </p:cNvPr>
          <p:cNvSpPr>
            <a:spLocks noGrp="1"/>
          </p:cNvSpPr>
          <p:nvPr>
            <p:ph type="body" sz="quarter" idx="14" hasCustomPrompt="1"/>
          </p:nvPr>
        </p:nvSpPr>
        <p:spPr>
          <a:xfrm>
            <a:off x="1763713" y="276226"/>
            <a:ext cx="5616575" cy="276999"/>
          </a:xfrm>
        </p:spPr>
        <p:txBody>
          <a:bodyPr lIns="216000" rIns="216000" anchor="t"/>
          <a:lstStyle>
            <a:lvl1pPr marL="3175" indent="-3175" algn="ctr">
              <a:buNone/>
              <a:tabLst/>
              <a:defRPr sz="1200" b="1">
                <a:solidFill>
                  <a:schemeClr val="bg1"/>
                </a:solidFill>
              </a:defRPr>
            </a:lvl1pPr>
            <a:lvl2pPr>
              <a:buNone/>
              <a:defRPr/>
            </a:lvl2pPr>
            <a:lvl3pPr>
              <a:buNone/>
              <a:defRPr/>
            </a:lvl3pPr>
            <a:lvl4pPr>
              <a:buNone/>
              <a:defRPr/>
            </a:lvl4pPr>
            <a:lvl5pPr>
              <a:buNone/>
              <a:defRPr/>
            </a:lvl5pPr>
          </a:lstStyle>
          <a:p>
            <a:pPr lvl="0"/>
            <a:r>
              <a:rPr lang="en-GB" noProof="0"/>
              <a:t>Click to add navigation/chapter tracker</a:t>
            </a:r>
          </a:p>
        </p:txBody>
      </p:sp>
      <p:sp>
        <p:nvSpPr>
          <p:cNvPr id="11" name="Date">
            <a:extLst>
              <a:ext uri="{FF2B5EF4-FFF2-40B4-BE49-F238E27FC236}">
                <a16:creationId xmlns:a16="http://schemas.microsoft.com/office/drawing/2014/main" id="{38CA3AD7-12F8-9F43-820D-33071C26D41A}"/>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9E6EF10F-4168-4386-A804-DC37DBFAA044}" type="datetime1">
              <a:rPr lang="sv-SE" noProof="0" smtClean="0"/>
              <a:t>2025-09-04</a:t>
            </a:fld>
            <a:endParaRPr lang="en-GB" noProof="0"/>
          </a:p>
        </p:txBody>
      </p:sp>
      <p:sp>
        <p:nvSpPr>
          <p:cNvPr id="12" name="Number">
            <a:extLst>
              <a:ext uri="{FF2B5EF4-FFF2-40B4-BE49-F238E27FC236}">
                <a16:creationId xmlns:a16="http://schemas.microsoft.com/office/drawing/2014/main" id="{DFED6C3B-4A73-344C-A9A5-F8224178884F}"/>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9" name="Footer">
            <a:extLst>
              <a:ext uri="{FF2B5EF4-FFF2-40B4-BE49-F238E27FC236}">
                <a16:creationId xmlns:a16="http://schemas.microsoft.com/office/drawing/2014/main" id="{8C9F6B2B-126D-5341-B841-385A749EDBFF}"/>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361375890"/>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5 Three Images text">
    <p:bg>
      <p:bgPr>
        <a:solidFill>
          <a:schemeClr val="bg2"/>
        </a:solidFill>
        <a:effectLst/>
      </p:bgPr>
    </p:bg>
    <p:spTree>
      <p:nvGrpSpPr>
        <p:cNvPr id="1" name=""/>
        <p:cNvGrpSpPr/>
        <p:nvPr/>
      </p:nvGrpSpPr>
      <p:grpSpPr>
        <a:xfrm>
          <a:off x="0" y="0"/>
          <a:ext cx="0" cy="0"/>
          <a:chOff x="0" y="0"/>
          <a:chExt cx="0" cy="0"/>
        </a:xfrm>
      </p:grpSpPr>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50" y="276226"/>
            <a:ext cx="4176713" cy="276999"/>
          </a:xfrm>
        </p:spPr>
        <p:txBody>
          <a:bodyPr lIns="111600" rIns="144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chapter tracker</a:t>
            </a:r>
          </a:p>
        </p:txBody>
      </p:sp>
      <p:sp>
        <p:nvSpPr>
          <p:cNvPr id="4" name="Image 1">
            <a:extLst>
              <a:ext uri="{FF2B5EF4-FFF2-40B4-BE49-F238E27FC236}">
                <a16:creationId xmlns:a16="http://schemas.microsoft.com/office/drawing/2014/main" id="{A5A31898-D5B1-EE4E-A7EE-E18C844975AA}"/>
              </a:ext>
            </a:extLst>
          </p:cNvPr>
          <p:cNvSpPr>
            <a:spLocks noGrp="1"/>
          </p:cNvSpPr>
          <p:nvPr>
            <p:ph type="pic" sz="quarter" idx="22" hasCustomPrompt="1"/>
          </p:nvPr>
        </p:nvSpPr>
        <p:spPr>
          <a:xfrm>
            <a:off x="323850" y="650874"/>
            <a:ext cx="2735263" cy="2451871"/>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17" name="Subtitle 1">
            <a:extLst>
              <a:ext uri="{FF2B5EF4-FFF2-40B4-BE49-F238E27FC236}">
                <a16:creationId xmlns:a16="http://schemas.microsoft.com/office/drawing/2014/main" id="{9539D912-EDEC-D04A-AE66-E4AF2B4B8924}"/>
              </a:ext>
            </a:extLst>
          </p:cNvPr>
          <p:cNvSpPr>
            <a:spLocks noGrp="1"/>
          </p:cNvSpPr>
          <p:nvPr>
            <p:ph type="body" sz="quarter" idx="16" hasCustomPrompt="1"/>
          </p:nvPr>
        </p:nvSpPr>
        <p:spPr>
          <a:xfrm>
            <a:off x="323850" y="3390838"/>
            <a:ext cx="2735263" cy="355993"/>
          </a:xfrm>
        </p:spPr>
        <p:txBody>
          <a:bodyPr lIns="144000" rIns="144000" anchor="b"/>
          <a:lstStyle>
            <a:lvl1pPr marL="0" indent="0" algn="ctr">
              <a:lnSpc>
                <a:spcPct val="95000"/>
              </a:lnSpc>
              <a:spcBef>
                <a:spcPts val="0"/>
              </a:spcBef>
              <a:buNone/>
              <a:tabLst/>
              <a:defRPr sz="1800" b="1"/>
            </a:lvl1pPr>
            <a:lvl2pPr marL="0" indent="0">
              <a:buNone/>
              <a:tabLst/>
              <a:defRPr sz="1200"/>
            </a:lvl2pPr>
            <a:lvl3pPr marL="0" indent="0">
              <a:buNone/>
              <a:tabLst/>
              <a:defRPr sz="1200"/>
            </a:lvl3pPr>
            <a:lvl4pPr marL="0" indent="0">
              <a:buNone/>
              <a:tabLst/>
              <a:defRPr sz="1200"/>
            </a:lvl4pPr>
            <a:lvl5pPr marL="0" indent="0">
              <a:buNone/>
              <a:tabLst/>
              <a:defRPr sz="1200"/>
            </a:lvl5pPr>
          </a:lstStyle>
          <a:p>
            <a:pPr lvl="0"/>
            <a:r>
              <a:rPr lang="en-GB" noProof="0"/>
              <a:t>Click to add headline</a:t>
            </a:r>
          </a:p>
        </p:txBody>
      </p:sp>
      <p:sp>
        <p:nvSpPr>
          <p:cNvPr id="18" name="Text 1">
            <a:extLst>
              <a:ext uri="{FF2B5EF4-FFF2-40B4-BE49-F238E27FC236}">
                <a16:creationId xmlns:a16="http://schemas.microsoft.com/office/drawing/2014/main" id="{42913F9C-29B8-3D4E-A5EA-0F08C0C9FAC6}"/>
              </a:ext>
            </a:extLst>
          </p:cNvPr>
          <p:cNvSpPr>
            <a:spLocks noGrp="1"/>
          </p:cNvSpPr>
          <p:nvPr>
            <p:ph type="body" sz="quarter" idx="17" hasCustomPrompt="1"/>
          </p:nvPr>
        </p:nvSpPr>
        <p:spPr>
          <a:xfrm>
            <a:off x="323850" y="3777335"/>
            <a:ext cx="2736000" cy="918490"/>
          </a:xfrm>
        </p:spPr>
        <p:txBody>
          <a:bodyPr lIns="180000" rIns="180000"/>
          <a:lstStyle>
            <a:lvl1pPr marL="15875" indent="-15875" algn="ctr">
              <a:buNone/>
              <a:tabLst/>
              <a:defRPr sz="1400"/>
            </a:lvl1pPr>
            <a:lvl2pPr marL="15875" indent="-15875" algn="ctr">
              <a:buNone/>
              <a:tabLst/>
              <a:defRPr sz="1200"/>
            </a:lvl2pPr>
            <a:lvl3pPr marL="15875" indent="-15875" algn="ctr">
              <a:buNone/>
              <a:tabLst/>
              <a:defRPr sz="1200"/>
            </a:lvl3pPr>
            <a:lvl4pPr marL="15875" indent="-15875" algn="ctr">
              <a:buNone/>
              <a:tabLst/>
              <a:defRPr sz="1200"/>
            </a:lvl4pPr>
            <a:lvl5pPr marL="15875" indent="-15875" algn="ctr">
              <a:buNone/>
              <a:tabLst/>
              <a:defRPr sz="1200"/>
            </a:lvl5pPr>
          </a:lstStyle>
          <a:p>
            <a:pPr lvl="0"/>
            <a:r>
              <a:rPr lang="en-GB" noProof="0"/>
              <a:t>Click to add text</a:t>
            </a:r>
          </a:p>
        </p:txBody>
      </p:sp>
      <p:sp>
        <p:nvSpPr>
          <p:cNvPr id="19" name="Image 2">
            <a:extLst>
              <a:ext uri="{FF2B5EF4-FFF2-40B4-BE49-F238E27FC236}">
                <a16:creationId xmlns:a16="http://schemas.microsoft.com/office/drawing/2014/main" id="{CFB476F6-A1A2-9341-A7CE-364121691484}"/>
              </a:ext>
            </a:extLst>
          </p:cNvPr>
          <p:cNvSpPr>
            <a:spLocks noGrp="1"/>
          </p:cNvSpPr>
          <p:nvPr>
            <p:ph type="pic" sz="quarter" idx="23" hasCustomPrompt="1"/>
          </p:nvPr>
        </p:nvSpPr>
        <p:spPr>
          <a:xfrm>
            <a:off x="3204369" y="650874"/>
            <a:ext cx="2735263" cy="2451871"/>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22" name="Subtitle 2">
            <a:extLst>
              <a:ext uri="{FF2B5EF4-FFF2-40B4-BE49-F238E27FC236}">
                <a16:creationId xmlns:a16="http://schemas.microsoft.com/office/drawing/2014/main" id="{C3C5B55E-94CB-7B47-B062-5D9F39ACF993}"/>
              </a:ext>
            </a:extLst>
          </p:cNvPr>
          <p:cNvSpPr>
            <a:spLocks noGrp="1"/>
          </p:cNvSpPr>
          <p:nvPr>
            <p:ph type="body" sz="quarter" idx="18" hasCustomPrompt="1"/>
          </p:nvPr>
        </p:nvSpPr>
        <p:spPr>
          <a:xfrm>
            <a:off x="3203575" y="3390838"/>
            <a:ext cx="2735263" cy="355993"/>
          </a:xfrm>
        </p:spPr>
        <p:txBody>
          <a:bodyPr lIns="144000" rIns="144000" anchor="b"/>
          <a:lstStyle>
            <a:lvl1pPr marL="0" indent="0" algn="ctr">
              <a:lnSpc>
                <a:spcPct val="95000"/>
              </a:lnSpc>
              <a:spcBef>
                <a:spcPts val="0"/>
              </a:spcBef>
              <a:buNone/>
              <a:tabLst/>
              <a:defRPr sz="1800" b="1"/>
            </a:lvl1pPr>
            <a:lvl2pPr marL="0" indent="0">
              <a:buNone/>
              <a:tabLst/>
              <a:defRPr sz="1200"/>
            </a:lvl2pPr>
            <a:lvl3pPr marL="0" indent="0">
              <a:buNone/>
              <a:tabLst/>
              <a:defRPr sz="1200"/>
            </a:lvl3pPr>
            <a:lvl4pPr marL="0" indent="0">
              <a:buNone/>
              <a:tabLst/>
              <a:defRPr sz="1200"/>
            </a:lvl4pPr>
            <a:lvl5pPr marL="0" indent="0">
              <a:buNone/>
              <a:tabLst/>
              <a:defRPr sz="1200"/>
            </a:lvl5pPr>
          </a:lstStyle>
          <a:p>
            <a:pPr lvl="0"/>
            <a:r>
              <a:rPr lang="en-GB" noProof="0"/>
              <a:t>Click to add headline</a:t>
            </a:r>
          </a:p>
        </p:txBody>
      </p:sp>
      <p:sp>
        <p:nvSpPr>
          <p:cNvPr id="23" name="Text 2">
            <a:extLst>
              <a:ext uri="{FF2B5EF4-FFF2-40B4-BE49-F238E27FC236}">
                <a16:creationId xmlns:a16="http://schemas.microsoft.com/office/drawing/2014/main" id="{A1A87AB1-E04D-7D40-AA0E-7E9AAA85FDD7}"/>
              </a:ext>
            </a:extLst>
          </p:cNvPr>
          <p:cNvSpPr>
            <a:spLocks noGrp="1"/>
          </p:cNvSpPr>
          <p:nvPr>
            <p:ph type="body" sz="quarter" idx="19" hasCustomPrompt="1"/>
          </p:nvPr>
        </p:nvSpPr>
        <p:spPr>
          <a:xfrm>
            <a:off x="3203575" y="3777335"/>
            <a:ext cx="2736000" cy="918490"/>
          </a:xfrm>
        </p:spPr>
        <p:txBody>
          <a:bodyPr lIns="180000" rIns="180000"/>
          <a:lstStyle>
            <a:lvl1pPr marL="15875" indent="-15875" algn="ctr">
              <a:buNone/>
              <a:tabLst/>
              <a:defRPr sz="1400"/>
            </a:lvl1pPr>
            <a:lvl2pPr marL="15875" indent="-15875" algn="ctr">
              <a:buNone/>
              <a:tabLst/>
              <a:defRPr sz="1200"/>
            </a:lvl2pPr>
            <a:lvl3pPr marL="15875" indent="-15875" algn="ctr">
              <a:buNone/>
              <a:tabLst/>
              <a:defRPr sz="1200"/>
            </a:lvl3pPr>
            <a:lvl4pPr marL="15875" indent="-15875" algn="ctr">
              <a:buNone/>
              <a:tabLst/>
              <a:defRPr sz="1200"/>
            </a:lvl4pPr>
            <a:lvl5pPr marL="15875" indent="-15875" algn="ctr">
              <a:buNone/>
              <a:tabLst/>
              <a:defRPr sz="1200"/>
            </a:lvl5pPr>
          </a:lstStyle>
          <a:p>
            <a:pPr lvl="0"/>
            <a:r>
              <a:rPr lang="en-GB" noProof="0"/>
              <a:t>Click to add text</a:t>
            </a:r>
          </a:p>
        </p:txBody>
      </p:sp>
      <p:sp>
        <p:nvSpPr>
          <p:cNvPr id="20" name="Image 3">
            <a:extLst>
              <a:ext uri="{FF2B5EF4-FFF2-40B4-BE49-F238E27FC236}">
                <a16:creationId xmlns:a16="http://schemas.microsoft.com/office/drawing/2014/main" id="{AA2CC83E-62F3-474B-9DE5-B6EDF26CA353}"/>
              </a:ext>
            </a:extLst>
          </p:cNvPr>
          <p:cNvSpPr>
            <a:spLocks noGrp="1"/>
          </p:cNvSpPr>
          <p:nvPr>
            <p:ph type="pic" sz="quarter" idx="24" hasCustomPrompt="1"/>
          </p:nvPr>
        </p:nvSpPr>
        <p:spPr>
          <a:xfrm>
            <a:off x="6084887" y="650874"/>
            <a:ext cx="2735263" cy="2451871"/>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24" name="Subtitle 3">
            <a:extLst>
              <a:ext uri="{FF2B5EF4-FFF2-40B4-BE49-F238E27FC236}">
                <a16:creationId xmlns:a16="http://schemas.microsoft.com/office/drawing/2014/main" id="{F30BCF56-210D-1340-ACE8-BFCB24314D0A}"/>
              </a:ext>
            </a:extLst>
          </p:cNvPr>
          <p:cNvSpPr>
            <a:spLocks noGrp="1"/>
          </p:cNvSpPr>
          <p:nvPr>
            <p:ph type="body" sz="quarter" idx="20" hasCustomPrompt="1"/>
          </p:nvPr>
        </p:nvSpPr>
        <p:spPr>
          <a:xfrm>
            <a:off x="6084888" y="3390838"/>
            <a:ext cx="2735262" cy="355993"/>
          </a:xfrm>
        </p:spPr>
        <p:txBody>
          <a:bodyPr lIns="144000" rIns="144000" anchor="b"/>
          <a:lstStyle>
            <a:lvl1pPr marL="0" indent="0" algn="ctr">
              <a:lnSpc>
                <a:spcPct val="95000"/>
              </a:lnSpc>
              <a:spcBef>
                <a:spcPts val="0"/>
              </a:spcBef>
              <a:buNone/>
              <a:tabLst/>
              <a:defRPr sz="1800" b="1"/>
            </a:lvl1pPr>
            <a:lvl2pPr marL="0" indent="0">
              <a:buNone/>
              <a:tabLst/>
              <a:defRPr sz="1200"/>
            </a:lvl2pPr>
            <a:lvl3pPr marL="0" indent="0">
              <a:buNone/>
              <a:tabLst/>
              <a:defRPr sz="1200"/>
            </a:lvl3pPr>
            <a:lvl4pPr marL="0" indent="0">
              <a:buNone/>
              <a:tabLst/>
              <a:defRPr sz="1200"/>
            </a:lvl4pPr>
            <a:lvl5pPr marL="0" indent="0">
              <a:buNone/>
              <a:tabLst/>
              <a:defRPr sz="1200"/>
            </a:lvl5pPr>
          </a:lstStyle>
          <a:p>
            <a:pPr lvl="0"/>
            <a:r>
              <a:rPr lang="en-GB" noProof="0"/>
              <a:t>Click to add headline</a:t>
            </a:r>
          </a:p>
        </p:txBody>
      </p:sp>
      <p:sp>
        <p:nvSpPr>
          <p:cNvPr id="25" name="Text 3">
            <a:extLst>
              <a:ext uri="{FF2B5EF4-FFF2-40B4-BE49-F238E27FC236}">
                <a16:creationId xmlns:a16="http://schemas.microsoft.com/office/drawing/2014/main" id="{B6BB44C6-034C-2A4F-9D6D-0F870DF593AF}"/>
              </a:ext>
            </a:extLst>
          </p:cNvPr>
          <p:cNvSpPr>
            <a:spLocks noGrp="1"/>
          </p:cNvSpPr>
          <p:nvPr>
            <p:ph type="body" sz="quarter" idx="21" hasCustomPrompt="1"/>
          </p:nvPr>
        </p:nvSpPr>
        <p:spPr>
          <a:xfrm>
            <a:off x="6084888" y="3777335"/>
            <a:ext cx="2736000" cy="918490"/>
          </a:xfrm>
        </p:spPr>
        <p:txBody>
          <a:bodyPr lIns="180000" rIns="180000"/>
          <a:lstStyle>
            <a:lvl1pPr marL="15875" indent="-15875" algn="ctr">
              <a:buNone/>
              <a:tabLst/>
              <a:defRPr sz="1400"/>
            </a:lvl1pPr>
            <a:lvl2pPr marL="15875" indent="-15875" algn="ctr">
              <a:buNone/>
              <a:tabLst/>
              <a:defRPr sz="1200"/>
            </a:lvl2pPr>
            <a:lvl3pPr marL="15875" indent="-15875" algn="ctr">
              <a:buNone/>
              <a:tabLst/>
              <a:defRPr sz="1200"/>
            </a:lvl3pPr>
            <a:lvl4pPr marL="15875" indent="-15875" algn="ctr">
              <a:buNone/>
              <a:tabLst/>
              <a:defRPr sz="1200"/>
            </a:lvl4pPr>
            <a:lvl5pPr marL="15875" indent="-15875" algn="ctr">
              <a:buNone/>
              <a:tabLst/>
              <a:defRPr sz="1200"/>
            </a:lvl5pPr>
          </a:lstStyle>
          <a:p>
            <a:pPr lvl="0"/>
            <a:r>
              <a:rPr lang="en-GB" noProof="0"/>
              <a:t>Click to add text</a:t>
            </a:r>
          </a:p>
        </p:txBody>
      </p:sp>
      <p:sp>
        <p:nvSpPr>
          <p:cNvPr id="35" name="Date">
            <a:extLst>
              <a:ext uri="{FF2B5EF4-FFF2-40B4-BE49-F238E27FC236}">
                <a16:creationId xmlns:a16="http://schemas.microsoft.com/office/drawing/2014/main" id="{EBF909F0-CE1B-3D46-83B7-E4DA279DC19B}"/>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4AF4777C-EFB0-4B54-ACB5-ABDF38E70A75}" type="datetime1">
              <a:rPr lang="sv-SE" noProof="0" smtClean="0"/>
              <a:t>2025-09-04</a:t>
            </a:fld>
            <a:endParaRPr lang="en-GB" noProof="0"/>
          </a:p>
        </p:txBody>
      </p:sp>
      <p:sp>
        <p:nvSpPr>
          <p:cNvPr id="36" name="Number">
            <a:extLst>
              <a:ext uri="{FF2B5EF4-FFF2-40B4-BE49-F238E27FC236}">
                <a16:creationId xmlns:a16="http://schemas.microsoft.com/office/drawing/2014/main" id="{EB2FF840-5D29-6845-91DA-E82490F28637}"/>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21" name="Footer">
            <a:extLst>
              <a:ext uri="{FF2B5EF4-FFF2-40B4-BE49-F238E27FC236}">
                <a16:creationId xmlns:a16="http://schemas.microsoft.com/office/drawing/2014/main" id="{5D5AD7F1-DD0A-5249-BE82-8E2CAFDE6736}"/>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
        <p:nvSpPr>
          <p:cNvPr id="3" name="Title 2">
            <a:extLst>
              <a:ext uri="{FF2B5EF4-FFF2-40B4-BE49-F238E27FC236}">
                <a16:creationId xmlns:a16="http://schemas.microsoft.com/office/drawing/2014/main" id="{071F4384-77E3-8A4F-255F-ACB92CCB3AEF}"/>
              </a:ext>
            </a:extLst>
          </p:cNvPr>
          <p:cNvSpPr>
            <a:spLocks noGrp="1"/>
          </p:cNvSpPr>
          <p:nvPr>
            <p:ph type="title" hasCustomPrompt="1"/>
          </p:nvPr>
        </p:nvSpPr>
        <p:spPr>
          <a:xfrm>
            <a:off x="323850" y="-1070389"/>
            <a:ext cx="8496300" cy="527051"/>
          </a:xfrm>
        </p:spPr>
        <p:txBody>
          <a:bodyPr/>
          <a:lstStyle>
            <a:lvl1pPr marL="0" marR="0" indent="0" algn="l" defTabSz="685800" rtl="0" eaLnBrk="1" fontAlgn="auto" latinLnBrk="0" hangingPunct="1">
              <a:lnSpc>
                <a:spcPct val="95000"/>
              </a:lnSpc>
              <a:spcBef>
                <a:spcPct val="0"/>
              </a:spcBef>
              <a:spcAft>
                <a:spcPts val="0"/>
              </a:spcAft>
              <a:buClrTx/>
              <a:buSzTx/>
              <a:buFontTx/>
              <a:buNone/>
              <a:tabLst/>
              <a:defRPr/>
            </a:lvl1pPr>
          </a:lstStyle>
          <a:p>
            <a:r>
              <a:rPr lang="en-GB"/>
              <a:t>Click to add hidden slide title for accessibility</a:t>
            </a:r>
          </a:p>
        </p:txBody>
      </p:sp>
    </p:spTree>
    <p:extLst>
      <p:ext uri="{BB962C8B-B14F-4D97-AF65-F5344CB8AC3E}">
        <p14:creationId xmlns:p14="http://schemas.microsoft.com/office/powerpoint/2010/main" val="3316199972"/>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5 Chart and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BA4E6B1-9731-D7D3-5F53-FB721A7F11C1}"/>
              </a:ext>
            </a:extLst>
          </p:cNvPr>
          <p:cNvSpPr/>
          <p:nvPr userDrawn="1"/>
        </p:nvSpPr>
        <p:spPr>
          <a:xfrm>
            <a:off x="4499769" y="158750"/>
            <a:ext cx="144462" cy="4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Image">
            <a:extLst>
              <a:ext uri="{FF2B5EF4-FFF2-40B4-BE49-F238E27FC236}">
                <a16:creationId xmlns:a16="http://schemas.microsoft.com/office/drawing/2014/main" id="{0C18E683-E62F-A04E-9D50-572DEA18E067}"/>
              </a:ext>
            </a:extLst>
          </p:cNvPr>
          <p:cNvSpPr>
            <a:spLocks noGrp="1"/>
          </p:cNvSpPr>
          <p:nvPr>
            <p:ph type="pic" sz="quarter" idx="15" hasCustomPrompt="1"/>
          </p:nvPr>
        </p:nvSpPr>
        <p:spPr>
          <a:xfrm>
            <a:off x="4646613" y="158750"/>
            <a:ext cx="4318000" cy="4681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323850" y="525600"/>
            <a:ext cx="4173538" cy="1498314"/>
          </a:xfrm>
        </p:spPr>
        <p:txBody>
          <a:bodyPr rIns="216000"/>
          <a:lstStyle>
            <a:lvl1pPr>
              <a:defRPr sz="3000" spc="-50"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50" y="276226"/>
            <a:ext cx="4173538" cy="276999"/>
          </a:xfrm>
        </p:spPr>
        <p:txBody>
          <a:bodyPr lIns="111600" rIns="216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chapter tracker</a:t>
            </a:r>
          </a:p>
        </p:txBody>
      </p:sp>
      <p:sp>
        <p:nvSpPr>
          <p:cNvPr id="3" name="Chart">
            <a:extLst>
              <a:ext uri="{FF2B5EF4-FFF2-40B4-BE49-F238E27FC236}">
                <a16:creationId xmlns:a16="http://schemas.microsoft.com/office/drawing/2014/main" id="{D12947F2-2E24-E74E-ABD3-2D0BB0AEAA87}"/>
              </a:ext>
            </a:extLst>
          </p:cNvPr>
          <p:cNvSpPr>
            <a:spLocks noGrp="1"/>
          </p:cNvSpPr>
          <p:nvPr>
            <p:ph type="chart" sz="quarter" idx="16" hasCustomPrompt="1"/>
          </p:nvPr>
        </p:nvSpPr>
        <p:spPr>
          <a:xfrm>
            <a:off x="323850" y="2103438"/>
            <a:ext cx="4025900" cy="2592387"/>
          </a:xfrm>
        </p:spPr>
        <p:txBody>
          <a:bodyPr/>
          <a:lstStyle>
            <a:lvl1pPr algn="ctr">
              <a:buNone/>
              <a:defRPr sz="800"/>
            </a:lvl1pPr>
          </a:lstStyle>
          <a:p>
            <a:r>
              <a:rPr lang="en-GB" noProof="0"/>
              <a:t>Click on the icon to add chart</a:t>
            </a:r>
          </a:p>
        </p:txBody>
      </p:sp>
      <p:sp>
        <p:nvSpPr>
          <p:cNvPr id="2" name="Notes">
            <a:extLst>
              <a:ext uri="{FF2B5EF4-FFF2-40B4-BE49-F238E27FC236}">
                <a16:creationId xmlns:a16="http://schemas.microsoft.com/office/drawing/2014/main" id="{11595CA4-EF2B-D233-21D6-7671E39200FA}"/>
              </a:ext>
            </a:extLst>
          </p:cNvPr>
          <p:cNvSpPr>
            <a:spLocks noGrp="1"/>
          </p:cNvSpPr>
          <p:nvPr>
            <p:ph type="body" sz="quarter" idx="19" hasCustomPrompt="1"/>
          </p:nvPr>
        </p:nvSpPr>
        <p:spPr>
          <a:xfrm>
            <a:off x="323850" y="4695825"/>
            <a:ext cx="4176715" cy="144463"/>
          </a:xfrm>
        </p:spPr>
        <p:txBody>
          <a:bodyPr lIns="111600" tIns="0" rIns="216000" bIns="18000" anchor="b"/>
          <a:lstStyle>
            <a:lvl1pPr marL="0" indent="0">
              <a:spcBef>
                <a:spcPts val="0"/>
              </a:spcBef>
              <a:buNone/>
              <a:tabLst/>
              <a:defRPr sz="600"/>
            </a:lvl1pPr>
            <a:lvl2pPr>
              <a:buNone/>
              <a:defRPr sz="800"/>
            </a:lvl2pPr>
            <a:lvl3pPr>
              <a:buNone/>
              <a:defRPr sz="800"/>
            </a:lvl3pPr>
            <a:lvl4pPr>
              <a:buNone/>
              <a:defRPr sz="800"/>
            </a:lvl4pPr>
            <a:lvl5pPr>
              <a:buNone/>
              <a:defRPr sz="800"/>
            </a:lvl5pPr>
          </a:lstStyle>
          <a:p>
            <a:pPr lvl="0"/>
            <a:r>
              <a:rPr lang="en-GB" noProof="0"/>
              <a:t>*Click to add footnotes</a:t>
            </a:r>
          </a:p>
        </p:txBody>
      </p:sp>
      <p:sp>
        <p:nvSpPr>
          <p:cNvPr id="38" name="Date">
            <a:extLst>
              <a:ext uri="{FF2B5EF4-FFF2-40B4-BE49-F238E27FC236}">
                <a16:creationId xmlns:a16="http://schemas.microsoft.com/office/drawing/2014/main" id="{B7D04508-015B-A24C-A068-9517A03041E5}"/>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32F459CE-7BA0-419D-9380-1B243BB0E035}" type="datetime1">
              <a:rPr lang="sv-SE" noProof="0" smtClean="0"/>
              <a:t>2025-09-04</a:t>
            </a:fld>
            <a:endParaRPr lang="en-GB" noProof="0"/>
          </a:p>
        </p:txBody>
      </p:sp>
      <p:sp>
        <p:nvSpPr>
          <p:cNvPr id="39" name="Number">
            <a:extLst>
              <a:ext uri="{FF2B5EF4-FFF2-40B4-BE49-F238E27FC236}">
                <a16:creationId xmlns:a16="http://schemas.microsoft.com/office/drawing/2014/main" id="{24E3E452-24F0-1B44-9014-429AC576B5B6}"/>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0" name="Footer">
            <a:extLst>
              <a:ext uri="{FF2B5EF4-FFF2-40B4-BE49-F238E27FC236}">
                <a16:creationId xmlns:a16="http://schemas.microsoft.com/office/drawing/2014/main" id="{29FB046A-7260-684A-8AE8-A5E2FA938289}"/>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2377795755"/>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5 Text and Char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A4F5968-AA5C-92DB-88F3-7DB9CADE540F}"/>
              </a:ext>
            </a:extLst>
          </p:cNvPr>
          <p:cNvSpPr/>
          <p:nvPr userDrawn="1"/>
        </p:nvSpPr>
        <p:spPr>
          <a:xfrm>
            <a:off x="5940425" y="158750"/>
            <a:ext cx="144462" cy="4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ktangel 9">
            <a:extLst>
              <a:ext uri="{FF2B5EF4-FFF2-40B4-BE49-F238E27FC236}">
                <a16:creationId xmlns:a16="http://schemas.microsoft.com/office/drawing/2014/main" id="{A1839504-BA43-3148-B19E-480FB1E15F74}"/>
              </a:ext>
            </a:extLst>
          </p:cNvPr>
          <p:cNvSpPr/>
          <p:nvPr userDrawn="1"/>
        </p:nvSpPr>
        <p:spPr>
          <a:xfrm>
            <a:off x="6084888" y="158750"/>
            <a:ext cx="2879725" cy="46815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323849" y="525600"/>
            <a:ext cx="5616575" cy="1498314"/>
          </a:xfrm>
        </p:spPr>
        <p:txBody>
          <a:bodyPr rIns="144000"/>
          <a:lstStyle>
            <a:lvl1pPr>
              <a:defRPr sz="3000" spc="-50"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50" y="276226"/>
            <a:ext cx="4176713" cy="276999"/>
          </a:xfrm>
        </p:spPr>
        <p:txBody>
          <a:bodyPr lIns="111600" rIns="144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chapter tracker</a:t>
            </a:r>
          </a:p>
        </p:txBody>
      </p:sp>
      <p:sp>
        <p:nvSpPr>
          <p:cNvPr id="12" name="Text 1">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323849" y="2103438"/>
            <a:ext cx="2734161" cy="2592387"/>
          </a:xfrm>
        </p:spPr>
        <p:txBody>
          <a:bodyPr rIns="216000"/>
          <a:lstStyle>
            <a:lvl1pPr>
              <a:defRPr sz="1400"/>
            </a:lvl1pPr>
            <a:lvl2pPr>
              <a:defRPr sz="1200"/>
            </a:lvl2pPr>
            <a:lvl3pPr>
              <a:defRPr sz="1200"/>
            </a:lvl3pPr>
            <a:lvl4pPr>
              <a:defRPr sz="1200"/>
            </a:lvl4pPr>
            <a:lvl5pPr>
              <a:defRPr sz="12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Text 2">
            <a:extLst>
              <a:ext uri="{FF2B5EF4-FFF2-40B4-BE49-F238E27FC236}">
                <a16:creationId xmlns:a16="http://schemas.microsoft.com/office/drawing/2014/main" id="{089CFEC7-99C6-0746-8ADC-4898C0347892}"/>
              </a:ext>
            </a:extLst>
          </p:cNvPr>
          <p:cNvSpPr>
            <a:spLocks noGrp="1"/>
          </p:cNvSpPr>
          <p:nvPr>
            <p:ph type="body" sz="quarter" idx="22" hasCustomPrompt="1"/>
          </p:nvPr>
        </p:nvSpPr>
        <p:spPr>
          <a:xfrm>
            <a:off x="3206262" y="2103438"/>
            <a:ext cx="2734161" cy="2592387"/>
          </a:xfrm>
        </p:spPr>
        <p:txBody>
          <a:bodyPr rIns="216000"/>
          <a:lstStyle>
            <a:lvl1pPr>
              <a:defRPr sz="1400"/>
            </a:lvl1pPr>
            <a:lvl2pPr>
              <a:defRPr sz="1200"/>
            </a:lvl2pPr>
            <a:lvl3pPr>
              <a:defRPr sz="1200"/>
            </a:lvl3pPr>
            <a:lvl4pPr>
              <a:defRPr sz="1200"/>
            </a:lvl4pPr>
            <a:lvl5pPr>
              <a:defRPr sz="12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9" name="Chart">
            <a:extLst>
              <a:ext uri="{FF2B5EF4-FFF2-40B4-BE49-F238E27FC236}">
                <a16:creationId xmlns:a16="http://schemas.microsoft.com/office/drawing/2014/main" id="{A91A41A0-04EF-2048-AE61-5DDC5148F93A}"/>
              </a:ext>
            </a:extLst>
          </p:cNvPr>
          <p:cNvSpPr>
            <a:spLocks noGrp="1"/>
          </p:cNvSpPr>
          <p:nvPr>
            <p:ph type="chart" sz="quarter" idx="15" hasCustomPrompt="1"/>
          </p:nvPr>
        </p:nvSpPr>
        <p:spPr>
          <a:xfrm>
            <a:off x="6221942" y="627063"/>
            <a:ext cx="2605617" cy="2500617"/>
          </a:xfrm>
        </p:spPr>
        <p:txBody>
          <a:bodyPr/>
          <a:lstStyle>
            <a:lvl1pPr algn="ctr">
              <a:buNone/>
              <a:defRPr sz="800"/>
            </a:lvl1pPr>
          </a:lstStyle>
          <a:p>
            <a:r>
              <a:rPr lang="en-GB" noProof="0"/>
              <a:t>Click on the icon to add chart</a:t>
            </a:r>
          </a:p>
        </p:txBody>
      </p:sp>
      <p:sp>
        <p:nvSpPr>
          <p:cNvPr id="14" name="Subtitle 1">
            <a:extLst>
              <a:ext uri="{FF2B5EF4-FFF2-40B4-BE49-F238E27FC236}">
                <a16:creationId xmlns:a16="http://schemas.microsoft.com/office/drawing/2014/main" id="{67982006-AFBB-0E47-AD42-44CEB05BBE12}"/>
              </a:ext>
            </a:extLst>
          </p:cNvPr>
          <p:cNvSpPr>
            <a:spLocks noGrp="1"/>
          </p:cNvSpPr>
          <p:nvPr>
            <p:ph type="body" sz="quarter" idx="20" hasCustomPrompt="1"/>
          </p:nvPr>
        </p:nvSpPr>
        <p:spPr>
          <a:xfrm>
            <a:off x="6228254" y="3390838"/>
            <a:ext cx="2595600" cy="355993"/>
          </a:xfrm>
        </p:spPr>
        <p:txBody>
          <a:bodyPr lIns="144000" rIns="144000" anchor="b"/>
          <a:lstStyle>
            <a:lvl1pPr marL="0" indent="0" algn="ctr">
              <a:lnSpc>
                <a:spcPct val="95000"/>
              </a:lnSpc>
              <a:spcBef>
                <a:spcPts val="0"/>
              </a:spcBef>
              <a:buNone/>
              <a:tabLst/>
              <a:defRPr sz="1800" b="1"/>
            </a:lvl1pPr>
            <a:lvl2pPr marL="0" indent="0">
              <a:buNone/>
              <a:tabLst/>
              <a:defRPr sz="1200"/>
            </a:lvl2pPr>
            <a:lvl3pPr marL="0" indent="0">
              <a:buNone/>
              <a:tabLst/>
              <a:defRPr sz="1200"/>
            </a:lvl3pPr>
            <a:lvl4pPr marL="0" indent="0">
              <a:buNone/>
              <a:tabLst/>
              <a:defRPr sz="1200"/>
            </a:lvl4pPr>
            <a:lvl5pPr marL="0" indent="0">
              <a:buNone/>
              <a:tabLst/>
              <a:defRPr sz="1200"/>
            </a:lvl5pPr>
          </a:lstStyle>
          <a:p>
            <a:pPr lvl="0"/>
            <a:r>
              <a:rPr lang="en-GB" noProof="0"/>
              <a:t>Click to add headline</a:t>
            </a:r>
          </a:p>
        </p:txBody>
      </p:sp>
      <p:sp>
        <p:nvSpPr>
          <p:cNvPr id="18" name="Text 3">
            <a:extLst>
              <a:ext uri="{FF2B5EF4-FFF2-40B4-BE49-F238E27FC236}">
                <a16:creationId xmlns:a16="http://schemas.microsoft.com/office/drawing/2014/main" id="{754D20A8-6A7E-3C4B-82E9-6F1713B7D670}"/>
              </a:ext>
            </a:extLst>
          </p:cNvPr>
          <p:cNvSpPr>
            <a:spLocks noGrp="1"/>
          </p:cNvSpPr>
          <p:nvPr>
            <p:ph type="body" sz="quarter" idx="21" hasCustomPrompt="1"/>
          </p:nvPr>
        </p:nvSpPr>
        <p:spPr>
          <a:xfrm>
            <a:off x="6225646" y="3777335"/>
            <a:ext cx="2598208" cy="918490"/>
          </a:xfrm>
        </p:spPr>
        <p:txBody>
          <a:bodyPr lIns="216000" rIns="216000"/>
          <a:lstStyle>
            <a:lvl1pPr marL="15875" indent="-15875" algn="ctr">
              <a:buNone/>
              <a:tabLst/>
              <a:defRPr sz="1400"/>
            </a:lvl1pPr>
            <a:lvl2pPr marL="15875" indent="-15875" algn="ctr">
              <a:buNone/>
              <a:tabLst/>
              <a:defRPr sz="1200"/>
            </a:lvl2pPr>
            <a:lvl3pPr marL="15875" indent="-15875" algn="ctr">
              <a:buNone/>
              <a:tabLst/>
              <a:defRPr sz="1200"/>
            </a:lvl3pPr>
            <a:lvl4pPr marL="15875" indent="-15875" algn="ctr">
              <a:buNone/>
              <a:tabLst/>
              <a:defRPr sz="1200"/>
            </a:lvl4pPr>
            <a:lvl5pPr marL="15875" indent="-15875" algn="ctr">
              <a:buNone/>
              <a:tabLst/>
              <a:defRPr sz="1200"/>
            </a:lvl5pPr>
          </a:lstStyle>
          <a:p>
            <a:pPr lvl="0"/>
            <a:r>
              <a:rPr lang="en-GB" noProof="0"/>
              <a:t>Click to add text</a:t>
            </a:r>
          </a:p>
        </p:txBody>
      </p:sp>
      <p:sp>
        <p:nvSpPr>
          <p:cNvPr id="2" name="Notes">
            <a:extLst>
              <a:ext uri="{FF2B5EF4-FFF2-40B4-BE49-F238E27FC236}">
                <a16:creationId xmlns:a16="http://schemas.microsoft.com/office/drawing/2014/main" id="{3F5A0366-B78C-8BBB-FBFD-59D31AD2FAEF}"/>
              </a:ext>
            </a:extLst>
          </p:cNvPr>
          <p:cNvSpPr>
            <a:spLocks noGrp="1"/>
          </p:cNvSpPr>
          <p:nvPr>
            <p:ph type="body" sz="quarter" idx="19" hasCustomPrompt="1"/>
          </p:nvPr>
        </p:nvSpPr>
        <p:spPr>
          <a:xfrm>
            <a:off x="6088675" y="4695825"/>
            <a:ext cx="2731476" cy="144463"/>
          </a:xfrm>
        </p:spPr>
        <p:txBody>
          <a:bodyPr lIns="111600" tIns="0" rIns="216000" bIns="18000" anchor="b"/>
          <a:lstStyle>
            <a:lvl1pPr marL="0" indent="0">
              <a:spcBef>
                <a:spcPts val="0"/>
              </a:spcBef>
              <a:buNone/>
              <a:tabLst/>
              <a:defRPr sz="600"/>
            </a:lvl1pPr>
            <a:lvl2pPr>
              <a:buNone/>
              <a:defRPr sz="800"/>
            </a:lvl2pPr>
            <a:lvl3pPr>
              <a:buNone/>
              <a:defRPr sz="800"/>
            </a:lvl3pPr>
            <a:lvl4pPr>
              <a:buNone/>
              <a:defRPr sz="800"/>
            </a:lvl4pPr>
            <a:lvl5pPr>
              <a:buNone/>
              <a:defRPr sz="800"/>
            </a:lvl5pPr>
          </a:lstStyle>
          <a:p>
            <a:pPr lvl="0"/>
            <a:r>
              <a:rPr lang="en-GB" noProof="0"/>
              <a:t>*Click to add footnotes</a:t>
            </a:r>
          </a:p>
        </p:txBody>
      </p:sp>
      <p:sp>
        <p:nvSpPr>
          <p:cNvPr id="38" name="Date">
            <a:extLst>
              <a:ext uri="{FF2B5EF4-FFF2-40B4-BE49-F238E27FC236}">
                <a16:creationId xmlns:a16="http://schemas.microsoft.com/office/drawing/2014/main" id="{9AD8DCC8-E09D-6045-BD4F-CD56F045E71F}"/>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A362BE1D-55E0-4CA9-9C2E-8B89FDBC6080}" type="datetime1">
              <a:rPr lang="sv-SE" noProof="0" smtClean="0"/>
              <a:t>2025-09-04</a:t>
            </a:fld>
            <a:endParaRPr lang="en-GB" noProof="0"/>
          </a:p>
        </p:txBody>
      </p:sp>
      <p:sp>
        <p:nvSpPr>
          <p:cNvPr id="39" name="Number">
            <a:extLst>
              <a:ext uri="{FF2B5EF4-FFF2-40B4-BE49-F238E27FC236}">
                <a16:creationId xmlns:a16="http://schemas.microsoft.com/office/drawing/2014/main" id="{8146F900-BA4E-2B4B-B712-8BFC2919DDD1}"/>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5" name="Footer">
            <a:extLst>
              <a:ext uri="{FF2B5EF4-FFF2-40B4-BE49-F238E27FC236}">
                <a16:creationId xmlns:a16="http://schemas.microsoft.com/office/drawing/2014/main" id="{75B76674-8D8E-5447-A5ED-487EED102E9F}"/>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3601694845"/>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5 Headline only">
    <p:bg>
      <p:bgPr>
        <a:solidFill>
          <a:schemeClr val="bg2"/>
        </a:solidFill>
        <a:effectLst/>
      </p:bgPr>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323848" y="525600"/>
            <a:ext cx="7056440" cy="1498314"/>
          </a:xfrm>
        </p:spPr>
        <p:txBody>
          <a:bodyPr rIns="144000"/>
          <a:lstStyle>
            <a:lvl1pPr>
              <a:defRPr sz="3000" spc="-50"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50" y="276226"/>
            <a:ext cx="4176713" cy="276999"/>
          </a:xfrm>
        </p:spPr>
        <p:txBody>
          <a:bodyPr lIns="111600" rIns="144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chapter tracker</a:t>
            </a:r>
          </a:p>
        </p:txBody>
      </p:sp>
      <p:sp>
        <p:nvSpPr>
          <p:cNvPr id="35" name="Date">
            <a:extLst>
              <a:ext uri="{FF2B5EF4-FFF2-40B4-BE49-F238E27FC236}">
                <a16:creationId xmlns:a16="http://schemas.microsoft.com/office/drawing/2014/main" id="{EBF909F0-CE1B-3D46-83B7-E4DA279DC19B}"/>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75CCE36C-7B7E-42A1-9597-C171D1F3DE6B}" type="datetime1">
              <a:rPr lang="sv-SE" noProof="0" smtClean="0"/>
              <a:t>2025-09-04</a:t>
            </a:fld>
            <a:endParaRPr lang="en-GB" noProof="0"/>
          </a:p>
        </p:txBody>
      </p:sp>
      <p:sp>
        <p:nvSpPr>
          <p:cNvPr id="36" name="Number">
            <a:extLst>
              <a:ext uri="{FF2B5EF4-FFF2-40B4-BE49-F238E27FC236}">
                <a16:creationId xmlns:a16="http://schemas.microsoft.com/office/drawing/2014/main" id="{EB2FF840-5D29-6845-91DA-E82490F28637}"/>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9" name="Footer">
            <a:extLst>
              <a:ext uri="{FF2B5EF4-FFF2-40B4-BE49-F238E27FC236}">
                <a16:creationId xmlns:a16="http://schemas.microsoft.com/office/drawing/2014/main" id="{616B5AAB-F6E7-9147-98E7-3D0B31E4B4D8}"/>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3789991845"/>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5 Full image">
    <p:spTree>
      <p:nvGrpSpPr>
        <p:cNvPr id="1" name=""/>
        <p:cNvGrpSpPr/>
        <p:nvPr/>
      </p:nvGrpSpPr>
      <p:grpSpPr>
        <a:xfrm>
          <a:off x="0" y="0"/>
          <a:ext cx="0" cy="0"/>
          <a:chOff x="0" y="0"/>
          <a:chExt cx="0" cy="0"/>
        </a:xfrm>
      </p:grpSpPr>
      <p:sp>
        <p:nvSpPr>
          <p:cNvPr id="3" name="Background image">
            <a:extLst>
              <a:ext uri="{FF2B5EF4-FFF2-40B4-BE49-F238E27FC236}">
                <a16:creationId xmlns:a16="http://schemas.microsoft.com/office/drawing/2014/main" id="{9F1AC932-946D-0741-A2C9-2D08F5084820}"/>
              </a:ext>
            </a:extLst>
          </p:cNvPr>
          <p:cNvSpPr>
            <a:spLocks noGrp="1"/>
          </p:cNvSpPr>
          <p:nvPr>
            <p:ph type="pic" sz="quarter" idx="10" hasCustomPrompt="1"/>
          </p:nvPr>
        </p:nvSpPr>
        <p:spPr>
          <a:xfrm>
            <a:off x="179388" y="158750"/>
            <a:ext cx="8785322" cy="4681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35" name="Date">
            <a:extLst>
              <a:ext uri="{FF2B5EF4-FFF2-40B4-BE49-F238E27FC236}">
                <a16:creationId xmlns:a16="http://schemas.microsoft.com/office/drawing/2014/main" id="{EBF909F0-CE1B-3D46-83B7-E4DA279DC19B}"/>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D73DA276-BCA7-4E62-A035-3D6793E80EDB}" type="datetime1">
              <a:rPr lang="sv-SE" noProof="0" smtClean="0"/>
              <a:t>2025-09-04</a:t>
            </a:fld>
            <a:endParaRPr lang="en-GB" noProof="0"/>
          </a:p>
        </p:txBody>
      </p:sp>
      <p:sp>
        <p:nvSpPr>
          <p:cNvPr id="36" name="Number">
            <a:extLst>
              <a:ext uri="{FF2B5EF4-FFF2-40B4-BE49-F238E27FC236}">
                <a16:creationId xmlns:a16="http://schemas.microsoft.com/office/drawing/2014/main" id="{EB2FF840-5D29-6845-91DA-E82490F28637}"/>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6" name="Footer">
            <a:extLst>
              <a:ext uri="{FF2B5EF4-FFF2-40B4-BE49-F238E27FC236}">
                <a16:creationId xmlns:a16="http://schemas.microsoft.com/office/drawing/2014/main" id="{FD8AC7D3-A9FD-F249-A363-5AE59D634F07}"/>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
        <p:nvSpPr>
          <p:cNvPr id="4" name="Title 2">
            <a:extLst>
              <a:ext uri="{FF2B5EF4-FFF2-40B4-BE49-F238E27FC236}">
                <a16:creationId xmlns:a16="http://schemas.microsoft.com/office/drawing/2014/main" id="{28672C7D-DCE5-CFD2-2545-B2F04897613F}"/>
              </a:ext>
            </a:extLst>
          </p:cNvPr>
          <p:cNvSpPr>
            <a:spLocks noGrp="1"/>
          </p:cNvSpPr>
          <p:nvPr>
            <p:ph type="title" hasCustomPrompt="1"/>
          </p:nvPr>
        </p:nvSpPr>
        <p:spPr>
          <a:xfrm>
            <a:off x="323850" y="-1070389"/>
            <a:ext cx="8496300" cy="527051"/>
          </a:xfrm>
        </p:spPr>
        <p:txBody>
          <a:bodyPr/>
          <a:lstStyle>
            <a:lvl1pPr marL="0" marR="0" indent="0" algn="l" defTabSz="685800" rtl="0" eaLnBrk="1" fontAlgn="auto" latinLnBrk="0" hangingPunct="1">
              <a:lnSpc>
                <a:spcPct val="95000"/>
              </a:lnSpc>
              <a:spcBef>
                <a:spcPct val="0"/>
              </a:spcBef>
              <a:spcAft>
                <a:spcPts val="0"/>
              </a:spcAft>
              <a:buClrTx/>
              <a:buSzTx/>
              <a:buFontTx/>
              <a:buNone/>
              <a:tabLst/>
              <a:defRPr/>
            </a:lvl1pPr>
          </a:lstStyle>
          <a:p>
            <a:r>
              <a:rPr lang="en-GB"/>
              <a:t>Click to add hidden slide title for accessibility</a:t>
            </a:r>
          </a:p>
        </p:txBody>
      </p:sp>
    </p:spTree>
    <p:extLst>
      <p:ext uri="{BB962C8B-B14F-4D97-AF65-F5344CB8AC3E}">
        <p14:creationId xmlns:p14="http://schemas.microsoft.com/office/powerpoint/2010/main" val="1581328072"/>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5 Two images">
    <p:spTree>
      <p:nvGrpSpPr>
        <p:cNvPr id="1" name=""/>
        <p:cNvGrpSpPr/>
        <p:nvPr/>
      </p:nvGrpSpPr>
      <p:grpSpPr>
        <a:xfrm>
          <a:off x="0" y="0"/>
          <a:ext cx="0" cy="0"/>
          <a:chOff x="0" y="0"/>
          <a:chExt cx="0" cy="0"/>
        </a:xfrm>
      </p:grpSpPr>
      <p:sp>
        <p:nvSpPr>
          <p:cNvPr id="9" name="Image 1">
            <a:extLst>
              <a:ext uri="{FF2B5EF4-FFF2-40B4-BE49-F238E27FC236}">
                <a16:creationId xmlns:a16="http://schemas.microsoft.com/office/drawing/2014/main" id="{C852BE8F-C448-8C49-AD64-836FAF5E88FE}"/>
              </a:ext>
            </a:extLst>
          </p:cNvPr>
          <p:cNvSpPr>
            <a:spLocks noGrp="1"/>
          </p:cNvSpPr>
          <p:nvPr>
            <p:ph type="pic" sz="quarter" idx="16" hasCustomPrompt="1"/>
          </p:nvPr>
        </p:nvSpPr>
        <p:spPr>
          <a:xfrm>
            <a:off x="179388" y="158750"/>
            <a:ext cx="4321272" cy="4681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4" name="Image 2">
            <a:extLst>
              <a:ext uri="{FF2B5EF4-FFF2-40B4-BE49-F238E27FC236}">
                <a16:creationId xmlns:a16="http://schemas.microsoft.com/office/drawing/2014/main" id="{0C18E683-E62F-A04E-9D50-572DEA18E067}"/>
              </a:ext>
            </a:extLst>
          </p:cNvPr>
          <p:cNvSpPr>
            <a:spLocks noGrp="1"/>
          </p:cNvSpPr>
          <p:nvPr>
            <p:ph type="pic" sz="quarter" idx="15" hasCustomPrompt="1"/>
          </p:nvPr>
        </p:nvSpPr>
        <p:spPr>
          <a:xfrm>
            <a:off x="4643439" y="158750"/>
            <a:ext cx="4321272" cy="4681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38" name="Date">
            <a:extLst>
              <a:ext uri="{FF2B5EF4-FFF2-40B4-BE49-F238E27FC236}">
                <a16:creationId xmlns:a16="http://schemas.microsoft.com/office/drawing/2014/main" id="{B7D04508-015B-A24C-A068-9517A03041E5}"/>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F3D41739-C813-41A1-A8F4-D82177D3AC9A}" type="datetime1">
              <a:rPr lang="sv-SE" noProof="0" smtClean="0"/>
              <a:t>2025-09-04</a:t>
            </a:fld>
            <a:endParaRPr lang="en-GB" noProof="0"/>
          </a:p>
        </p:txBody>
      </p:sp>
      <p:sp>
        <p:nvSpPr>
          <p:cNvPr id="39" name="Number">
            <a:extLst>
              <a:ext uri="{FF2B5EF4-FFF2-40B4-BE49-F238E27FC236}">
                <a16:creationId xmlns:a16="http://schemas.microsoft.com/office/drawing/2014/main" id="{24E3E452-24F0-1B44-9014-429AC576B5B6}"/>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0" name="Footer">
            <a:extLst>
              <a:ext uri="{FF2B5EF4-FFF2-40B4-BE49-F238E27FC236}">
                <a16:creationId xmlns:a16="http://schemas.microsoft.com/office/drawing/2014/main" id="{9F273896-B1DA-2A4A-9AEB-368D26B986DD}"/>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
        <p:nvSpPr>
          <p:cNvPr id="3" name="Title 2">
            <a:extLst>
              <a:ext uri="{FF2B5EF4-FFF2-40B4-BE49-F238E27FC236}">
                <a16:creationId xmlns:a16="http://schemas.microsoft.com/office/drawing/2014/main" id="{9E90457A-1E8B-A709-A93F-F3C7D424C64C}"/>
              </a:ext>
            </a:extLst>
          </p:cNvPr>
          <p:cNvSpPr>
            <a:spLocks noGrp="1"/>
          </p:cNvSpPr>
          <p:nvPr>
            <p:ph type="title" hasCustomPrompt="1"/>
          </p:nvPr>
        </p:nvSpPr>
        <p:spPr>
          <a:xfrm>
            <a:off x="323850" y="-1070389"/>
            <a:ext cx="8496300" cy="527051"/>
          </a:xfrm>
        </p:spPr>
        <p:txBody>
          <a:bodyPr/>
          <a:lstStyle>
            <a:lvl1pPr marL="0" marR="0" indent="0" algn="l" defTabSz="685800" rtl="0" eaLnBrk="1" fontAlgn="auto" latinLnBrk="0" hangingPunct="1">
              <a:lnSpc>
                <a:spcPct val="95000"/>
              </a:lnSpc>
              <a:spcBef>
                <a:spcPct val="0"/>
              </a:spcBef>
              <a:spcAft>
                <a:spcPts val="0"/>
              </a:spcAft>
              <a:buClrTx/>
              <a:buSzTx/>
              <a:buFontTx/>
              <a:buNone/>
              <a:tabLst/>
              <a:defRPr/>
            </a:lvl1pPr>
          </a:lstStyle>
          <a:p>
            <a:r>
              <a:rPr lang="en-GB"/>
              <a:t>Click to add hidden slide title for accessibility</a:t>
            </a:r>
          </a:p>
        </p:txBody>
      </p:sp>
    </p:spTree>
    <p:extLst>
      <p:ext uri="{BB962C8B-B14F-4D97-AF65-F5344CB8AC3E}">
        <p14:creationId xmlns:p14="http://schemas.microsoft.com/office/powerpoint/2010/main" val="4186338674"/>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5 Three images">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D399CB98-9BA7-CFDB-3697-ED7EBD8E96D1}"/>
              </a:ext>
            </a:extLst>
          </p:cNvPr>
          <p:cNvSpPr>
            <a:spLocks noGrp="1"/>
          </p:cNvSpPr>
          <p:nvPr>
            <p:ph type="title" hasCustomPrompt="1"/>
          </p:nvPr>
        </p:nvSpPr>
        <p:spPr>
          <a:xfrm>
            <a:off x="323850" y="-1070389"/>
            <a:ext cx="8496300" cy="527051"/>
          </a:xfrm>
        </p:spPr>
        <p:txBody>
          <a:bodyPr/>
          <a:lstStyle>
            <a:lvl1pPr marL="0" marR="0" indent="0" algn="l" defTabSz="685800" rtl="0" eaLnBrk="1" fontAlgn="auto" latinLnBrk="0" hangingPunct="1">
              <a:lnSpc>
                <a:spcPct val="95000"/>
              </a:lnSpc>
              <a:spcBef>
                <a:spcPct val="0"/>
              </a:spcBef>
              <a:spcAft>
                <a:spcPts val="0"/>
              </a:spcAft>
              <a:buClrTx/>
              <a:buSzTx/>
              <a:buFontTx/>
              <a:buNone/>
              <a:tabLst/>
              <a:defRPr/>
            </a:lvl1pPr>
          </a:lstStyle>
          <a:p>
            <a:r>
              <a:rPr lang="en-GB"/>
              <a:t>Click to add hidden slide title for accessibility</a:t>
            </a:r>
          </a:p>
        </p:txBody>
      </p:sp>
      <p:sp>
        <p:nvSpPr>
          <p:cNvPr id="9" name="Image 1">
            <a:extLst>
              <a:ext uri="{FF2B5EF4-FFF2-40B4-BE49-F238E27FC236}">
                <a16:creationId xmlns:a16="http://schemas.microsoft.com/office/drawing/2014/main" id="{C852BE8F-C448-8C49-AD64-836FAF5E88FE}"/>
              </a:ext>
            </a:extLst>
          </p:cNvPr>
          <p:cNvSpPr>
            <a:spLocks noGrp="1"/>
          </p:cNvSpPr>
          <p:nvPr>
            <p:ph type="pic" sz="quarter" idx="16" hasCustomPrompt="1"/>
          </p:nvPr>
        </p:nvSpPr>
        <p:spPr>
          <a:xfrm>
            <a:off x="179388" y="158750"/>
            <a:ext cx="2879725" cy="4681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4" name="Image 2">
            <a:extLst>
              <a:ext uri="{FF2B5EF4-FFF2-40B4-BE49-F238E27FC236}">
                <a16:creationId xmlns:a16="http://schemas.microsoft.com/office/drawing/2014/main" id="{0C18E683-E62F-A04E-9D50-572DEA18E067}"/>
              </a:ext>
            </a:extLst>
          </p:cNvPr>
          <p:cNvSpPr>
            <a:spLocks noGrp="1"/>
          </p:cNvSpPr>
          <p:nvPr>
            <p:ph type="pic" sz="quarter" idx="15" hasCustomPrompt="1"/>
          </p:nvPr>
        </p:nvSpPr>
        <p:spPr>
          <a:xfrm>
            <a:off x="3203575" y="158750"/>
            <a:ext cx="2736850" cy="4681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38" name="Date">
            <a:extLst>
              <a:ext uri="{FF2B5EF4-FFF2-40B4-BE49-F238E27FC236}">
                <a16:creationId xmlns:a16="http://schemas.microsoft.com/office/drawing/2014/main" id="{B7D04508-015B-A24C-A068-9517A03041E5}"/>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8F818DD0-218E-4639-85C5-C0EF2D2FDA43}" type="datetime1">
              <a:rPr lang="sv-SE" noProof="0" smtClean="0"/>
              <a:t>2025-09-04</a:t>
            </a:fld>
            <a:endParaRPr lang="en-GB" noProof="0"/>
          </a:p>
        </p:txBody>
      </p:sp>
      <p:sp>
        <p:nvSpPr>
          <p:cNvPr id="39" name="Number">
            <a:extLst>
              <a:ext uri="{FF2B5EF4-FFF2-40B4-BE49-F238E27FC236}">
                <a16:creationId xmlns:a16="http://schemas.microsoft.com/office/drawing/2014/main" id="{24E3E452-24F0-1B44-9014-429AC576B5B6}"/>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0" name="Footer">
            <a:extLst>
              <a:ext uri="{FF2B5EF4-FFF2-40B4-BE49-F238E27FC236}">
                <a16:creationId xmlns:a16="http://schemas.microsoft.com/office/drawing/2014/main" id="{9F273896-B1DA-2A4A-9AEB-368D26B986DD}"/>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
        <p:nvSpPr>
          <p:cNvPr id="2" name="Image 2">
            <a:extLst>
              <a:ext uri="{FF2B5EF4-FFF2-40B4-BE49-F238E27FC236}">
                <a16:creationId xmlns:a16="http://schemas.microsoft.com/office/drawing/2014/main" id="{C72FD3F2-4994-9ADB-A736-35984BB35643}"/>
              </a:ext>
            </a:extLst>
          </p:cNvPr>
          <p:cNvSpPr>
            <a:spLocks noGrp="1"/>
          </p:cNvSpPr>
          <p:nvPr>
            <p:ph type="pic" sz="quarter" idx="17" hasCustomPrompt="1"/>
          </p:nvPr>
        </p:nvSpPr>
        <p:spPr>
          <a:xfrm>
            <a:off x="6084790" y="158750"/>
            <a:ext cx="2879823" cy="4681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Tree>
    <p:extLst>
      <p:ext uri="{BB962C8B-B14F-4D97-AF65-F5344CB8AC3E}">
        <p14:creationId xmlns:p14="http://schemas.microsoft.com/office/powerpoint/2010/main" val="4138080280"/>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5 Four images">
    <p:spTree>
      <p:nvGrpSpPr>
        <p:cNvPr id="1" name=""/>
        <p:cNvGrpSpPr/>
        <p:nvPr/>
      </p:nvGrpSpPr>
      <p:grpSpPr>
        <a:xfrm>
          <a:off x="0" y="0"/>
          <a:ext cx="0" cy="0"/>
          <a:chOff x="0" y="0"/>
          <a:chExt cx="0" cy="0"/>
        </a:xfrm>
      </p:grpSpPr>
      <p:sp>
        <p:nvSpPr>
          <p:cNvPr id="3" name="Image 1">
            <a:extLst>
              <a:ext uri="{FF2B5EF4-FFF2-40B4-BE49-F238E27FC236}">
                <a16:creationId xmlns:a16="http://schemas.microsoft.com/office/drawing/2014/main" id="{9F1AC932-946D-0741-A2C9-2D08F5084820}"/>
              </a:ext>
            </a:extLst>
          </p:cNvPr>
          <p:cNvSpPr>
            <a:spLocks noGrp="1"/>
          </p:cNvSpPr>
          <p:nvPr>
            <p:ph type="pic" sz="quarter" idx="10" hasCustomPrompt="1"/>
          </p:nvPr>
        </p:nvSpPr>
        <p:spPr>
          <a:xfrm>
            <a:off x="179388" y="158750"/>
            <a:ext cx="4321175" cy="2268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7" name="Image 2">
            <a:extLst>
              <a:ext uri="{FF2B5EF4-FFF2-40B4-BE49-F238E27FC236}">
                <a16:creationId xmlns:a16="http://schemas.microsoft.com/office/drawing/2014/main" id="{B114F85C-8B26-BE4A-B292-29FD00F542C6}"/>
              </a:ext>
            </a:extLst>
          </p:cNvPr>
          <p:cNvSpPr>
            <a:spLocks noGrp="1"/>
          </p:cNvSpPr>
          <p:nvPr>
            <p:ph type="pic" sz="quarter" idx="11" hasCustomPrompt="1"/>
          </p:nvPr>
        </p:nvSpPr>
        <p:spPr>
          <a:xfrm>
            <a:off x="4643439" y="158750"/>
            <a:ext cx="4321175" cy="2268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8" name="Image 3">
            <a:extLst>
              <a:ext uri="{FF2B5EF4-FFF2-40B4-BE49-F238E27FC236}">
                <a16:creationId xmlns:a16="http://schemas.microsoft.com/office/drawing/2014/main" id="{C1764068-BB7E-844C-8FE4-5E6E64CD8234}"/>
              </a:ext>
            </a:extLst>
          </p:cNvPr>
          <p:cNvSpPr>
            <a:spLocks noGrp="1"/>
          </p:cNvSpPr>
          <p:nvPr>
            <p:ph type="pic" sz="quarter" idx="12" hasCustomPrompt="1"/>
          </p:nvPr>
        </p:nvSpPr>
        <p:spPr>
          <a:xfrm>
            <a:off x="179388" y="2572849"/>
            <a:ext cx="4321175" cy="2267439"/>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9" name="Image 4">
            <a:extLst>
              <a:ext uri="{FF2B5EF4-FFF2-40B4-BE49-F238E27FC236}">
                <a16:creationId xmlns:a16="http://schemas.microsoft.com/office/drawing/2014/main" id="{8DDF5D38-B4FD-9A4D-B8B3-F65485F88AA0}"/>
              </a:ext>
            </a:extLst>
          </p:cNvPr>
          <p:cNvSpPr>
            <a:spLocks noGrp="1"/>
          </p:cNvSpPr>
          <p:nvPr>
            <p:ph type="pic" sz="quarter" idx="13" hasCustomPrompt="1"/>
          </p:nvPr>
        </p:nvSpPr>
        <p:spPr>
          <a:xfrm>
            <a:off x="4643439" y="2572849"/>
            <a:ext cx="4321175" cy="2267439"/>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35" name="Date">
            <a:extLst>
              <a:ext uri="{FF2B5EF4-FFF2-40B4-BE49-F238E27FC236}">
                <a16:creationId xmlns:a16="http://schemas.microsoft.com/office/drawing/2014/main" id="{EBF909F0-CE1B-3D46-83B7-E4DA279DC19B}"/>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DAD16172-D19A-42FE-983E-CACDF07C06B6}" type="datetime1">
              <a:rPr lang="sv-SE" noProof="0" smtClean="0"/>
              <a:t>2025-09-04</a:t>
            </a:fld>
            <a:endParaRPr lang="en-GB" noProof="0"/>
          </a:p>
        </p:txBody>
      </p:sp>
      <p:sp>
        <p:nvSpPr>
          <p:cNvPr id="36" name="Number">
            <a:extLst>
              <a:ext uri="{FF2B5EF4-FFF2-40B4-BE49-F238E27FC236}">
                <a16:creationId xmlns:a16="http://schemas.microsoft.com/office/drawing/2014/main" id="{EB2FF840-5D29-6845-91DA-E82490F28637}"/>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6" name="Footer">
            <a:extLst>
              <a:ext uri="{FF2B5EF4-FFF2-40B4-BE49-F238E27FC236}">
                <a16:creationId xmlns:a16="http://schemas.microsoft.com/office/drawing/2014/main" id="{FD8AC7D3-A9FD-F249-A363-5AE59D634F07}"/>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
        <p:nvSpPr>
          <p:cNvPr id="4" name="Title 2">
            <a:extLst>
              <a:ext uri="{FF2B5EF4-FFF2-40B4-BE49-F238E27FC236}">
                <a16:creationId xmlns:a16="http://schemas.microsoft.com/office/drawing/2014/main" id="{AB2AA291-301E-E4D8-C68C-DA421E8FDFBC}"/>
              </a:ext>
            </a:extLst>
          </p:cNvPr>
          <p:cNvSpPr>
            <a:spLocks noGrp="1"/>
          </p:cNvSpPr>
          <p:nvPr>
            <p:ph type="title" hasCustomPrompt="1"/>
          </p:nvPr>
        </p:nvSpPr>
        <p:spPr>
          <a:xfrm>
            <a:off x="323850" y="-1070389"/>
            <a:ext cx="8496300" cy="527051"/>
          </a:xfrm>
        </p:spPr>
        <p:txBody>
          <a:bodyPr/>
          <a:lstStyle>
            <a:lvl1pPr marL="0" marR="0" indent="0" algn="l" defTabSz="685800" rtl="0" eaLnBrk="1" fontAlgn="auto" latinLnBrk="0" hangingPunct="1">
              <a:lnSpc>
                <a:spcPct val="95000"/>
              </a:lnSpc>
              <a:spcBef>
                <a:spcPct val="0"/>
              </a:spcBef>
              <a:spcAft>
                <a:spcPts val="0"/>
              </a:spcAft>
              <a:buClrTx/>
              <a:buSzTx/>
              <a:buFontTx/>
              <a:buNone/>
              <a:tabLst/>
              <a:defRPr/>
            </a:lvl1pPr>
          </a:lstStyle>
          <a:p>
            <a:r>
              <a:rPr lang="en-GB"/>
              <a:t>Click to add hidden slide title for accessibility</a:t>
            </a:r>
          </a:p>
        </p:txBody>
      </p:sp>
    </p:spTree>
    <p:extLst>
      <p:ext uri="{BB962C8B-B14F-4D97-AF65-F5344CB8AC3E}">
        <p14:creationId xmlns:p14="http://schemas.microsoft.com/office/powerpoint/2010/main" val="1897687470"/>
      </p:ext>
    </p:extLst>
  </p:cSld>
  <p:clrMapOvr>
    <a:masterClrMapping/>
  </p:clrMapOvr>
  <p:extLst>
    <p:ext uri="{DCECCB84-F9BA-43D5-87BE-67443E8EF086}">
      <p15:sldGuideLst xmlns:p15="http://schemas.microsoft.com/office/powerpoint/2012/main">
        <p15:guide id="1" orient="horz" pos="1575">
          <p15:clr>
            <a:srgbClr val="FBAE40"/>
          </p15:clr>
        </p15:guide>
        <p15:guide id="2" orient="horz" pos="1620">
          <p15:clr>
            <a:srgbClr val="FBAE40"/>
          </p15:clr>
        </p15:guide>
        <p15:guide id="3" orient="horz" pos="1529">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 Six images">
    <p:spTree>
      <p:nvGrpSpPr>
        <p:cNvPr id="1" name=""/>
        <p:cNvGrpSpPr/>
        <p:nvPr/>
      </p:nvGrpSpPr>
      <p:grpSpPr>
        <a:xfrm>
          <a:off x="0" y="0"/>
          <a:ext cx="0" cy="0"/>
          <a:chOff x="0" y="0"/>
          <a:chExt cx="0" cy="0"/>
        </a:xfrm>
      </p:grpSpPr>
      <p:sp>
        <p:nvSpPr>
          <p:cNvPr id="3" name="Image 1">
            <a:extLst>
              <a:ext uri="{FF2B5EF4-FFF2-40B4-BE49-F238E27FC236}">
                <a16:creationId xmlns:a16="http://schemas.microsoft.com/office/drawing/2014/main" id="{9F1AC932-946D-0741-A2C9-2D08F5084820}"/>
              </a:ext>
            </a:extLst>
          </p:cNvPr>
          <p:cNvSpPr>
            <a:spLocks noGrp="1"/>
          </p:cNvSpPr>
          <p:nvPr>
            <p:ph type="pic" sz="quarter" idx="10" hasCustomPrompt="1"/>
          </p:nvPr>
        </p:nvSpPr>
        <p:spPr>
          <a:xfrm>
            <a:off x="179388" y="158750"/>
            <a:ext cx="2879725" cy="2268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7" name="Image 2">
            <a:extLst>
              <a:ext uri="{FF2B5EF4-FFF2-40B4-BE49-F238E27FC236}">
                <a16:creationId xmlns:a16="http://schemas.microsoft.com/office/drawing/2014/main" id="{B114F85C-8B26-BE4A-B292-29FD00F542C6}"/>
              </a:ext>
            </a:extLst>
          </p:cNvPr>
          <p:cNvSpPr>
            <a:spLocks noGrp="1"/>
          </p:cNvSpPr>
          <p:nvPr>
            <p:ph type="pic" sz="quarter" idx="11" hasCustomPrompt="1"/>
          </p:nvPr>
        </p:nvSpPr>
        <p:spPr>
          <a:xfrm>
            <a:off x="3203576" y="158750"/>
            <a:ext cx="2736850" cy="2268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8" name="Image 3">
            <a:extLst>
              <a:ext uri="{FF2B5EF4-FFF2-40B4-BE49-F238E27FC236}">
                <a16:creationId xmlns:a16="http://schemas.microsoft.com/office/drawing/2014/main" id="{C1764068-BB7E-844C-8FE4-5E6E64CD8234}"/>
              </a:ext>
            </a:extLst>
          </p:cNvPr>
          <p:cNvSpPr>
            <a:spLocks noGrp="1"/>
          </p:cNvSpPr>
          <p:nvPr>
            <p:ph type="pic" sz="quarter" idx="12" hasCustomPrompt="1"/>
          </p:nvPr>
        </p:nvSpPr>
        <p:spPr>
          <a:xfrm>
            <a:off x="179388" y="2572849"/>
            <a:ext cx="2879725" cy="2267439"/>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9" name="Image 4">
            <a:extLst>
              <a:ext uri="{FF2B5EF4-FFF2-40B4-BE49-F238E27FC236}">
                <a16:creationId xmlns:a16="http://schemas.microsoft.com/office/drawing/2014/main" id="{8DDF5D38-B4FD-9A4D-B8B3-F65485F88AA0}"/>
              </a:ext>
            </a:extLst>
          </p:cNvPr>
          <p:cNvSpPr>
            <a:spLocks noGrp="1"/>
          </p:cNvSpPr>
          <p:nvPr>
            <p:ph type="pic" sz="quarter" idx="13" hasCustomPrompt="1"/>
          </p:nvPr>
        </p:nvSpPr>
        <p:spPr>
          <a:xfrm>
            <a:off x="3203576" y="2572849"/>
            <a:ext cx="2736850" cy="2267439"/>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35" name="Date">
            <a:extLst>
              <a:ext uri="{FF2B5EF4-FFF2-40B4-BE49-F238E27FC236}">
                <a16:creationId xmlns:a16="http://schemas.microsoft.com/office/drawing/2014/main" id="{EBF909F0-CE1B-3D46-83B7-E4DA279DC19B}"/>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63933CD9-D960-481C-B9B8-013878227435}" type="datetime1">
              <a:rPr lang="sv-SE" noProof="0" smtClean="0"/>
              <a:t>2025-09-04</a:t>
            </a:fld>
            <a:endParaRPr lang="en-GB" noProof="0"/>
          </a:p>
        </p:txBody>
      </p:sp>
      <p:sp>
        <p:nvSpPr>
          <p:cNvPr id="36" name="Number">
            <a:extLst>
              <a:ext uri="{FF2B5EF4-FFF2-40B4-BE49-F238E27FC236}">
                <a16:creationId xmlns:a16="http://schemas.microsoft.com/office/drawing/2014/main" id="{EB2FF840-5D29-6845-91DA-E82490F28637}"/>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6" name="Footer">
            <a:extLst>
              <a:ext uri="{FF2B5EF4-FFF2-40B4-BE49-F238E27FC236}">
                <a16:creationId xmlns:a16="http://schemas.microsoft.com/office/drawing/2014/main" id="{FD8AC7D3-A9FD-F249-A363-5AE59D634F07}"/>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
        <p:nvSpPr>
          <p:cNvPr id="2" name="Image 2">
            <a:extLst>
              <a:ext uri="{FF2B5EF4-FFF2-40B4-BE49-F238E27FC236}">
                <a16:creationId xmlns:a16="http://schemas.microsoft.com/office/drawing/2014/main" id="{02DD7F0D-E344-5F7D-F045-DAEEF5AE28C9}"/>
              </a:ext>
            </a:extLst>
          </p:cNvPr>
          <p:cNvSpPr>
            <a:spLocks noGrp="1"/>
          </p:cNvSpPr>
          <p:nvPr>
            <p:ph type="pic" sz="quarter" idx="14" hasCustomPrompt="1"/>
          </p:nvPr>
        </p:nvSpPr>
        <p:spPr>
          <a:xfrm>
            <a:off x="6084887" y="158750"/>
            <a:ext cx="2879725" cy="2268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4" name="Image 4">
            <a:extLst>
              <a:ext uri="{FF2B5EF4-FFF2-40B4-BE49-F238E27FC236}">
                <a16:creationId xmlns:a16="http://schemas.microsoft.com/office/drawing/2014/main" id="{4924E6F1-E4D4-87E9-BB5A-D23BF872EA9D}"/>
              </a:ext>
            </a:extLst>
          </p:cNvPr>
          <p:cNvSpPr>
            <a:spLocks noGrp="1"/>
          </p:cNvSpPr>
          <p:nvPr>
            <p:ph type="pic" sz="quarter" idx="15" hasCustomPrompt="1"/>
          </p:nvPr>
        </p:nvSpPr>
        <p:spPr>
          <a:xfrm>
            <a:off x="6084887" y="2572849"/>
            <a:ext cx="2879725" cy="2267439"/>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5" name="Title 2">
            <a:extLst>
              <a:ext uri="{FF2B5EF4-FFF2-40B4-BE49-F238E27FC236}">
                <a16:creationId xmlns:a16="http://schemas.microsoft.com/office/drawing/2014/main" id="{A596F735-0BE6-4D98-4F77-F6784011D5F5}"/>
              </a:ext>
            </a:extLst>
          </p:cNvPr>
          <p:cNvSpPr>
            <a:spLocks noGrp="1"/>
          </p:cNvSpPr>
          <p:nvPr>
            <p:ph type="title" hasCustomPrompt="1"/>
          </p:nvPr>
        </p:nvSpPr>
        <p:spPr>
          <a:xfrm>
            <a:off x="323850" y="-1070389"/>
            <a:ext cx="8496300" cy="527051"/>
          </a:xfrm>
        </p:spPr>
        <p:txBody>
          <a:bodyPr/>
          <a:lstStyle>
            <a:lvl1pPr marL="0" marR="0" indent="0" algn="l" defTabSz="685800" rtl="0" eaLnBrk="1" fontAlgn="auto" latinLnBrk="0" hangingPunct="1">
              <a:lnSpc>
                <a:spcPct val="95000"/>
              </a:lnSpc>
              <a:spcBef>
                <a:spcPct val="0"/>
              </a:spcBef>
              <a:spcAft>
                <a:spcPts val="0"/>
              </a:spcAft>
              <a:buClrTx/>
              <a:buSzTx/>
              <a:buFontTx/>
              <a:buNone/>
              <a:tabLst/>
              <a:defRPr/>
            </a:lvl1pPr>
          </a:lstStyle>
          <a:p>
            <a:r>
              <a:rPr lang="en-GB"/>
              <a:t>Click to add hidden slide title for accessibility</a:t>
            </a:r>
          </a:p>
        </p:txBody>
      </p:sp>
    </p:spTree>
    <p:extLst>
      <p:ext uri="{BB962C8B-B14F-4D97-AF65-F5344CB8AC3E}">
        <p14:creationId xmlns:p14="http://schemas.microsoft.com/office/powerpoint/2010/main" val="4124240255"/>
      </p:ext>
    </p:extLst>
  </p:cSld>
  <p:clrMapOvr>
    <a:masterClrMapping/>
  </p:clrMapOvr>
  <p:extLst>
    <p:ext uri="{DCECCB84-F9BA-43D5-87BE-67443E8EF086}">
      <p15:sldGuideLst xmlns:p15="http://schemas.microsoft.com/office/powerpoint/2012/main">
        <p15:guide id="1" orient="horz" pos="1575">
          <p15:clr>
            <a:srgbClr val="FBAE40"/>
          </p15:clr>
        </p15:guide>
        <p15:guide id="2" orient="horz" pos="1620">
          <p15:clr>
            <a:srgbClr val="FBAE40"/>
          </p15:clr>
        </p15:guide>
        <p15:guide id="3" orient="horz" pos="1529">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 Full screen Video">
    <p:spTree>
      <p:nvGrpSpPr>
        <p:cNvPr id="1" name=""/>
        <p:cNvGrpSpPr/>
        <p:nvPr/>
      </p:nvGrpSpPr>
      <p:grpSpPr>
        <a:xfrm>
          <a:off x="0" y="0"/>
          <a:ext cx="0" cy="0"/>
          <a:chOff x="0" y="0"/>
          <a:chExt cx="0" cy="0"/>
        </a:xfrm>
      </p:grpSpPr>
      <p:sp>
        <p:nvSpPr>
          <p:cNvPr id="5" name="Video">
            <a:extLst>
              <a:ext uri="{FF2B5EF4-FFF2-40B4-BE49-F238E27FC236}">
                <a16:creationId xmlns:a16="http://schemas.microsoft.com/office/drawing/2014/main" id="{426C75EA-3F6F-404B-9ADF-CF64EAB80C72}"/>
              </a:ext>
            </a:extLst>
          </p:cNvPr>
          <p:cNvSpPr>
            <a:spLocks noGrp="1"/>
          </p:cNvSpPr>
          <p:nvPr>
            <p:ph type="media" sz="quarter" idx="10" hasCustomPrompt="1"/>
          </p:nvPr>
        </p:nvSpPr>
        <p:spPr>
          <a:xfrm>
            <a:off x="0" y="0"/>
            <a:ext cx="9144000" cy="5143500"/>
          </a:xfrm>
          <a:blipFill>
            <a:blip r:embed="rId2"/>
            <a:tile tx="0" ty="0" sx="100000" sy="100000" flip="none" algn="tl"/>
          </a:blipFill>
        </p:spPr>
        <p:txBody>
          <a:bodyPr/>
          <a:lstStyle>
            <a:lvl1pPr marL="17463" indent="-17463" algn="ctr">
              <a:buNone/>
              <a:tabLst/>
              <a:defRPr sz="800">
                <a:solidFill>
                  <a:schemeClr val="bg1">
                    <a:lumMod val="75000"/>
                  </a:schemeClr>
                </a:solidFill>
              </a:defRPr>
            </a:lvl1pPr>
          </a:lstStyle>
          <a:p>
            <a:r>
              <a:rPr lang="en-GB" sz="800" noProof="0"/>
              <a:t>Click on the icon to add video</a:t>
            </a:r>
            <a:endParaRPr lang="en-GB" noProof="0"/>
          </a:p>
        </p:txBody>
      </p:sp>
      <p:sp>
        <p:nvSpPr>
          <p:cNvPr id="35" name="Date">
            <a:extLst>
              <a:ext uri="{FF2B5EF4-FFF2-40B4-BE49-F238E27FC236}">
                <a16:creationId xmlns:a16="http://schemas.microsoft.com/office/drawing/2014/main" id="{EBF909F0-CE1B-3D46-83B7-E4DA279DC19B}"/>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3791E9D4-A0AA-4D60-8F3B-E640207372C2}" type="datetime1">
              <a:rPr lang="sv-SE" noProof="0" smtClean="0"/>
              <a:t>2025-09-04</a:t>
            </a:fld>
            <a:endParaRPr lang="en-GB" noProof="0"/>
          </a:p>
        </p:txBody>
      </p:sp>
      <p:sp>
        <p:nvSpPr>
          <p:cNvPr id="36" name="Number">
            <a:extLst>
              <a:ext uri="{FF2B5EF4-FFF2-40B4-BE49-F238E27FC236}">
                <a16:creationId xmlns:a16="http://schemas.microsoft.com/office/drawing/2014/main" id="{EB2FF840-5D29-6845-91DA-E82490F28637}"/>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6" name="Footer">
            <a:extLst>
              <a:ext uri="{FF2B5EF4-FFF2-40B4-BE49-F238E27FC236}">
                <a16:creationId xmlns:a16="http://schemas.microsoft.com/office/drawing/2014/main" id="{FD7C421D-A908-E241-99C0-BB3A8F81B258}"/>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
        <p:nvSpPr>
          <p:cNvPr id="2" name="Title 2">
            <a:extLst>
              <a:ext uri="{FF2B5EF4-FFF2-40B4-BE49-F238E27FC236}">
                <a16:creationId xmlns:a16="http://schemas.microsoft.com/office/drawing/2014/main" id="{AA97018A-ADC7-6A52-3431-F632FAA90CEF}"/>
              </a:ext>
            </a:extLst>
          </p:cNvPr>
          <p:cNvSpPr>
            <a:spLocks noGrp="1"/>
          </p:cNvSpPr>
          <p:nvPr>
            <p:ph type="title" hasCustomPrompt="1"/>
          </p:nvPr>
        </p:nvSpPr>
        <p:spPr>
          <a:xfrm>
            <a:off x="323850" y="-765589"/>
            <a:ext cx="8496300" cy="527051"/>
          </a:xfrm>
        </p:spPr>
        <p:txBody>
          <a:bodyPr/>
          <a:lstStyle>
            <a:lvl1pPr marL="0" marR="0" indent="0" algn="l" defTabSz="685800" rtl="0" eaLnBrk="1" fontAlgn="auto" latinLnBrk="0" hangingPunct="1">
              <a:lnSpc>
                <a:spcPct val="95000"/>
              </a:lnSpc>
              <a:spcBef>
                <a:spcPct val="0"/>
              </a:spcBef>
              <a:spcAft>
                <a:spcPts val="0"/>
              </a:spcAft>
              <a:buClrTx/>
              <a:buSzTx/>
              <a:buFontTx/>
              <a:buNone/>
              <a:tabLst/>
              <a:defRPr/>
            </a:lvl1pPr>
          </a:lstStyle>
          <a:p>
            <a:r>
              <a:rPr lang="en-GB"/>
              <a:t>Click to add hidden slide title for accessibility</a:t>
            </a:r>
          </a:p>
        </p:txBody>
      </p:sp>
    </p:spTree>
    <p:extLst>
      <p:ext uri="{BB962C8B-B14F-4D97-AF65-F5344CB8AC3E}">
        <p14:creationId xmlns:p14="http://schemas.microsoft.com/office/powerpoint/2010/main" val="1263152353"/>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Chapter divider Video">
    <p:spTree>
      <p:nvGrpSpPr>
        <p:cNvPr id="1" name=""/>
        <p:cNvGrpSpPr/>
        <p:nvPr/>
      </p:nvGrpSpPr>
      <p:grpSpPr>
        <a:xfrm>
          <a:off x="0" y="0"/>
          <a:ext cx="0" cy="0"/>
          <a:chOff x="0" y="0"/>
          <a:chExt cx="0" cy="0"/>
        </a:xfrm>
      </p:grpSpPr>
      <p:sp>
        <p:nvSpPr>
          <p:cNvPr id="6" name="Video placeholder">
            <a:extLst>
              <a:ext uri="{FF2B5EF4-FFF2-40B4-BE49-F238E27FC236}">
                <a16:creationId xmlns:a16="http://schemas.microsoft.com/office/drawing/2014/main" id="{AFA9E759-54BF-ABD9-0FCE-C361BE6D8AAD}"/>
              </a:ext>
            </a:extLst>
          </p:cNvPr>
          <p:cNvSpPr>
            <a:spLocks noGrp="1"/>
          </p:cNvSpPr>
          <p:nvPr>
            <p:ph type="media" sz="quarter" idx="11" hasCustomPrompt="1"/>
          </p:nvPr>
        </p:nvSpPr>
        <p:spPr>
          <a:xfrm>
            <a:off x="-32951" y="-18535"/>
            <a:ext cx="9209902" cy="5180570"/>
          </a:xfrm>
          <a:custGeom>
            <a:avLst/>
            <a:gdLst>
              <a:gd name="connsiteX0" fmla="*/ 212339 w 9209902"/>
              <a:gd name="connsiteY0" fmla="*/ 177285 h 5180570"/>
              <a:gd name="connsiteX1" fmla="*/ 8997562 w 9209902"/>
              <a:gd name="connsiteY1" fmla="*/ 177285 h 5180570"/>
              <a:gd name="connsiteX2" fmla="*/ 8997562 w 9209902"/>
              <a:gd name="connsiteY2" fmla="*/ 4858824 h 5180570"/>
              <a:gd name="connsiteX3" fmla="*/ 212339 w 9209902"/>
              <a:gd name="connsiteY3" fmla="*/ 4858824 h 5180570"/>
              <a:gd name="connsiteX4" fmla="*/ 32951 w 9209902"/>
              <a:gd name="connsiteY4" fmla="*/ 18535 h 5180570"/>
              <a:gd name="connsiteX5" fmla="*/ 32951 w 9209902"/>
              <a:gd name="connsiteY5" fmla="*/ 5162034 h 5180570"/>
              <a:gd name="connsiteX6" fmla="*/ 143236 w 9209902"/>
              <a:gd name="connsiteY6" fmla="*/ 5162034 h 5180570"/>
              <a:gd name="connsiteX7" fmla="*/ 143236 w 9209902"/>
              <a:gd name="connsiteY7" fmla="*/ 5162035 h 5180570"/>
              <a:gd name="connsiteX8" fmla="*/ 9151553 w 9209902"/>
              <a:gd name="connsiteY8" fmla="*/ 5162035 h 5180570"/>
              <a:gd name="connsiteX9" fmla="*/ 9176951 w 9209902"/>
              <a:gd name="connsiteY9" fmla="*/ 5162035 h 5180570"/>
              <a:gd name="connsiteX10" fmla="*/ 9176951 w 9209902"/>
              <a:gd name="connsiteY10" fmla="*/ 18535 h 5180570"/>
              <a:gd name="connsiteX11" fmla="*/ 8997562 w 9209902"/>
              <a:gd name="connsiteY11" fmla="*/ 18535 h 5180570"/>
              <a:gd name="connsiteX12" fmla="*/ 143237 w 9209902"/>
              <a:gd name="connsiteY12" fmla="*/ 18535 h 5180570"/>
              <a:gd name="connsiteX13" fmla="*/ 0 w 9209902"/>
              <a:gd name="connsiteY13" fmla="*/ 0 h 5180570"/>
              <a:gd name="connsiteX14" fmla="*/ 9209902 w 9209902"/>
              <a:gd name="connsiteY14" fmla="*/ 0 h 5180570"/>
              <a:gd name="connsiteX15" fmla="*/ 9209902 w 9209902"/>
              <a:gd name="connsiteY15" fmla="*/ 5180570 h 5180570"/>
              <a:gd name="connsiteX16" fmla="*/ 0 w 9209902"/>
              <a:gd name="connsiteY16" fmla="*/ 5180570 h 518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209902" h="5180570">
                <a:moveTo>
                  <a:pt x="212339" y="177285"/>
                </a:moveTo>
                <a:lnTo>
                  <a:pt x="8997562" y="177285"/>
                </a:lnTo>
                <a:lnTo>
                  <a:pt x="8997562" y="4858824"/>
                </a:lnTo>
                <a:lnTo>
                  <a:pt x="212339" y="4858824"/>
                </a:lnTo>
                <a:close/>
                <a:moveTo>
                  <a:pt x="32951" y="18535"/>
                </a:moveTo>
                <a:lnTo>
                  <a:pt x="32951" y="5162034"/>
                </a:lnTo>
                <a:lnTo>
                  <a:pt x="143236" y="5162034"/>
                </a:lnTo>
                <a:lnTo>
                  <a:pt x="143236" y="5162035"/>
                </a:lnTo>
                <a:lnTo>
                  <a:pt x="9151553" y="5162035"/>
                </a:lnTo>
                <a:lnTo>
                  <a:pt x="9176951" y="5162035"/>
                </a:lnTo>
                <a:lnTo>
                  <a:pt x="9176951" y="18535"/>
                </a:lnTo>
                <a:lnTo>
                  <a:pt x="8997562" y="18535"/>
                </a:lnTo>
                <a:lnTo>
                  <a:pt x="143237" y="18535"/>
                </a:lnTo>
                <a:close/>
                <a:moveTo>
                  <a:pt x="0" y="0"/>
                </a:moveTo>
                <a:lnTo>
                  <a:pt x="9209902" y="0"/>
                </a:lnTo>
                <a:lnTo>
                  <a:pt x="9209902" y="5180570"/>
                </a:lnTo>
                <a:lnTo>
                  <a:pt x="0" y="5180570"/>
                </a:lnTo>
                <a:close/>
              </a:path>
            </a:pathLst>
          </a:custGeom>
          <a:blipFill dpi="0" rotWithShape="1">
            <a:blip r:embed="rId2"/>
            <a:srcRect/>
            <a:tile tx="0" ty="0" sx="100000" sy="100000" flip="none" algn="tl"/>
          </a:blipFill>
        </p:spPr>
        <p:txBody>
          <a:bodyPr vert="horz" wrap="square" lIns="90000" tIns="251999" rIns="90000" bIns="45720" rtlCol="0">
            <a:noAutofit/>
          </a:bodyPr>
          <a:lstStyle>
            <a:lvl1pPr marL="0" indent="0" algn="ctr">
              <a:buNone/>
              <a:defRPr lang="en-GB" sz="800" noProof="0" dirty="0">
                <a:solidFill>
                  <a:schemeClr val="bg1">
                    <a:lumMod val="75000"/>
                  </a:schemeClr>
                </a:solidFill>
              </a:defRPr>
            </a:lvl1pPr>
          </a:lstStyle>
          <a:p>
            <a:pPr marL="171450" lvl="0" indent="-171450" algn="ctr"/>
            <a:r>
              <a:rPr lang="en-GB" noProof="0"/>
              <a:t>Select placeholder and select Insert &gt; Insert Video from this device</a:t>
            </a:r>
          </a:p>
        </p:txBody>
      </p:sp>
      <p:sp>
        <p:nvSpPr>
          <p:cNvPr id="8" name="Title">
            <a:extLst>
              <a:ext uri="{FF2B5EF4-FFF2-40B4-BE49-F238E27FC236}">
                <a16:creationId xmlns:a16="http://schemas.microsoft.com/office/drawing/2014/main" id="{D0286019-1596-CC4C-95F2-E2F7E54FE89D}"/>
              </a:ext>
            </a:extLst>
          </p:cNvPr>
          <p:cNvSpPr>
            <a:spLocks noGrp="1"/>
          </p:cNvSpPr>
          <p:nvPr>
            <p:ph type="title" hasCustomPrompt="1"/>
          </p:nvPr>
        </p:nvSpPr>
        <p:spPr>
          <a:xfrm>
            <a:off x="324000" y="1719827"/>
            <a:ext cx="8496000" cy="1560972"/>
          </a:xfrm>
        </p:spPr>
        <p:txBody>
          <a:bodyPr lIns="216000" rIns="216000" anchor="ctr"/>
          <a:lstStyle>
            <a:lvl1pPr algn="ctr">
              <a:defRPr sz="4400">
                <a:solidFill>
                  <a:schemeClr val="bg1"/>
                </a:solidFill>
              </a:defRPr>
            </a:lvl1pPr>
          </a:lstStyle>
          <a:p>
            <a:r>
              <a:rPr lang="en-GB" noProof="0"/>
              <a:t>Click to add chapter </a:t>
            </a:r>
            <a:br>
              <a:rPr lang="en-GB" noProof="0"/>
            </a:br>
            <a:r>
              <a:rPr lang="en-GB" noProof="0"/>
              <a:t>or divider text</a:t>
            </a:r>
          </a:p>
        </p:txBody>
      </p:sp>
      <p:sp>
        <p:nvSpPr>
          <p:cNvPr id="30" name="Navigation">
            <a:extLst>
              <a:ext uri="{FF2B5EF4-FFF2-40B4-BE49-F238E27FC236}">
                <a16:creationId xmlns:a16="http://schemas.microsoft.com/office/drawing/2014/main" id="{E89B3305-CD61-6F45-85AE-0AF738D56906}"/>
              </a:ext>
            </a:extLst>
          </p:cNvPr>
          <p:cNvSpPr>
            <a:spLocks noGrp="1"/>
          </p:cNvSpPr>
          <p:nvPr>
            <p:ph type="body" sz="quarter" idx="14" hasCustomPrompt="1"/>
          </p:nvPr>
        </p:nvSpPr>
        <p:spPr>
          <a:xfrm>
            <a:off x="1763713" y="276226"/>
            <a:ext cx="5616575" cy="276999"/>
          </a:xfrm>
        </p:spPr>
        <p:txBody>
          <a:bodyPr lIns="216000" rIns="216000" anchor="t"/>
          <a:lstStyle>
            <a:lvl1pPr marL="3175" indent="-3175" algn="ctr">
              <a:buNone/>
              <a:tabLst/>
              <a:defRPr sz="1200" b="1">
                <a:solidFill>
                  <a:schemeClr val="bg1"/>
                </a:solidFill>
              </a:defRPr>
            </a:lvl1pPr>
            <a:lvl2pPr>
              <a:buNone/>
              <a:defRPr/>
            </a:lvl2pPr>
            <a:lvl3pPr>
              <a:buNone/>
              <a:defRPr/>
            </a:lvl3pPr>
            <a:lvl4pPr>
              <a:buNone/>
              <a:defRPr/>
            </a:lvl4pPr>
            <a:lvl5pPr>
              <a:buNone/>
              <a:defRPr/>
            </a:lvl5pPr>
          </a:lstStyle>
          <a:p>
            <a:pPr lvl="0"/>
            <a:r>
              <a:rPr lang="en-GB" noProof="0"/>
              <a:t>Click to add navigation/chapter tracker</a:t>
            </a:r>
          </a:p>
        </p:txBody>
      </p:sp>
      <p:sp>
        <p:nvSpPr>
          <p:cNvPr id="11" name="Date">
            <a:extLst>
              <a:ext uri="{FF2B5EF4-FFF2-40B4-BE49-F238E27FC236}">
                <a16:creationId xmlns:a16="http://schemas.microsoft.com/office/drawing/2014/main" id="{38CA3AD7-12F8-9F43-820D-33071C26D41A}"/>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BD82597C-366D-4A21-86BE-D97AA96C8C5E}" type="datetime1">
              <a:rPr lang="sv-SE" noProof="0" smtClean="0"/>
              <a:t>2025-09-04</a:t>
            </a:fld>
            <a:endParaRPr lang="en-GB" noProof="0"/>
          </a:p>
        </p:txBody>
      </p:sp>
      <p:sp>
        <p:nvSpPr>
          <p:cNvPr id="12" name="Number">
            <a:extLst>
              <a:ext uri="{FF2B5EF4-FFF2-40B4-BE49-F238E27FC236}">
                <a16:creationId xmlns:a16="http://schemas.microsoft.com/office/drawing/2014/main" id="{DFED6C3B-4A73-344C-A9A5-F8224178884F}"/>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9" name="Footer">
            <a:extLst>
              <a:ext uri="{FF2B5EF4-FFF2-40B4-BE49-F238E27FC236}">
                <a16:creationId xmlns:a16="http://schemas.microsoft.com/office/drawing/2014/main" id="{8C9F6B2B-126D-5341-B841-385A749EDBFF}"/>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1183054652"/>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5 Text and Vide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D26217-B4F8-053B-D113-5D90ECC2153D}"/>
              </a:ext>
            </a:extLst>
          </p:cNvPr>
          <p:cNvSpPr/>
          <p:nvPr userDrawn="1"/>
        </p:nvSpPr>
        <p:spPr>
          <a:xfrm>
            <a:off x="4499769" y="158750"/>
            <a:ext cx="144462" cy="4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Video">
            <a:extLst>
              <a:ext uri="{FF2B5EF4-FFF2-40B4-BE49-F238E27FC236}">
                <a16:creationId xmlns:a16="http://schemas.microsoft.com/office/drawing/2014/main" id="{0EE9A542-5863-3049-A7EF-24ADE3267341}"/>
              </a:ext>
            </a:extLst>
          </p:cNvPr>
          <p:cNvSpPr>
            <a:spLocks noGrp="1"/>
          </p:cNvSpPr>
          <p:nvPr>
            <p:ph type="media" sz="quarter" idx="15" hasCustomPrompt="1"/>
          </p:nvPr>
        </p:nvSpPr>
        <p:spPr>
          <a:xfrm>
            <a:off x="4643439" y="158750"/>
            <a:ext cx="4321174" cy="4681538"/>
          </a:xfrm>
          <a:blipFill dpi="0" rotWithShape="1">
            <a:blip r:embed="rId2"/>
            <a:srcRect/>
            <a:tile tx="0" ty="0" sx="100000" sy="100000" flip="none" algn="tl"/>
          </a:blipFill>
        </p:spPr>
        <p:txBody>
          <a:bodyPr vert="horz" lIns="90000" tIns="45720" rIns="90000" bIns="45720" rtlCol="0">
            <a:noAutofit/>
          </a:bodyPr>
          <a:lstStyle>
            <a:lvl1pPr marL="0" indent="0" algn="ctr">
              <a:buNone/>
              <a:defRPr lang="en-GB" sz="800" dirty="0">
                <a:solidFill>
                  <a:schemeClr val="bg1">
                    <a:lumMod val="75000"/>
                  </a:schemeClr>
                </a:solidFill>
              </a:defRPr>
            </a:lvl1pPr>
          </a:lstStyle>
          <a:p>
            <a:pPr marL="171450" lvl="0" indent="-171450" algn="ctr"/>
            <a:r>
              <a:rPr lang="en-GB"/>
              <a:t>Click on the icon to add video</a:t>
            </a:r>
          </a:p>
        </p:txBody>
      </p:sp>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323850" y="525600"/>
            <a:ext cx="4176713" cy="1583617"/>
          </a:xfrm>
        </p:spPr>
        <p:txBody>
          <a:bodyPr rIns="216000"/>
          <a:lstStyle>
            <a:lvl1pPr>
              <a:defRPr sz="3000" spc="-50"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50" y="276226"/>
            <a:ext cx="4176713" cy="276999"/>
          </a:xfrm>
        </p:spPr>
        <p:txBody>
          <a:bodyPr lIns="111600" rIns="216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chapter tracker</a:t>
            </a:r>
          </a:p>
          <a:p>
            <a:pPr lvl="0"/>
            <a:endParaRPr lang="en-GB" noProof="0"/>
          </a:p>
        </p:txBody>
      </p:sp>
      <p:sp>
        <p:nvSpPr>
          <p:cNvPr id="12" name="Text">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323851" y="2103438"/>
            <a:ext cx="4176712" cy="2607170"/>
          </a:xfrm>
        </p:spPr>
        <p:txBody>
          <a:bodyPr rIns="216000"/>
          <a:lstStyle>
            <a:lvl1pPr>
              <a:defRPr sz="1400"/>
            </a:lvl1pPr>
            <a:lvl2pPr>
              <a:defRPr sz="1200"/>
            </a:lvl2pPr>
            <a:lvl3pPr>
              <a:defRPr sz="1200"/>
            </a:lvl3pPr>
            <a:lvl4pPr>
              <a:defRPr sz="1200"/>
            </a:lvl4pPr>
            <a:lvl5pPr>
              <a:defRPr sz="12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Date">
            <a:extLst>
              <a:ext uri="{FF2B5EF4-FFF2-40B4-BE49-F238E27FC236}">
                <a16:creationId xmlns:a16="http://schemas.microsoft.com/office/drawing/2014/main" id="{B7D04508-015B-A24C-A068-9517A03041E5}"/>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BCD70611-121F-4636-B9FF-FFD17A270220}" type="datetime1">
              <a:rPr lang="sv-SE" noProof="0" smtClean="0"/>
              <a:t>2025-09-04</a:t>
            </a:fld>
            <a:endParaRPr lang="en-GB" noProof="0"/>
          </a:p>
        </p:txBody>
      </p:sp>
      <p:sp>
        <p:nvSpPr>
          <p:cNvPr id="39" name="Number">
            <a:extLst>
              <a:ext uri="{FF2B5EF4-FFF2-40B4-BE49-F238E27FC236}">
                <a16:creationId xmlns:a16="http://schemas.microsoft.com/office/drawing/2014/main" id="{24E3E452-24F0-1B44-9014-429AC576B5B6}"/>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0" name="Footer">
            <a:extLst>
              <a:ext uri="{FF2B5EF4-FFF2-40B4-BE49-F238E27FC236}">
                <a16:creationId xmlns:a16="http://schemas.microsoft.com/office/drawing/2014/main" id="{9F273896-B1DA-2A4A-9AEB-368D26B986DD}"/>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316454371"/>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6 Contact slide">
    <p:bg>
      <p:bgPr>
        <a:solidFill>
          <a:srgbClr val="EBF2F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3BCD082-6D86-921B-1F86-51388796B050}"/>
              </a:ext>
            </a:extLst>
          </p:cNvPr>
          <p:cNvSpPr/>
          <p:nvPr userDrawn="1"/>
        </p:nvSpPr>
        <p:spPr>
          <a:xfrm>
            <a:off x="5940425" y="158750"/>
            <a:ext cx="144462" cy="4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Image">
            <a:extLst>
              <a:ext uri="{FF2B5EF4-FFF2-40B4-BE49-F238E27FC236}">
                <a16:creationId xmlns:a16="http://schemas.microsoft.com/office/drawing/2014/main" id="{25798999-2A1E-2547-A8D5-4373B7132ADB}"/>
              </a:ext>
            </a:extLst>
          </p:cNvPr>
          <p:cNvSpPr>
            <a:spLocks noGrp="1"/>
          </p:cNvSpPr>
          <p:nvPr>
            <p:ph type="pic" sz="quarter" idx="10" hasCustomPrompt="1"/>
          </p:nvPr>
        </p:nvSpPr>
        <p:spPr>
          <a:xfrm>
            <a:off x="179388" y="158750"/>
            <a:ext cx="5761037" cy="4681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31" name="Title">
            <a:extLst>
              <a:ext uri="{FF2B5EF4-FFF2-40B4-BE49-F238E27FC236}">
                <a16:creationId xmlns:a16="http://schemas.microsoft.com/office/drawing/2014/main" id="{144BC857-79CB-DC47-950E-631BB0C70886}"/>
              </a:ext>
            </a:extLst>
          </p:cNvPr>
          <p:cNvSpPr>
            <a:spLocks noGrp="1"/>
          </p:cNvSpPr>
          <p:nvPr>
            <p:ph type="title" hasCustomPrompt="1"/>
          </p:nvPr>
        </p:nvSpPr>
        <p:spPr>
          <a:xfrm>
            <a:off x="6084888" y="594000"/>
            <a:ext cx="2736526" cy="1029237"/>
          </a:xfrm>
        </p:spPr>
        <p:txBody>
          <a:bodyPr lIns="154800" tIns="64800" rIns="144000"/>
          <a:lstStyle>
            <a:lvl1pPr marL="0" indent="0">
              <a:tabLst/>
              <a:defRPr sz="2000" spc="-30" baseline="0"/>
            </a:lvl1pPr>
          </a:lstStyle>
          <a:p>
            <a:r>
              <a:rPr lang="en-GB" noProof="0"/>
              <a:t>Click to add name and job title</a:t>
            </a:r>
          </a:p>
        </p:txBody>
      </p:sp>
      <p:sp>
        <p:nvSpPr>
          <p:cNvPr id="4" name="Contact">
            <a:extLst>
              <a:ext uri="{FF2B5EF4-FFF2-40B4-BE49-F238E27FC236}">
                <a16:creationId xmlns:a16="http://schemas.microsoft.com/office/drawing/2014/main" id="{EEF2FFD1-DBE4-AA42-98BA-1DAD9CA09A52}"/>
              </a:ext>
            </a:extLst>
          </p:cNvPr>
          <p:cNvSpPr txBox="1"/>
          <p:nvPr userDrawn="1"/>
        </p:nvSpPr>
        <p:spPr>
          <a:xfrm>
            <a:off x="6084886" y="276226"/>
            <a:ext cx="2736525" cy="276999"/>
          </a:xfrm>
          <a:prstGeom prst="rect">
            <a:avLst/>
          </a:prstGeom>
          <a:noFill/>
        </p:spPr>
        <p:txBody>
          <a:bodyPr wrap="square" lIns="154800" rIns="144000" rtlCol="0">
            <a:spAutoFit/>
          </a:bodyPr>
          <a:lstStyle/>
          <a:p>
            <a:r>
              <a:rPr lang="en-GB" sz="1200" b="1" noProof="0"/>
              <a:t>Contact</a:t>
            </a:r>
          </a:p>
        </p:txBody>
      </p:sp>
      <p:sp>
        <p:nvSpPr>
          <p:cNvPr id="32" name="Text">
            <a:extLst>
              <a:ext uri="{FF2B5EF4-FFF2-40B4-BE49-F238E27FC236}">
                <a16:creationId xmlns:a16="http://schemas.microsoft.com/office/drawing/2014/main" id="{2ADCBC67-4690-BD43-ABCE-F69DA625BC98}"/>
              </a:ext>
            </a:extLst>
          </p:cNvPr>
          <p:cNvSpPr>
            <a:spLocks noGrp="1"/>
          </p:cNvSpPr>
          <p:nvPr>
            <p:ph type="body" sz="quarter" idx="13" hasCustomPrompt="1"/>
          </p:nvPr>
        </p:nvSpPr>
        <p:spPr>
          <a:xfrm>
            <a:off x="6089938" y="2103438"/>
            <a:ext cx="2730212" cy="2592387"/>
          </a:xfrm>
        </p:spPr>
        <p:txBody>
          <a:bodyPr lIns="144000" rIns="144000"/>
          <a:lstStyle>
            <a:lvl1pPr marL="0" indent="0">
              <a:buNone/>
              <a:tabLst/>
              <a:defRPr sz="1200"/>
            </a:lvl1pPr>
            <a:lvl2pPr marL="0" indent="0">
              <a:buNone/>
              <a:tabLst/>
              <a:defRPr sz="1200"/>
            </a:lvl2pPr>
            <a:lvl3pPr marL="0" indent="0">
              <a:buNone/>
              <a:tabLst/>
              <a:defRPr sz="1200"/>
            </a:lvl3pPr>
            <a:lvl4pPr marL="0" indent="0">
              <a:buNone/>
              <a:tabLst/>
              <a:defRPr sz="1200"/>
            </a:lvl4pPr>
            <a:lvl5pPr marL="0" indent="0">
              <a:buNone/>
              <a:tabLst/>
              <a:defRPr sz="1200"/>
            </a:lvl5pPr>
          </a:lstStyle>
          <a:p>
            <a:pPr lvl="0"/>
            <a:r>
              <a:rPr lang="en-GB" noProof="0"/>
              <a:t>Click to add contact information</a:t>
            </a:r>
          </a:p>
        </p:txBody>
      </p:sp>
      <p:sp>
        <p:nvSpPr>
          <p:cNvPr id="11" name="Date">
            <a:extLst>
              <a:ext uri="{FF2B5EF4-FFF2-40B4-BE49-F238E27FC236}">
                <a16:creationId xmlns:a16="http://schemas.microsoft.com/office/drawing/2014/main" id="{38CA3AD7-12F8-9F43-820D-33071C26D41A}"/>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028D3082-C411-426E-9664-021E88EF4CE2}" type="datetime1">
              <a:rPr lang="sv-SE" noProof="0" smtClean="0"/>
              <a:t>2025-09-04</a:t>
            </a:fld>
            <a:endParaRPr lang="en-GB" noProof="0"/>
          </a:p>
        </p:txBody>
      </p:sp>
      <p:sp>
        <p:nvSpPr>
          <p:cNvPr id="12" name="Number">
            <a:extLst>
              <a:ext uri="{FF2B5EF4-FFF2-40B4-BE49-F238E27FC236}">
                <a16:creationId xmlns:a16="http://schemas.microsoft.com/office/drawing/2014/main" id="{DFED6C3B-4A73-344C-A9A5-F8224178884F}"/>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4" name="Footer">
            <a:extLst>
              <a:ext uri="{FF2B5EF4-FFF2-40B4-BE49-F238E27FC236}">
                <a16:creationId xmlns:a16="http://schemas.microsoft.com/office/drawing/2014/main" id="{373FE5A1-132B-B247-9BF4-ED02DBE7E9C2}"/>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593114418"/>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7 Mockup Samsung Galaxy">
    <p:bg>
      <p:bgPr>
        <a:solidFill>
          <a:srgbClr val="EBF2F3"/>
        </a:solidFill>
        <a:effectLst/>
      </p:bgPr>
    </p:bg>
    <p:spTree>
      <p:nvGrpSpPr>
        <p:cNvPr id="1" name=""/>
        <p:cNvGrpSpPr/>
        <p:nvPr/>
      </p:nvGrpSpPr>
      <p:grpSpPr>
        <a:xfrm>
          <a:off x="0" y="0"/>
          <a:ext cx="0" cy="0"/>
          <a:chOff x="0" y="0"/>
          <a:chExt cx="0" cy="0"/>
        </a:xfrm>
      </p:grpSpPr>
      <p:sp>
        <p:nvSpPr>
          <p:cNvPr id="9" name="Image">
            <a:extLst>
              <a:ext uri="{FF2B5EF4-FFF2-40B4-BE49-F238E27FC236}">
                <a16:creationId xmlns:a16="http://schemas.microsoft.com/office/drawing/2014/main" id="{10E8AA89-7C88-3143-8124-1E0503C42088}"/>
              </a:ext>
            </a:extLst>
          </p:cNvPr>
          <p:cNvSpPr>
            <a:spLocks noGrp="1"/>
          </p:cNvSpPr>
          <p:nvPr>
            <p:ph type="pic" sz="quarter" idx="12" hasCustomPrompt="1"/>
          </p:nvPr>
        </p:nvSpPr>
        <p:spPr>
          <a:xfrm>
            <a:off x="5809917" y="450447"/>
            <a:ext cx="1872000" cy="4104000"/>
          </a:xfrm>
          <a:prstGeom prst="roundRect">
            <a:avLst>
              <a:gd name="adj" fmla="val 10210"/>
            </a:avLst>
          </a:prstGeom>
          <a:blipFill dpi="0" rotWithShape="1">
            <a:blip r:embed="rId2"/>
            <a:srcRect/>
            <a:tile tx="0" ty="0" sx="100000" sy="100000" flip="none" algn="tl"/>
          </a:blipFill>
        </p:spPr>
        <p:txBody>
          <a:bodyPr/>
          <a:lstStyle>
            <a:lvl1pPr marL="4763" indent="-4763" algn="ctr">
              <a:buFont typeface="Arial" panose="020B0604020202020204" pitchFamily="34" charset="0"/>
              <a:buNone/>
              <a:tabLst/>
              <a:defRPr sz="800"/>
            </a:lvl1pPr>
          </a:lstStyle>
          <a:p>
            <a:r>
              <a:rPr lang="en-GB" noProof="0"/>
              <a:t>Click on the icon to add screenshot</a:t>
            </a:r>
          </a:p>
        </p:txBody>
      </p:sp>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323850" y="525600"/>
            <a:ext cx="4176713" cy="1498314"/>
          </a:xfrm>
        </p:spPr>
        <p:txBody>
          <a:bodyPr rIns="144000"/>
          <a:lstStyle>
            <a:lvl1pPr>
              <a:defRPr sz="3000" spc="-50"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49" y="276226"/>
            <a:ext cx="4176077" cy="276999"/>
          </a:xfrm>
        </p:spPr>
        <p:txBody>
          <a:bodyPr lIns="111600" rIns="144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a:t>
            </a:r>
            <a:r>
              <a:rPr lang="en-GB" noProof="0" err="1"/>
              <a:t>subheader</a:t>
            </a:r>
            <a:endParaRPr lang="en-GB" noProof="0"/>
          </a:p>
        </p:txBody>
      </p:sp>
      <p:sp>
        <p:nvSpPr>
          <p:cNvPr id="12" name="Text">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323851" y="2103438"/>
            <a:ext cx="4176712" cy="2592387"/>
          </a:xfrm>
        </p:spPr>
        <p:txBody>
          <a:bodyPr rIns="144000"/>
          <a:lstStyle>
            <a:lvl1pPr>
              <a:defRPr sz="1400"/>
            </a:lvl1pPr>
            <a:lvl2pPr>
              <a:defRPr sz="1200"/>
            </a:lvl2pPr>
            <a:lvl3pPr>
              <a:defRPr sz="1200"/>
            </a:lvl3pPr>
            <a:lvl4pPr>
              <a:defRPr sz="1200"/>
            </a:lvl4pPr>
            <a:lvl5pPr>
              <a:defRPr sz="12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5" name="Date">
            <a:extLst>
              <a:ext uri="{FF2B5EF4-FFF2-40B4-BE49-F238E27FC236}">
                <a16:creationId xmlns:a16="http://schemas.microsoft.com/office/drawing/2014/main" id="{FED9A850-451C-994B-9CEF-A2B324B2852F}"/>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70268981-C162-4CF9-A839-289A02EA7CA3}" type="datetime1">
              <a:rPr lang="sv-SE" noProof="0" smtClean="0"/>
              <a:t>2025-09-04</a:t>
            </a:fld>
            <a:endParaRPr lang="en-GB" noProof="0"/>
          </a:p>
        </p:txBody>
      </p:sp>
      <p:sp>
        <p:nvSpPr>
          <p:cNvPr id="36" name="Number">
            <a:extLst>
              <a:ext uri="{FF2B5EF4-FFF2-40B4-BE49-F238E27FC236}">
                <a16:creationId xmlns:a16="http://schemas.microsoft.com/office/drawing/2014/main" id="{3D6301AA-5E2B-7F46-BF55-64A8320A6BF9}"/>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3" name="Footer">
            <a:extLst>
              <a:ext uri="{FF2B5EF4-FFF2-40B4-BE49-F238E27FC236}">
                <a16:creationId xmlns:a16="http://schemas.microsoft.com/office/drawing/2014/main" id="{DC643E75-61AD-CE44-8B9B-514A1A088DD3}"/>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
        <p:nvSpPr>
          <p:cNvPr id="2" name="Freeform 1">
            <a:extLst>
              <a:ext uri="{FF2B5EF4-FFF2-40B4-BE49-F238E27FC236}">
                <a16:creationId xmlns:a16="http://schemas.microsoft.com/office/drawing/2014/main" id="{973A5889-ABE6-C735-E4C4-95E5FECAFFD8}"/>
              </a:ext>
            </a:extLst>
          </p:cNvPr>
          <p:cNvSpPr/>
          <p:nvPr userDrawn="1"/>
        </p:nvSpPr>
        <p:spPr>
          <a:xfrm>
            <a:off x="5732735" y="364451"/>
            <a:ext cx="2030518" cy="4275202"/>
          </a:xfrm>
          <a:custGeom>
            <a:avLst/>
            <a:gdLst>
              <a:gd name="connsiteX0" fmla="*/ 1308395 w 1308394"/>
              <a:gd name="connsiteY0" fmla="*/ 1065750 h 2754789"/>
              <a:gd name="connsiteX1" fmla="*/ 1308395 w 1308394"/>
              <a:gd name="connsiteY1" fmla="*/ 702997 h 2754789"/>
              <a:gd name="connsiteX2" fmla="*/ 1301796 w 1308394"/>
              <a:gd name="connsiteY2" fmla="*/ 702997 h 2754789"/>
              <a:gd name="connsiteX3" fmla="*/ 1301796 w 1308394"/>
              <a:gd name="connsiteY3" fmla="*/ 157594 h 2754789"/>
              <a:gd name="connsiteX4" fmla="*/ 1144203 w 1308394"/>
              <a:gd name="connsiteY4" fmla="*/ 0 h 2754789"/>
              <a:gd name="connsiteX5" fmla="*/ 157593 w 1308394"/>
              <a:gd name="connsiteY5" fmla="*/ 0 h 2754789"/>
              <a:gd name="connsiteX6" fmla="*/ 0 w 1308394"/>
              <a:gd name="connsiteY6" fmla="*/ 157594 h 2754789"/>
              <a:gd name="connsiteX7" fmla="*/ 0 w 1308394"/>
              <a:gd name="connsiteY7" fmla="*/ 2597196 h 2754789"/>
              <a:gd name="connsiteX8" fmla="*/ 157593 w 1308394"/>
              <a:gd name="connsiteY8" fmla="*/ 2754790 h 2754789"/>
              <a:gd name="connsiteX9" fmla="*/ 1144203 w 1308394"/>
              <a:gd name="connsiteY9" fmla="*/ 2754790 h 2754789"/>
              <a:gd name="connsiteX10" fmla="*/ 1301796 w 1308394"/>
              <a:gd name="connsiteY10" fmla="*/ 2597196 h 2754789"/>
              <a:gd name="connsiteX11" fmla="*/ 1301796 w 1308394"/>
              <a:gd name="connsiteY11" fmla="*/ 1368631 h 2754789"/>
              <a:gd name="connsiteX12" fmla="*/ 1308395 w 1308394"/>
              <a:gd name="connsiteY12" fmla="*/ 1368631 h 2754789"/>
              <a:gd name="connsiteX13" fmla="*/ 1308395 w 1308394"/>
              <a:gd name="connsiteY13" fmla="*/ 1196019 h 2754789"/>
              <a:gd name="connsiteX14" fmla="*/ 1301796 w 1308394"/>
              <a:gd name="connsiteY14" fmla="*/ 1196019 h 2754789"/>
              <a:gd name="connsiteX15" fmla="*/ 1301796 w 1308394"/>
              <a:gd name="connsiteY15" fmla="*/ 1065709 h 2754789"/>
              <a:gd name="connsiteX16" fmla="*/ 1308395 w 1308394"/>
              <a:gd name="connsiteY16" fmla="*/ 1065709 h 2754789"/>
              <a:gd name="connsiteX17" fmla="*/ 1246580 w 1308394"/>
              <a:gd name="connsiteY17" fmla="*/ 2589424 h 2754789"/>
              <a:gd name="connsiteX18" fmla="*/ 1138495 w 1308394"/>
              <a:gd name="connsiteY18" fmla="*/ 2697509 h 2754789"/>
              <a:gd name="connsiteX19" fmla="*/ 163301 w 1308394"/>
              <a:gd name="connsiteY19" fmla="*/ 2697509 h 2754789"/>
              <a:gd name="connsiteX20" fmla="*/ 55216 w 1308394"/>
              <a:gd name="connsiteY20" fmla="*/ 2589424 h 2754789"/>
              <a:gd name="connsiteX21" fmla="*/ 55216 w 1308394"/>
              <a:gd name="connsiteY21" fmla="*/ 165447 h 2754789"/>
              <a:gd name="connsiteX22" fmla="*/ 163301 w 1308394"/>
              <a:gd name="connsiteY22" fmla="*/ 57362 h 2754789"/>
              <a:gd name="connsiteX23" fmla="*/ 1138495 w 1308394"/>
              <a:gd name="connsiteY23" fmla="*/ 57362 h 2754789"/>
              <a:gd name="connsiteX24" fmla="*/ 1246580 w 1308394"/>
              <a:gd name="connsiteY24" fmla="*/ 165447 h 2754789"/>
              <a:gd name="connsiteX25" fmla="*/ 1246580 w 1308394"/>
              <a:gd name="connsiteY25" fmla="*/ 2589383 h 275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08394" h="2754789">
                <a:moveTo>
                  <a:pt x="1308395" y="1065750"/>
                </a:moveTo>
                <a:lnTo>
                  <a:pt x="1308395" y="702997"/>
                </a:lnTo>
                <a:lnTo>
                  <a:pt x="1301796" y="702997"/>
                </a:lnTo>
                <a:lnTo>
                  <a:pt x="1301796" y="157594"/>
                </a:lnTo>
                <a:cubicBezTo>
                  <a:pt x="1301796" y="70680"/>
                  <a:pt x="1231075" y="0"/>
                  <a:pt x="1144203" y="0"/>
                </a:cubicBezTo>
                <a:lnTo>
                  <a:pt x="157593" y="0"/>
                </a:lnTo>
                <a:cubicBezTo>
                  <a:pt x="70680" y="0"/>
                  <a:pt x="0" y="70721"/>
                  <a:pt x="0" y="157594"/>
                </a:cubicBezTo>
                <a:lnTo>
                  <a:pt x="0" y="2597196"/>
                </a:lnTo>
                <a:cubicBezTo>
                  <a:pt x="0" y="2684109"/>
                  <a:pt x="70721" y="2754790"/>
                  <a:pt x="157593" y="2754790"/>
                </a:cubicBezTo>
                <a:lnTo>
                  <a:pt x="1144203" y="2754790"/>
                </a:lnTo>
                <a:cubicBezTo>
                  <a:pt x="1231116" y="2754790"/>
                  <a:pt x="1301796" y="2684069"/>
                  <a:pt x="1301796" y="2597196"/>
                </a:cubicBezTo>
                <a:lnTo>
                  <a:pt x="1301796" y="1368631"/>
                </a:lnTo>
                <a:lnTo>
                  <a:pt x="1308395" y="1368631"/>
                </a:lnTo>
                <a:lnTo>
                  <a:pt x="1308395" y="1196019"/>
                </a:lnTo>
                <a:lnTo>
                  <a:pt x="1301796" y="1196019"/>
                </a:lnTo>
                <a:lnTo>
                  <a:pt x="1301796" y="1065709"/>
                </a:lnTo>
                <a:lnTo>
                  <a:pt x="1308395" y="1065709"/>
                </a:lnTo>
                <a:close/>
                <a:moveTo>
                  <a:pt x="1246580" y="2589424"/>
                </a:moveTo>
                <a:cubicBezTo>
                  <a:pt x="1246580" y="2649012"/>
                  <a:pt x="1198083" y="2697509"/>
                  <a:pt x="1138495" y="2697509"/>
                </a:cubicBezTo>
                <a:lnTo>
                  <a:pt x="163301" y="2697509"/>
                </a:lnTo>
                <a:cubicBezTo>
                  <a:pt x="103672" y="2697509"/>
                  <a:pt x="55216" y="2649012"/>
                  <a:pt x="55216" y="2589424"/>
                </a:cubicBezTo>
                <a:lnTo>
                  <a:pt x="55216" y="165447"/>
                </a:lnTo>
                <a:cubicBezTo>
                  <a:pt x="55216" y="105818"/>
                  <a:pt x="103713" y="57362"/>
                  <a:pt x="163301" y="57362"/>
                </a:cubicBezTo>
                <a:lnTo>
                  <a:pt x="1138495" y="57362"/>
                </a:lnTo>
                <a:cubicBezTo>
                  <a:pt x="1198083" y="57362"/>
                  <a:pt x="1246580" y="105859"/>
                  <a:pt x="1246580" y="165447"/>
                </a:cubicBezTo>
                <a:lnTo>
                  <a:pt x="1246580" y="2589383"/>
                </a:lnTo>
                <a:close/>
              </a:path>
            </a:pathLst>
          </a:custGeom>
          <a:gradFill>
            <a:gsLst>
              <a:gs pos="0">
                <a:schemeClr val="tx1"/>
              </a:gs>
              <a:gs pos="78000">
                <a:schemeClr val="tx1">
                  <a:lumMod val="85000"/>
                  <a:lumOff val="15000"/>
                </a:schemeClr>
              </a:gs>
              <a:gs pos="87000">
                <a:schemeClr val="tx1">
                  <a:lumMod val="75000"/>
                  <a:lumOff val="25000"/>
                </a:schemeClr>
              </a:gs>
              <a:gs pos="100000">
                <a:schemeClr val="bg1">
                  <a:lumMod val="50000"/>
                </a:schemeClr>
              </a:gs>
            </a:gsLst>
            <a:lin ang="3600000" scaled="0"/>
          </a:gradFill>
          <a:ln w="4048" cap="flat">
            <a:noFill/>
            <a:prstDash val="solid"/>
            <a:miter/>
          </a:ln>
        </p:spPr>
        <p:txBody>
          <a:bodyPr rtlCol="0" anchor="ctr"/>
          <a:lstStyle/>
          <a:p>
            <a:endParaRPr lang="en-GB"/>
          </a:p>
        </p:txBody>
      </p:sp>
    </p:spTree>
    <p:extLst>
      <p:ext uri="{BB962C8B-B14F-4D97-AF65-F5344CB8AC3E}">
        <p14:creationId xmlns:p14="http://schemas.microsoft.com/office/powerpoint/2010/main" val="3447508974"/>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7 Mockup Iphone SE">
    <p:bg>
      <p:bgPr>
        <a:solidFill>
          <a:srgbClr val="EBF2F3"/>
        </a:solidFill>
        <a:effectLst/>
      </p:bgPr>
    </p:bg>
    <p:spTree>
      <p:nvGrpSpPr>
        <p:cNvPr id="1" name=""/>
        <p:cNvGrpSpPr/>
        <p:nvPr/>
      </p:nvGrpSpPr>
      <p:grpSpPr>
        <a:xfrm>
          <a:off x="0" y="0"/>
          <a:ext cx="0" cy="0"/>
          <a:chOff x="0" y="0"/>
          <a:chExt cx="0" cy="0"/>
        </a:xfrm>
      </p:grpSpPr>
      <p:sp>
        <p:nvSpPr>
          <p:cNvPr id="38" name="Picture Placeholder 37">
            <a:extLst>
              <a:ext uri="{FF2B5EF4-FFF2-40B4-BE49-F238E27FC236}">
                <a16:creationId xmlns:a16="http://schemas.microsoft.com/office/drawing/2014/main" id="{7539A5C1-D35D-699A-EDB3-89B231932F8F}"/>
              </a:ext>
            </a:extLst>
          </p:cNvPr>
          <p:cNvSpPr>
            <a:spLocks noGrp="1" noChangeAspect="1"/>
          </p:cNvSpPr>
          <p:nvPr>
            <p:ph type="pic" sz="quarter" idx="12" hasCustomPrompt="1"/>
          </p:nvPr>
        </p:nvSpPr>
        <p:spPr>
          <a:xfrm>
            <a:off x="5797437" y="870075"/>
            <a:ext cx="1919002" cy="3241550"/>
          </a:xfrm>
          <a:custGeom>
            <a:avLst/>
            <a:gdLst>
              <a:gd name="connsiteX0" fmla="*/ 0 w 1919002"/>
              <a:gd name="connsiteY0" fmla="*/ 0 h 3241550"/>
              <a:gd name="connsiteX1" fmla="*/ 1919002 w 1919002"/>
              <a:gd name="connsiteY1" fmla="*/ 0 h 3241550"/>
              <a:gd name="connsiteX2" fmla="*/ 1919002 w 1919002"/>
              <a:gd name="connsiteY2" fmla="*/ 3241550 h 3241550"/>
              <a:gd name="connsiteX3" fmla="*/ 0 w 1919002"/>
              <a:gd name="connsiteY3" fmla="*/ 3241550 h 3241550"/>
            </a:gdLst>
            <a:ahLst/>
            <a:cxnLst>
              <a:cxn ang="0">
                <a:pos x="connsiteX0" y="connsiteY0"/>
              </a:cxn>
              <a:cxn ang="0">
                <a:pos x="connsiteX1" y="connsiteY1"/>
              </a:cxn>
              <a:cxn ang="0">
                <a:pos x="connsiteX2" y="connsiteY2"/>
              </a:cxn>
              <a:cxn ang="0">
                <a:pos x="connsiteX3" y="connsiteY3"/>
              </a:cxn>
            </a:cxnLst>
            <a:rect l="l" t="t" r="r" b="b"/>
            <a:pathLst>
              <a:path w="1919002" h="3241550">
                <a:moveTo>
                  <a:pt x="0" y="0"/>
                </a:moveTo>
                <a:lnTo>
                  <a:pt x="1919002" y="0"/>
                </a:lnTo>
                <a:lnTo>
                  <a:pt x="1919002" y="3241550"/>
                </a:lnTo>
                <a:lnTo>
                  <a:pt x="0" y="3241550"/>
                </a:lnTo>
                <a:close/>
              </a:path>
            </a:pathLst>
          </a:custGeom>
          <a:blipFill dpi="0" rotWithShape="1">
            <a:blip r:embed="rId2"/>
            <a:srcRect/>
            <a:tile tx="0" ty="0" sx="100000" sy="100000" flip="none" algn="tl"/>
          </a:blipFill>
        </p:spPr>
        <p:txBody>
          <a:bodyPr wrap="square">
            <a:noAutofit/>
          </a:bodyPr>
          <a:lstStyle>
            <a:lvl1pPr marL="4763" indent="-4763" algn="ctr">
              <a:buFont typeface="Arial" panose="020B0604020202020204" pitchFamily="34" charset="0"/>
              <a:buNone/>
              <a:tabLst/>
              <a:defRPr sz="800"/>
            </a:lvl1pPr>
          </a:lstStyle>
          <a:p>
            <a:r>
              <a:rPr lang="en-GB" noProof="0"/>
              <a:t>Click on the icon to add screenshot</a:t>
            </a:r>
          </a:p>
        </p:txBody>
      </p:sp>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323850" y="525600"/>
            <a:ext cx="4176713" cy="1498314"/>
          </a:xfrm>
        </p:spPr>
        <p:txBody>
          <a:bodyPr rIns="144000"/>
          <a:lstStyle>
            <a:lvl1pPr>
              <a:defRPr sz="3000" spc="-50"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49" y="276226"/>
            <a:ext cx="4176077" cy="276999"/>
          </a:xfrm>
        </p:spPr>
        <p:txBody>
          <a:bodyPr lIns="111600" rIns="144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a:t>
            </a:r>
            <a:r>
              <a:rPr lang="en-GB" noProof="0" err="1"/>
              <a:t>subheader</a:t>
            </a:r>
            <a:endParaRPr lang="en-GB" noProof="0"/>
          </a:p>
        </p:txBody>
      </p:sp>
      <p:sp>
        <p:nvSpPr>
          <p:cNvPr id="12" name="Text">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323851" y="2103438"/>
            <a:ext cx="4176712" cy="2592387"/>
          </a:xfrm>
        </p:spPr>
        <p:txBody>
          <a:bodyPr rIns="144000"/>
          <a:lstStyle>
            <a:lvl1pPr>
              <a:defRPr sz="1400"/>
            </a:lvl1pPr>
            <a:lvl2pPr>
              <a:defRPr sz="1200"/>
            </a:lvl2pPr>
            <a:lvl3pPr>
              <a:defRPr sz="1200"/>
            </a:lvl3pPr>
            <a:lvl4pPr>
              <a:defRPr sz="1200"/>
            </a:lvl4pPr>
            <a:lvl5pPr>
              <a:defRPr sz="12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5" name="Date">
            <a:extLst>
              <a:ext uri="{FF2B5EF4-FFF2-40B4-BE49-F238E27FC236}">
                <a16:creationId xmlns:a16="http://schemas.microsoft.com/office/drawing/2014/main" id="{FED9A850-451C-994B-9CEF-A2B324B2852F}"/>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CE26871F-0A76-4E4C-AF76-83B513B3ADA6}" type="datetime1">
              <a:rPr lang="sv-SE" noProof="0" smtClean="0"/>
              <a:t>2025-09-04</a:t>
            </a:fld>
            <a:endParaRPr lang="en-GB" noProof="0"/>
          </a:p>
        </p:txBody>
      </p:sp>
      <p:sp>
        <p:nvSpPr>
          <p:cNvPr id="36" name="Number">
            <a:extLst>
              <a:ext uri="{FF2B5EF4-FFF2-40B4-BE49-F238E27FC236}">
                <a16:creationId xmlns:a16="http://schemas.microsoft.com/office/drawing/2014/main" id="{3D6301AA-5E2B-7F46-BF55-64A8320A6BF9}"/>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3" name="Footer">
            <a:extLst>
              <a:ext uri="{FF2B5EF4-FFF2-40B4-BE49-F238E27FC236}">
                <a16:creationId xmlns:a16="http://schemas.microsoft.com/office/drawing/2014/main" id="{DC643E75-61AD-CE44-8B9B-514A1A088DD3}"/>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grpSp>
        <p:nvGrpSpPr>
          <p:cNvPr id="32" name="Group 31">
            <a:extLst>
              <a:ext uri="{FF2B5EF4-FFF2-40B4-BE49-F238E27FC236}">
                <a16:creationId xmlns:a16="http://schemas.microsoft.com/office/drawing/2014/main" id="{AFBAA733-7015-80D9-A396-F02B90862771}"/>
              </a:ext>
            </a:extLst>
          </p:cNvPr>
          <p:cNvGrpSpPr>
            <a:grpSpLocks noChangeAspect="1"/>
          </p:cNvGrpSpPr>
          <p:nvPr userDrawn="1"/>
        </p:nvGrpSpPr>
        <p:grpSpPr>
          <a:xfrm>
            <a:off x="5698184" y="358140"/>
            <a:ext cx="2111548" cy="4287600"/>
            <a:chOff x="-3606774" y="-142106"/>
            <a:chExt cx="1363570" cy="2768795"/>
          </a:xfrm>
          <a:noFill/>
        </p:grpSpPr>
        <p:sp>
          <p:nvSpPr>
            <p:cNvPr id="25" name="Freeform 24">
              <a:extLst>
                <a:ext uri="{FF2B5EF4-FFF2-40B4-BE49-F238E27FC236}">
                  <a16:creationId xmlns:a16="http://schemas.microsoft.com/office/drawing/2014/main" id="{8C47638F-13B6-E112-CA84-25237C4CCEDF}"/>
                </a:ext>
              </a:extLst>
            </p:cNvPr>
            <p:cNvSpPr/>
            <p:nvPr/>
          </p:nvSpPr>
          <p:spPr>
            <a:xfrm>
              <a:off x="-3606774" y="-142106"/>
              <a:ext cx="1363570" cy="2768795"/>
            </a:xfrm>
            <a:custGeom>
              <a:avLst/>
              <a:gdLst>
                <a:gd name="connsiteX0" fmla="*/ 1350414 w 1363570"/>
                <a:gd name="connsiteY0" fmla="*/ 601066 h 2768795"/>
                <a:gd name="connsiteX1" fmla="*/ 1346771 w 1363570"/>
                <a:gd name="connsiteY1" fmla="*/ 601066 h 2768795"/>
                <a:gd name="connsiteX2" fmla="*/ 1346771 w 1363570"/>
                <a:gd name="connsiteY2" fmla="*/ 208114 h 2768795"/>
                <a:gd name="connsiteX3" fmla="*/ 1138657 w 1363570"/>
                <a:gd name="connsiteY3" fmla="*/ 0 h 2768795"/>
                <a:gd name="connsiteX4" fmla="*/ 227140 w 1363570"/>
                <a:gd name="connsiteY4" fmla="*/ 0 h 2768795"/>
                <a:gd name="connsiteX5" fmla="*/ 19026 w 1363570"/>
                <a:gd name="connsiteY5" fmla="*/ 208114 h 2768795"/>
                <a:gd name="connsiteX6" fmla="*/ 19026 w 1363570"/>
                <a:gd name="connsiteY6" fmla="*/ 367327 h 2768795"/>
                <a:gd name="connsiteX7" fmla="*/ 13156 w 1363570"/>
                <a:gd name="connsiteY7" fmla="*/ 367327 h 2768795"/>
                <a:gd name="connsiteX8" fmla="*/ 0 w 1363570"/>
                <a:gd name="connsiteY8" fmla="*/ 380483 h 2768795"/>
                <a:gd name="connsiteX9" fmla="*/ 0 w 1363570"/>
                <a:gd name="connsiteY9" fmla="*/ 460191 h 2768795"/>
                <a:gd name="connsiteX10" fmla="*/ 13156 w 1363570"/>
                <a:gd name="connsiteY10" fmla="*/ 473347 h 2768795"/>
                <a:gd name="connsiteX11" fmla="*/ 19026 w 1363570"/>
                <a:gd name="connsiteY11" fmla="*/ 473347 h 2768795"/>
                <a:gd name="connsiteX12" fmla="*/ 19026 w 1363570"/>
                <a:gd name="connsiteY12" fmla="*/ 601066 h 2768795"/>
                <a:gd name="connsiteX13" fmla="*/ 13156 w 1363570"/>
                <a:gd name="connsiteY13" fmla="*/ 601066 h 2768795"/>
                <a:gd name="connsiteX14" fmla="*/ 0 w 1363570"/>
                <a:gd name="connsiteY14" fmla="*/ 614222 h 2768795"/>
                <a:gd name="connsiteX15" fmla="*/ 0 w 1363570"/>
                <a:gd name="connsiteY15" fmla="*/ 787927 h 2768795"/>
                <a:gd name="connsiteX16" fmla="*/ 13156 w 1363570"/>
                <a:gd name="connsiteY16" fmla="*/ 801083 h 2768795"/>
                <a:gd name="connsiteX17" fmla="*/ 19026 w 1363570"/>
                <a:gd name="connsiteY17" fmla="*/ 801083 h 2768795"/>
                <a:gd name="connsiteX18" fmla="*/ 19026 w 1363570"/>
                <a:gd name="connsiteY18" fmla="*/ 847354 h 2768795"/>
                <a:gd name="connsiteX19" fmla="*/ 13156 w 1363570"/>
                <a:gd name="connsiteY19" fmla="*/ 847354 h 2768795"/>
                <a:gd name="connsiteX20" fmla="*/ 0 w 1363570"/>
                <a:gd name="connsiteY20" fmla="*/ 860510 h 2768795"/>
                <a:gd name="connsiteX21" fmla="*/ 0 w 1363570"/>
                <a:gd name="connsiteY21" fmla="*/ 1034215 h 2768795"/>
                <a:gd name="connsiteX22" fmla="*/ 13156 w 1363570"/>
                <a:gd name="connsiteY22" fmla="*/ 1047371 h 2768795"/>
                <a:gd name="connsiteX23" fmla="*/ 19026 w 1363570"/>
                <a:gd name="connsiteY23" fmla="*/ 1047371 h 2768795"/>
                <a:gd name="connsiteX24" fmla="*/ 19026 w 1363570"/>
                <a:gd name="connsiteY24" fmla="*/ 2560682 h 2768795"/>
                <a:gd name="connsiteX25" fmla="*/ 227140 w 1363570"/>
                <a:gd name="connsiteY25" fmla="*/ 2768796 h 2768795"/>
                <a:gd name="connsiteX26" fmla="*/ 1138657 w 1363570"/>
                <a:gd name="connsiteY26" fmla="*/ 2768796 h 2768795"/>
                <a:gd name="connsiteX27" fmla="*/ 1346771 w 1363570"/>
                <a:gd name="connsiteY27" fmla="*/ 2560682 h 2768795"/>
                <a:gd name="connsiteX28" fmla="*/ 1346771 w 1363570"/>
                <a:gd name="connsiteY28" fmla="*/ 801124 h 2768795"/>
                <a:gd name="connsiteX29" fmla="*/ 1350414 w 1363570"/>
                <a:gd name="connsiteY29" fmla="*/ 801124 h 2768795"/>
                <a:gd name="connsiteX30" fmla="*/ 1363570 w 1363570"/>
                <a:gd name="connsiteY30" fmla="*/ 787968 h 2768795"/>
                <a:gd name="connsiteX31" fmla="*/ 1363570 w 1363570"/>
                <a:gd name="connsiteY31" fmla="*/ 614263 h 2768795"/>
                <a:gd name="connsiteX32" fmla="*/ 1350414 w 1363570"/>
                <a:gd name="connsiteY32" fmla="*/ 601106 h 2768795"/>
                <a:gd name="connsiteX33" fmla="*/ 1350414 w 1363570"/>
                <a:gd name="connsiteY33" fmla="*/ 601106 h 2768795"/>
                <a:gd name="connsiteX34" fmla="*/ 1298193 w 1363570"/>
                <a:gd name="connsiteY34" fmla="*/ 2421062 h 2768795"/>
                <a:gd name="connsiteX35" fmla="*/ 67563 w 1363570"/>
                <a:gd name="connsiteY35" fmla="*/ 2421062 h 2768795"/>
                <a:gd name="connsiteX36" fmla="*/ 67563 w 1363570"/>
                <a:gd name="connsiteY36" fmla="*/ 333525 h 2768795"/>
                <a:gd name="connsiteX37" fmla="*/ 1298193 w 1363570"/>
                <a:gd name="connsiteY37" fmla="*/ 333525 h 2768795"/>
                <a:gd name="connsiteX38" fmla="*/ 1298193 w 1363570"/>
                <a:gd name="connsiteY38" fmla="*/ 2421103 h 2768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363570" h="2768795">
                  <a:moveTo>
                    <a:pt x="1350414" y="601066"/>
                  </a:moveTo>
                  <a:lnTo>
                    <a:pt x="1346771" y="601066"/>
                  </a:lnTo>
                  <a:lnTo>
                    <a:pt x="1346771" y="208114"/>
                  </a:lnTo>
                  <a:cubicBezTo>
                    <a:pt x="1346771" y="93350"/>
                    <a:pt x="1253421" y="0"/>
                    <a:pt x="1138657" y="0"/>
                  </a:cubicBezTo>
                  <a:lnTo>
                    <a:pt x="227140" y="0"/>
                  </a:lnTo>
                  <a:cubicBezTo>
                    <a:pt x="112376" y="0"/>
                    <a:pt x="19026" y="93350"/>
                    <a:pt x="19026" y="208114"/>
                  </a:cubicBezTo>
                  <a:lnTo>
                    <a:pt x="19026" y="367327"/>
                  </a:lnTo>
                  <a:lnTo>
                    <a:pt x="13156" y="367327"/>
                  </a:lnTo>
                  <a:cubicBezTo>
                    <a:pt x="5910" y="367327"/>
                    <a:pt x="0" y="373237"/>
                    <a:pt x="0" y="380483"/>
                  </a:cubicBezTo>
                  <a:lnTo>
                    <a:pt x="0" y="460191"/>
                  </a:lnTo>
                  <a:cubicBezTo>
                    <a:pt x="0" y="467437"/>
                    <a:pt x="5910" y="473347"/>
                    <a:pt x="13156" y="473347"/>
                  </a:cubicBezTo>
                  <a:lnTo>
                    <a:pt x="19026" y="473347"/>
                  </a:lnTo>
                  <a:lnTo>
                    <a:pt x="19026" y="601066"/>
                  </a:lnTo>
                  <a:lnTo>
                    <a:pt x="13156" y="601066"/>
                  </a:lnTo>
                  <a:cubicBezTo>
                    <a:pt x="5910" y="601066"/>
                    <a:pt x="0" y="606976"/>
                    <a:pt x="0" y="614222"/>
                  </a:cubicBezTo>
                  <a:lnTo>
                    <a:pt x="0" y="787927"/>
                  </a:lnTo>
                  <a:cubicBezTo>
                    <a:pt x="0" y="795173"/>
                    <a:pt x="5910" y="801083"/>
                    <a:pt x="13156" y="801083"/>
                  </a:cubicBezTo>
                  <a:lnTo>
                    <a:pt x="19026" y="801083"/>
                  </a:lnTo>
                  <a:lnTo>
                    <a:pt x="19026" y="847354"/>
                  </a:lnTo>
                  <a:lnTo>
                    <a:pt x="13156" y="847354"/>
                  </a:lnTo>
                  <a:cubicBezTo>
                    <a:pt x="5910" y="847354"/>
                    <a:pt x="0" y="853264"/>
                    <a:pt x="0" y="860510"/>
                  </a:cubicBezTo>
                  <a:lnTo>
                    <a:pt x="0" y="1034215"/>
                  </a:lnTo>
                  <a:cubicBezTo>
                    <a:pt x="0" y="1041461"/>
                    <a:pt x="5910" y="1047371"/>
                    <a:pt x="13156" y="1047371"/>
                  </a:cubicBezTo>
                  <a:lnTo>
                    <a:pt x="19026" y="1047371"/>
                  </a:lnTo>
                  <a:lnTo>
                    <a:pt x="19026" y="2560682"/>
                  </a:lnTo>
                  <a:cubicBezTo>
                    <a:pt x="19026" y="2675446"/>
                    <a:pt x="112376" y="2768796"/>
                    <a:pt x="227140" y="2768796"/>
                  </a:cubicBezTo>
                  <a:lnTo>
                    <a:pt x="1138657" y="2768796"/>
                  </a:lnTo>
                  <a:cubicBezTo>
                    <a:pt x="1253421" y="2768796"/>
                    <a:pt x="1346771" y="2675446"/>
                    <a:pt x="1346771" y="2560682"/>
                  </a:cubicBezTo>
                  <a:lnTo>
                    <a:pt x="1346771" y="801124"/>
                  </a:lnTo>
                  <a:lnTo>
                    <a:pt x="1350414" y="801124"/>
                  </a:lnTo>
                  <a:cubicBezTo>
                    <a:pt x="1357660" y="801124"/>
                    <a:pt x="1363570" y="795214"/>
                    <a:pt x="1363570" y="787968"/>
                  </a:cubicBezTo>
                  <a:lnTo>
                    <a:pt x="1363570" y="614263"/>
                  </a:lnTo>
                  <a:cubicBezTo>
                    <a:pt x="1363570" y="607016"/>
                    <a:pt x="1357660" y="601106"/>
                    <a:pt x="1350414" y="601106"/>
                  </a:cubicBezTo>
                  <a:lnTo>
                    <a:pt x="1350414" y="601106"/>
                  </a:lnTo>
                  <a:close/>
                  <a:moveTo>
                    <a:pt x="1298193" y="2421062"/>
                  </a:moveTo>
                  <a:lnTo>
                    <a:pt x="67563" y="2421062"/>
                  </a:lnTo>
                  <a:lnTo>
                    <a:pt x="67563" y="333525"/>
                  </a:lnTo>
                  <a:lnTo>
                    <a:pt x="1298193" y="333525"/>
                  </a:lnTo>
                  <a:lnTo>
                    <a:pt x="1298193" y="2421103"/>
                  </a:lnTo>
                  <a:close/>
                </a:path>
              </a:pathLst>
            </a:custGeom>
            <a:gradFill>
              <a:gsLst>
                <a:gs pos="0">
                  <a:schemeClr val="tx1"/>
                </a:gs>
                <a:gs pos="78000">
                  <a:schemeClr val="tx1">
                    <a:lumMod val="85000"/>
                    <a:lumOff val="15000"/>
                  </a:schemeClr>
                </a:gs>
                <a:gs pos="87000">
                  <a:schemeClr val="tx1">
                    <a:lumMod val="75000"/>
                    <a:lumOff val="25000"/>
                  </a:schemeClr>
                </a:gs>
                <a:gs pos="100000">
                  <a:schemeClr val="bg1">
                    <a:lumMod val="50000"/>
                  </a:schemeClr>
                </a:gs>
              </a:gsLst>
              <a:lin ang="3600000" scaled="0"/>
            </a:gradFill>
            <a:ln w="4048" cap="flat">
              <a:noFill/>
              <a:prstDash val="solid"/>
              <a:miter/>
            </a:ln>
          </p:spPr>
          <p:txBody>
            <a:bodyPr rtlCol="0" anchor="ctr"/>
            <a:lstStyle/>
            <a:p>
              <a:endParaRPr lang="en-GB"/>
            </a:p>
          </p:txBody>
        </p:sp>
        <p:sp>
          <p:nvSpPr>
            <p:cNvPr id="26" name="Freeform 25">
              <a:extLst>
                <a:ext uri="{FF2B5EF4-FFF2-40B4-BE49-F238E27FC236}">
                  <a16:creationId xmlns:a16="http://schemas.microsoft.com/office/drawing/2014/main" id="{5F27A178-73BA-65EC-8852-F08EBE8ED68E}"/>
                </a:ext>
              </a:extLst>
            </p:cNvPr>
            <p:cNvSpPr/>
            <p:nvPr/>
          </p:nvSpPr>
          <p:spPr>
            <a:xfrm>
              <a:off x="-3025706" y="2335507"/>
              <a:ext cx="203620" cy="203620"/>
            </a:xfrm>
            <a:custGeom>
              <a:avLst/>
              <a:gdLst>
                <a:gd name="connsiteX0" fmla="*/ 101810 w 203620"/>
                <a:gd name="connsiteY0" fmla="*/ 203621 h 203620"/>
                <a:gd name="connsiteX1" fmla="*/ 0 w 203620"/>
                <a:gd name="connsiteY1" fmla="*/ 101810 h 203620"/>
                <a:gd name="connsiteX2" fmla="*/ 101810 w 203620"/>
                <a:gd name="connsiteY2" fmla="*/ 0 h 203620"/>
                <a:gd name="connsiteX3" fmla="*/ 203620 w 203620"/>
                <a:gd name="connsiteY3" fmla="*/ 101810 h 203620"/>
                <a:gd name="connsiteX4" fmla="*/ 101810 w 203620"/>
                <a:gd name="connsiteY4" fmla="*/ 203621 h 203620"/>
                <a:gd name="connsiteX5" fmla="*/ 101810 w 203620"/>
                <a:gd name="connsiteY5" fmla="*/ 16152 h 203620"/>
                <a:gd name="connsiteX6" fmla="*/ 16193 w 203620"/>
                <a:gd name="connsiteY6" fmla="*/ 101770 h 203620"/>
                <a:gd name="connsiteX7" fmla="*/ 101810 w 203620"/>
                <a:gd name="connsiteY7" fmla="*/ 187388 h 203620"/>
                <a:gd name="connsiteX8" fmla="*/ 187428 w 203620"/>
                <a:gd name="connsiteY8" fmla="*/ 101770 h 203620"/>
                <a:gd name="connsiteX9" fmla="*/ 101810 w 203620"/>
                <a:gd name="connsiteY9" fmla="*/ 16152 h 203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620" h="203620">
                  <a:moveTo>
                    <a:pt x="101810" y="203621"/>
                  </a:moveTo>
                  <a:cubicBezTo>
                    <a:pt x="45662" y="203621"/>
                    <a:pt x="0" y="157958"/>
                    <a:pt x="0" y="101810"/>
                  </a:cubicBezTo>
                  <a:cubicBezTo>
                    <a:pt x="0" y="45663"/>
                    <a:pt x="45662" y="0"/>
                    <a:pt x="101810" y="0"/>
                  </a:cubicBezTo>
                  <a:cubicBezTo>
                    <a:pt x="157957" y="0"/>
                    <a:pt x="203620" y="45663"/>
                    <a:pt x="203620" y="101810"/>
                  </a:cubicBezTo>
                  <a:cubicBezTo>
                    <a:pt x="203620" y="157958"/>
                    <a:pt x="157957" y="203621"/>
                    <a:pt x="101810" y="203621"/>
                  </a:cubicBezTo>
                  <a:close/>
                  <a:moveTo>
                    <a:pt x="101810" y="16152"/>
                  </a:moveTo>
                  <a:cubicBezTo>
                    <a:pt x="54609" y="16152"/>
                    <a:pt x="16193" y="54569"/>
                    <a:pt x="16193" y="101770"/>
                  </a:cubicBezTo>
                  <a:cubicBezTo>
                    <a:pt x="16193" y="148971"/>
                    <a:pt x="54609" y="187388"/>
                    <a:pt x="101810" y="187388"/>
                  </a:cubicBezTo>
                  <a:cubicBezTo>
                    <a:pt x="149011" y="187388"/>
                    <a:pt x="187428" y="148971"/>
                    <a:pt x="187428" y="101770"/>
                  </a:cubicBezTo>
                  <a:cubicBezTo>
                    <a:pt x="187428" y="54569"/>
                    <a:pt x="149011" y="16152"/>
                    <a:pt x="101810" y="16152"/>
                  </a:cubicBezTo>
                  <a:close/>
                </a:path>
              </a:pathLst>
            </a:custGeom>
            <a:solidFill>
              <a:schemeClr val="tx1">
                <a:lumMod val="65000"/>
                <a:lumOff val="35000"/>
              </a:schemeClr>
            </a:solidFill>
            <a:ln w="4048" cap="flat">
              <a:noFill/>
              <a:prstDash val="solid"/>
              <a:miter/>
            </a:ln>
          </p:spPr>
          <p:txBody>
            <a:bodyPr rtlCol="0" anchor="ctr"/>
            <a:lstStyle/>
            <a:p>
              <a:endParaRPr lang="en-GB"/>
            </a:p>
          </p:txBody>
        </p:sp>
        <p:sp>
          <p:nvSpPr>
            <p:cNvPr id="27" name="Freeform 26">
              <a:extLst>
                <a:ext uri="{FF2B5EF4-FFF2-40B4-BE49-F238E27FC236}">
                  <a16:creationId xmlns:a16="http://schemas.microsoft.com/office/drawing/2014/main" id="{496BA5AE-C5BB-ADAC-69EB-D492ED1D6C73}"/>
                </a:ext>
              </a:extLst>
            </p:cNvPr>
            <p:cNvSpPr/>
            <p:nvPr/>
          </p:nvSpPr>
          <p:spPr>
            <a:xfrm>
              <a:off x="-3043720" y="33824"/>
              <a:ext cx="239689" cy="36433"/>
            </a:xfrm>
            <a:custGeom>
              <a:avLst/>
              <a:gdLst>
                <a:gd name="connsiteX0" fmla="*/ 221473 w 239689"/>
                <a:gd name="connsiteY0" fmla="*/ 36433 h 36433"/>
                <a:gd name="connsiteX1" fmla="*/ 18217 w 239689"/>
                <a:gd name="connsiteY1" fmla="*/ 36433 h 36433"/>
                <a:gd name="connsiteX2" fmla="*/ 0 w 239689"/>
                <a:gd name="connsiteY2" fmla="*/ 18217 h 36433"/>
                <a:gd name="connsiteX3" fmla="*/ 18217 w 239689"/>
                <a:gd name="connsiteY3" fmla="*/ 0 h 36433"/>
                <a:gd name="connsiteX4" fmla="*/ 221473 w 239689"/>
                <a:gd name="connsiteY4" fmla="*/ 0 h 36433"/>
                <a:gd name="connsiteX5" fmla="*/ 239690 w 239689"/>
                <a:gd name="connsiteY5" fmla="*/ 18217 h 36433"/>
                <a:gd name="connsiteX6" fmla="*/ 221473 w 239689"/>
                <a:gd name="connsiteY6" fmla="*/ 36433 h 36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689" h="36433">
                  <a:moveTo>
                    <a:pt x="221473" y="36433"/>
                  </a:moveTo>
                  <a:lnTo>
                    <a:pt x="18217" y="36433"/>
                  </a:lnTo>
                  <a:cubicBezTo>
                    <a:pt x="8137" y="36433"/>
                    <a:pt x="0" y="28296"/>
                    <a:pt x="0" y="18217"/>
                  </a:cubicBezTo>
                  <a:cubicBezTo>
                    <a:pt x="0" y="8137"/>
                    <a:pt x="8137" y="0"/>
                    <a:pt x="18217" y="0"/>
                  </a:cubicBezTo>
                  <a:lnTo>
                    <a:pt x="221473" y="0"/>
                  </a:lnTo>
                  <a:cubicBezTo>
                    <a:pt x="231553" y="0"/>
                    <a:pt x="239690" y="8137"/>
                    <a:pt x="239690" y="18217"/>
                  </a:cubicBezTo>
                  <a:cubicBezTo>
                    <a:pt x="239690" y="28296"/>
                    <a:pt x="231553" y="36433"/>
                    <a:pt x="221473" y="36433"/>
                  </a:cubicBezTo>
                  <a:close/>
                </a:path>
              </a:pathLst>
            </a:custGeom>
            <a:solidFill>
              <a:schemeClr val="tx1">
                <a:lumMod val="65000"/>
                <a:lumOff val="35000"/>
              </a:schemeClr>
            </a:solidFill>
            <a:ln w="4048" cap="flat">
              <a:noFill/>
              <a:prstDash val="solid"/>
              <a:miter/>
            </a:ln>
          </p:spPr>
          <p:txBody>
            <a:bodyPr rtlCol="0" anchor="ctr"/>
            <a:lstStyle/>
            <a:p>
              <a:endParaRPr lang="en-GB"/>
            </a:p>
          </p:txBody>
        </p:sp>
        <p:sp>
          <p:nvSpPr>
            <p:cNvPr id="28" name="Freeform 27">
              <a:extLst>
                <a:ext uri="{FF2B5EF4-FFF2-40B4-BE49-F238E27FC236}">
                  <a16:creationId xmlns:a16="http://schemas.microsoft.com/office/drawing/2014/main" id="{EABA1FE9-FA8A-34EC-1D71-653112AD96A6}"/>
                </a:ext>
              </a:extLst>
            </p:cNvPr>
            <p:cNvSpPr/>
            <p:nvPr/>
          </p:nvSpPr>
          <p:spPr>
            <a:xfrm>
              <a:off x="-3156825" y="33824"/>
              <a:ext cx="36433" cy="36433"/>
            </a:xfrm>
            <a:custGeom>
              <a:avLst/>
              <a:gdLst>
                <a:gd name="connsiteX0" fmla="*/ 18217 w 36433"/>
                <a:gd name="connsiteY0" fmla="*/ 36433 h 36433"/>
                <a:gd name="connsiteX1" fmla="*/ 5343 w 36433"/>
                <a:gd name="connsiteY1" fmla="*/ 31090 h 36433"/>
                <a:gd name="connsiteX2" fmla="*/ 3077 w 36433"/>
                <a:gd name="connsiteY2" fmla="*/ 28337 h 36433"/>
                <a:gd name="connsiteX3" fmla="*/ 1417 w 36433"/>
                <a:gd name="connsiteY3" fmla="*/ 25179 h 36433"/>
                <a:gd name="connsiteX4" fmla="*/ 364 w 36433"/>
                <a:gd name="connsiteY4" fmla="*/ 21779 h 36433"/>
                <a:gd name="connsiteX5" fmla="*/ 0 w 36433"/>
                <a:gd name="connsiteY5" fmla="*/ 18217 h 36433"/>
                <a:gd name="connsiteX6" fmla="*/ 364 w 36433"/>
                <a:gd name="connsiteY6" fmla="*/ 14654 h 36433"/>
                <a:gd name="connsiteX7" fmla="*/ 1417 w 36433"/>
                <a:gd name="connsiteY7" fmla="*/ 11254 h 36433"/>
                <a:gd name="connsiteX8" fmla="*/ 3077 w 36433"/>
                <a:gd name="connsiteY8" fmla="*/ 8096 h 36433"/>
                <a:gd name="connsiteX9" fmla="*/ 5343 w 36433"/>
                <a:gd name="connsiteY9" fmla="*/ 5343 h 36433"/>
                <a:gd name="connsiteX10" fmla="*/ 8096 w 36433"/>
                <a:gd name="connsiteY10" fmla="*/ 3077 h 36433"/>
                <a:gd name="connsiteX11" fmla="*/ 11253 w 36433"/>
                <a:gd name="connsiteY11" fmla="*/ 1417 h 36433"/>
                <a:gd name="connsiteX12" fmla="*/ 14654 w 36433"/>
                <a:gd name="connsiteY12" fmla="*/ 364 h 36433"/>
                <a:gd name="connsiteX13" fmla="*/ 21779 w 36433"/>
                <a:gd name="connsiteY13" fmla="*/ 364 h 36433"/>
                <a:gd name="connsiteX14" fmla="*/ 25179 w 36433"/>
                <a:gd name="connsiteY14" fmla="*/ 1417 h 36433"/>
                <a:gd name="connsiteX15" fmla="*/ 28337 w 36433"/>
                <a:gd name="connsiteY15" fmla="*/ 3077 h 36433"/>
                <a:gd name="connsiteX16" fmla="*/ 31089 w 36433"/>
                <a:gd name="connsiteY16" fmla="*/ 5343 h 36433"/>
                <a:gd name="connsiteX17" fmla="*/ 36433 w 36433"/>
                <a:gd name="connsiteY17" fmla="*/ 18217 h 36433"/>
                <a:gd name="connsiteX18" fmla="*/ 31089 w 36433"/>
                <a:gd name="connsiteY18" fmla="*/ 31090 h 36433"/>
                <a:gd name="connsiteX19" fmla="*/ 18217 w 36433"/>
                <a:gd name="connsiteY19" fmla="*/ 36433 h 36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6433" h="36433">
                  <a:moveTo>
                    <a:pt x="18217" y="36433"/>
                  </a:moveTo>
                  <a:cubicBezTo>
                    <a:pt x="13440" y="36433"/>
                    <a:pt x="8744" y="34490"/>
                    <a:pt x="5343" y="31090"/>
                  </a:cubicBezTo>
                  <a:cubicBezTo>
                    <a:pt x="4493" y="30280"/>
                    <a:pt x="3724" y="29349"/>
                    <a:pt x="3077" y="28337"/>
                  </a:cubicBezTo>
                  <a:cubicBezTo>
                    <a:pt x="2429" y="27325"/>
                    <a:pt x="1862" y="26272"/>
                    <a:pt x="1417" y="25179"/>
                  </a:cubicBezTo>
                  <a:cubicBezTo>
                    <a:pt x="931" y="24086"/>
                    <a:pt x="607" y="22953"/>
                    <a:pt x="364" y="21779"/>
                  </a:cubicBezTo>
                  <a:cubicBezTo>
                    <a:pt x="121" y="20605"/>
                    <a:pt x="0" y="19390"/>
                    <a:pt x="0" y="18217"/>
                  </a:cubicBezTo>
                  <a:cubicBezTo>
                    <a:pt x="0" y="17043"/>
                    <a:pt x="121" y="15828"/>
                    <a:pt x="364" y="14654"/>
                  </a:cubicBezTo>
                  <a:cubicBezTo>
                    <a:pt x="607" y="13480"/>
                    <a:pt x="931" y="12347"/>
                    <a:pt x="1417" y="11254"/>
                  </a:cubicBezTo>
                  <a:cubicBezTo>
                    <a:pt x="1862" y="10161"/>
                    <a:pt x="2429" y="9108"/>
                    <a:pt x="3077" y="8096"/>
                  </a:cubicBezTo>
                  <a:cubicBezTo>
                    <a:pt x="3724" y="7125"/>
                    <a:pt x="4493" y="6194"/>
                    <a:pt x="5343" y="5343"/>
                  </a:cubicBezTo>
                  <a:cubicBezTo>
                    <a:pt x="6193" y="4493"/>
                    <a:pt x="7125" y="3724"/>
                    <a:pt x="8096" y="3077"/>
                  </a:cubicBezTo>
                  <a:cubicBezTo>
                    <a:pt x="9108" y="2429"/>
                    <a:pt x="10161" y="1862"/>
                    <a:pt x="11253" y="1417"/>
                  </a:cubicBezTo>
                  <a:cubicBezTo>
                    <a:pt x="12346" y="931"/>
                    <a:pt x="13521" y="607"/>
                    <a:pt x="14654" y="364"/>
                  </a:cubicBezTo>
                  <a:cubicBezTo>
                    <a:pt x="17002" y="-121"/>
                    <a:pt x="19431" y="-121"/>
                    <a:pt x="21779" y="364"/>
                  </a:cubicBezTo>
                  <a:cubicBezTo>
                    <a:pt x="22953" y="607"/>
                    <a:pt x="24086" y="931"/>
                    <a:pt x="25179" y="1417"/>
                  </a:cubicBezTo>
                  <a:cubicBezTo>
                    <a:pt x="26272" y="1862"/>
                    <a:pt x="27365" y="2429"/>
                    <a:pt x="28337" y="3077"/>
                  </a:cubicBezTo>
                  <a:cubicBezTo>
                    <a:pt x="29349" y="3724"/>
                    <a:pt x="30280" y="4493"/>
                    <a:pt x="31089" y="5343"/>
                  </a:cubicBezTo>
                  <a:cubicBezTo>
                    <a:pt x="34490" y="8744"/>
                    <a:pt x="36433" y="13440"/>
                    <a:pt x="36433" y="18217"/>
                  </a:cubicBezTo>
                  <a:cubicBezTo>
                    <a:pt x="36433" y="22993"/>
                    <a:pt x="34490" y="27689"/>
                    <a:pt x="31089" y="31090"/>
                  </a:cubicBezTo>
                  <a:cubicBezTo>
                    <a:pt x="27730" y="34490"/>
                    <a:pt x="23034" y="36433"/>
                    <a:pt x="18217" y="36433"/>
                  </a:cubicBezTo>
                  <a:close/>
                </a:path>
              </a:pathLst>
            </a:custGeom>
            <a:solidFill>
              <a:schemeClr val="tx1">
                <a:lumMod val="65000"/>
                <a:lumOff val="35000"/>
              </a:schemeClr>
            </a:solidFill>
            <a:ln w="4048" cap="flat">
              <a:noFill/>
              <a:prstDash val="solid"/>
              <a:miter/>
            </a:ln>
          </p:spPr>
          <p:txBody>
            <a:bodyPr rtlCol="0" anchor="ctr"/>
            <a:lstStyle/>
            <a:p>
              <a:endParaRPr lang="en-GB"/>
            </a:p>
          </p:txBody>
        </p:sp>
      </p:grpSp>
    </p:spTree>
    <p:extLst>
      <p:ext uri="{BB962C8B-B14F-4D97-AF65-F5344CB8AC3E}">
        <p14:creationId xmlns:p14="http://schemas.microsoft.com/office/powerpoint/2010/main" val="247196720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7 Mockup Samsung Xcover 5">
    <p:bg>
      <p:bgPr>
        <a:solidFill>
          <a:srgbClr val="EBF2F3"/>
        </a:solidFill>
        <a:effectLst/>
      </p:bgPr>
    </p:bg>
    <p:spTree>
      <p:nvGrpSpPr>
        <p:cNvPr id="1" name=""/>
        <p:cNvGrpSpPr/>
        <p:nvPr/>
      </p:nvGrpSpPr>
      <p:grpSpPr>
        <a:xfrm>
          <a:off x="0" y="0"/>
          <a:ext cx="0" cy="0"/>
          <a:chOff x="0" y="0"/>
          <a:chExt cx="0" cy="0"/>
        </a:xfrm>
      </p:grpSpPr>
      <p:sp>
        <p:nvSpPr>
          <p:cNvPr id="38" name="Picture Placeholder 37">
            <a:extLst>
              <a:ext uri="{FF2B5EF4-FFF2-40B4-BE49-F238E27FC236}">
                <a16:creationId xmlns:a16="http://schemas.microsoft.com/office/drawing/2014/main" id="{7539A5C1-D35D-699A-EDB3-89B231932F8F}"/>
              </a:ext>
            </a:extLst>
          </p:cNvPr>
          <p:cNvSpPr>
            <a:spLocks noGrp="1"/>
          </p:cNvSpPr>
          <p:nvPr>
            <p:ph type="pic" sz="quarter" idx="12" hasCustomPrompt="1"/>
          </p:nvPr>
        </p:nvSpPr>
        <p:spPr>
          <a:xfrm>
            <a:off x="5885195" y="723714"/>
            <a:ext cx="1764638" cy="3564000"/>
          </a:xfrm>
          <a:custGeom>
            <a:avLst/>
            <a:gdLst>
              <a:gd name="connsiteX0" fmla="*/ 0 w 1919002"/>
              <a:gd name="connsiteY0" fmla="*/ 0 h 3241550"/>
              <a:gd name="connsiteX1" fmla="*/ 1919002 w 1919002"/>
              <a:gd name="connsiteY1" fmla="*/ 0 h 3241550"/>
              <a:gd name="connsiteX2" fmla="*/ 1919002 w 1919002"/>
              <a:gd name="connsiteY2" fmla="*/ 3241550 h 3241550"/>
              <a:gd name="connsiteX3" fmla="*/ 0 w 1919002"/>
              <a:gd name="connsiteY3" fmla="*/ 3241550 h 3241550"/>
            </a:gdLst>
            <a:ahLst/>
            <a:cxnLst>
              <a:cxn ang="0">
                <a:pos x="connsiteX0" y="connsiteY0"/>
              </a:cxn>
              <a:cxn ang="0">
                <a:pos x="connsiteX1" y="connsiteY1"/>
              </a:cxn>
              <a:cxn ang="0">
                <a:pos x="connsiteX2" y="connsiteY2"/>
              </a:cxn>
              <a:cxn ang="0">
                <a:pos x="connsiteX3" y="connsiteY3"/>
              </a:cxn>
            </a:cxnLst>
            <a:rect l="l" t="t" r="r" b="b"/>
            <a:pathLst>
              <a:path w="1919002" h="3241550">
                <a:moveTo>
                  <a:pt x="0" y="0"/>
                </a:moveTo>
                <a:lnTo>
                  <a:pt x="1919002" y="0"/>
                </a:lnTo>
                <a:lnTo>
                  <a:pt x="1919002" y="3241550"/>
                </a:lnTo>
                <a:lnTo>
                  <a:pt x="0" y="3241550"/>
                </a:lnTo>
                <a:close/>
              </a:path>
            </a:pathLst>
          </a:custGeom>
          <a:blipFill dpi="0" rotWithShape="1">
            <a:blip r:embed="rId2"/>
            <a:srcRect/>
            <a:tile tx="0" ty="0" sx="100000" sy="100000" flip="none" algn="tl"/>
          </a:blipFill>
        </p:spPr>
        <p:txBody>
          <a:bodyPr wrap="square">
            <a:noAutofit/>
          </a:bodyPr>
          <a:lstStyle>
            <a:lvl1pPr marL="4763" indent="-4763" algn="ctr">
              <a:buFont typeface="Arial" panose="020B0604020202020204" pitchFamily="34" charset="0"/>
              <a:buNone/>
              <a:tabLst/>
              <a:defRPr sz="800"/>
            </a:lvl1pPr>
          </a:lstStyle>
          <a:p>
            <a:r>
              <a:rPr lang="en-GB" noProof="0"/>
              <a:t>Click on the icon to add screenshot</a:t>
            </a:r>
          </a:p>
        </p:txBody>
      </p:sp>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323850" y="525600"/>
            <a:ext cx="4176713" cy="1498314"/>
          </a:xfrm>
        </p:spPr>
        <p:txBody>
          <a:bodyPr rIns="144000"/>
          <a:lstStyle>
            <a:lvl1pPr>
              <a:defRPr sz="3000" spc="-50"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49" y="276226"/>
            <a:ext cx="4176077" cy="276999"/>
          </a:xfrm>
        </p:spPr>
        <p:txBody>
          <a:bodyPr lIns="111600" rIns="144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a:t>
            </a:r>
            <a:r>
              <a:rPr lang="en-GB" noProof="0" err="1"/>
              <a:t>subheader</a:t>
            </a:r>
            <a:endParaRPr lang="en-GB" noProof="0"/>
          </a:p>
        </p:txBody>
      </p:sp>
      <p:sp>
        <p:nvSpPr>
          <p:cNvPr id="12" name="Text">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323851" y="2103438"/>
            <a:ext cx="4176712" cy="2592387"/>
          </a:xfrm>
        </p:spPr>
        <p:txBody>
          <a:bodyPr rIns="144000"/>
          <a:lstStyle>
            <a:lvl1pPr>
              <a:defRPr sz="1400"/>
            </a:lvl1pPr>
            <a:lvl2pPr>
              <a:defRPr sz="1200"/>
            </a:lvl2pPr>
            <a:lvl3pPr>
              <a:defRPr sz="1200"/>
            </a:lvl3pPr>
            <a:lvl4pPr>
              <a:defRPr sz="1200"/>
            </a:lvl4pPr>
            <a:lvl5pPr>
              <a:defRPr sz="12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5" name="Date">
            <a:extLst>
              <a:ext uri="{FF2B5EF4-FFF2-40B4-BE49-F238E27FC236}">
                <a16:creationId xmlns:a16="http://schemas.microsoft.com/office/drawing/2014/main" id="{FED9A850-451C-994B-9CEF-A2B324B2852F}"/>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48C459B1-3C09-4F3B-BEC1-C1B0D40C872E}" type="datetime1">
              <a:rPr lang="sv-SE" noProof="0" smtClean="0"/>
              <a:t>2025-09-04</a:t>
            </a:fld>
            <a:endParaRPr lang="en-GB" noProof="0"/>
          </a:p>
        </p:txBody>
      </p:sp>
      <p:sp>
        <p:nvSpPr>
          <p:cNvPr id="36" name="Number">
            <a:extLst>
              <a:ext uri="{FF2B5EF4-FFF2-40B4-BE49-F238E27FC236}">
                <a16:creationId xmlns:a16="http://schemas.microsoft.com/office/drawing/2014/main" id="{3D6301AA-5E2B-7F46-BF55-64A8320A6BF9}"/>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3" name="Footer">
            <a:extLst>
              <a:ext uri="{FF2B5EF4-FFF2-40B4-BE49-F238E27FC236}">
                <a16:creationId xmlns:a16="http://schemas.microsoft.com/office/drawing/2014/main" id="{DC643E75-61AD-CE44-8B9B-514A1A088DD3}"/>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grpSp>
        <p:nvGrpSpPr>
          <p:cNvPr id="17" name="Group 16">
            <a:extLst>
              <a:ext uri="{FF2B5EF4-FFF2-40B4-BE49-F238E27FC236}">
                <a16:creationId xmlns:a16="http://schemas.microsoft.com/office/drawing/2014/main" id="{A79F5513-0E4F-4253-6618-A9E04F5666E7}"/>
              </a:ext>
            </a:extLst>
          </p:cNvPr>
          <p:cNvGrpSpPr/>
          <p:nvPr userDrawn="1"/>
        </p:nvGrpSpPr>
        <p:grpSpPr>
          <a:xfrm>
            <a:off x="5698184" y="334075"/>
            <a:ext cx="2147756" cy="4335435"/>
            <a:chOff x="-3756800" y="792460"/>
            <a:chExt cx="1380694" cy="2787053"/>
          </a:xfrm>
        </p:grpSpPr>
        <p:sp>
          <p:nvSpPr>
            <p:cNvPr id="5" name="Freeform 4">
              <a:extLst>
                <a:ext uri="{FF2B5EF4-FFF2-40B4-BE49-F238E27FC236}">
                  <a16:creationId xmlns:a16="http://schemas.microsoft.com/office/drawing/2014/main" id="{1F168B19-C08A-4D70-F49F-751CCD6AE924}"/>
                </a:ext>
              </a:extLst>
            </p:cNvPr>
            <p:cNvSpPr/>
            <p:nvPr/>
          </p:nvSpPr>
          <p:spPr>
            <a:xfrm>
              <a:off x="-3756800" y="792460"/>
              <a:ext cx="1380694" cy="2787053"/>
            </a:xfrm>
            <a:custGeom>
              <a:avLst/>
              <a:gdLst>
                <a:gd name="connsiteX0" fmla="*/ 1367497 w 1380694"/>
                <a:gd name="connsiteY0" fmla="*/ 604507 h 2787053"/>
                <a:gd name="connsiteX1" fmla="*/ 1380654 w 1380694"/>
                <a:gd name="connsiteY1" fmla="*/ 591350 h 2787053"/>
                <a:gd name="connsiteX2" fmla="*/ 1380654 w 1380694"/>
                <a:gd name="connsiteY2" fmla="*/ 417605 h 2787053"/>
                <a:gd name="connsiteX3" fmla="*/ 1367497 w 1380694"/>
                <a:gd name="connsiteY3" fmla="*/ 404448 h 2787053"/>
                <a:gd name="connsiteX4" fmla="*/ 1357903 w 1380694"/>
                <a:gd name="connsiteY4" fmla="*/ 404448 h 2787053"/>
                <a:gd name="connsiteX5" fmla="*/ 1357903 w 1380694"/>
                <a:gd name="connsiteY5" fmla="*/ 222161 h 2787053"/>
                <a:gd name="connsiteX6" fmla="*/ 1372233 w 1380694"/>
                <a:gd name="connsiteY6" fmla="*/ 179656 h 2787053"/>
                <a:gd name="connsiteX7" fmla="*/ 1372233 w 1380694"/>
                <a:gd name="connsiteY7" fmla="*/ 70640 h 2787053"/>
                <a:gd name="connsiteX8" fmla="*/ 1301594 w 1380694"/>
                <a:gd name="connsiteY8" fmla="*/ 0 h 2787053"/>
                <a:gd name="connsiteX9" fmla="*/ 1067207 w 1380694"/>
                <a:gd name="connsiteY9" fmla="*/ 0 h 2787053"/>
                <a:gd name="connsiteX10" fmla="*/ 1020573 w 1380694"/>
                <a:gd name="connsiteY10" fmla="*/ 17650 h 2787053"/>
                <a:gd name="connsiteX11" fmla="*/ 353199 w 1380694"/>
                <a:gd name="connsiteY11" fmla="*/ 17650 h 2787053"/>
                <a:gd name="connsiteX12" fmla="*/ 306564 w 1380694"/>
                <a:gd name="connsiteY12" fmla="*/ 0 h 2787053"/>
                <a:gd name="connsiteX13" fmla="*/ 72178 w 1380694"/>
                <a:gd name="connsiteY13" fmla="*/ 0 h 2787053"/>
                <a:gd name="connsiteX14" fmla="*/ 1538 w 1380694"/>
                <a:gd name="connsiteY14" fmla="*/ 70640 h 2787053"/>
                <a:gd name="connsiteX15" fmla="*/ 1538 w 1380694"/>
                <a:gd name="connsiteY15" fmla="*/ 179656 h 2787053"/>
                <a:gd name="connsiteX16" fmla="*/ 15869 w 1380694"/>
                <a:gd name="connsiteY16" fmla="*/ 222161 h 2787053"/>
                <a:gd name="connsiteX17" fmla="*/ 15869 w 1380694"/>
                <a:gd name="connsiteY17" fmla="*/ 808977 h 2787053"/>
                <a:gd name="connsiteX18" fmla="*/ 5708 w 1380694"/>
                <a:gd name="connsiteY18" fmla="*/ 808977 h 2787053"/>
                <a:gd name="connsiteX19" fmla="*/ 0 w 1380694"/>
                <a:gd name="connsiteY19" fmla="*/ 814685 h 2787053"/>
                <a:gd name="connsiteX20" fmla="*/ 0 w 1380694"/>
                <a:gd name="connsiteY20" fmla="*/ 1179664 h 2787053"/>
                <a:gd name="connsiteX21" fmla="*/ 5708 w 1380694"/>
                <a:gd name="connsiteY21" fmla="*/ 1185372 h 2787053"/>
                <a:gd name="connsiteX22" fmla="*/ 15869 w 1380694"/>
                <a:gd name="connsiteY22" fmla="*/ 1185372 h 2787053"/>
                <a:gd name="connsiteX23" fmla="*/ 15869 w 1380694"/>
                <a:gd name="connsiteY23" fmla="*/ 2564892 h 2787053"/>
                <a:gd name="connsiteX24" fmla="*/ 1538 w 1380694"/>
                <a:gd name="connsiteY24" fmla="*/ 2607397 h 2787053"/>
                <a:gd name="connsiteX25" fmla="*/ 1538 w 1380694"/>
                <a:gd name="connsiteY25" fmla="*/ 2716413 h 2787053"/>
                <a:gd name="connsiteX26" fmla="*/ 72178 w 1380694"/>
                <a:gd name="connsiteY26" fmla="*/ 2787053 h 2787053"/>
                <a:gd name="connsiteX27" fmla="*/ 306564 w 1380694"/>
                <a:gd name="connsiteY27" fmla="*/ 2787053 h 2787053"/>
                <a:gd name="connsiteX28" fmla="*/ 349474 w 1380694"/>
                <a:gd name="connsiteY28" fmla="*/ 2772440 h 2787053"/>
                <a:gd name="connsiteX29" fmla="*/ 1024337 w 1380694"/>
                <a:gd name="connsiteY29" fmla="*/ 2772440 h 2787053"/>
                <a:gd name="connsiteX30" fmla="*/ 1067248 w 1380694"/>
                <a:gd name="connsiteY30" fmla="*/ 2787053 h 2787053"/>
                <a:gd name="connsiteX31" fmla="*/ 1301634 w 1380694"/>
                <a:gd name="connsiteY31" fmla="*/ 2787053 h 2787053"/>
                <a:gd name="connsiteX32" fmla="*/ 1372274 w 1380694"/>
                <a:gd name="connsiteY32" fmla="*/ 2716413 h 2787053"/>
                <a:gd name="connsiteX33" fmla="*/ 1372274 w 1380694"/>
                <a:gd name="connsiteY33" fmla="*/ 2607397 h 2787053"/>
                <a:gd name="connsiteX34" fmla="*/ 1357944 w 1380694"/>
                <a:gd name="connsiteY34" fmla="*/ 2564892 h 2787053"/>
                <a:gd name="connsiteX35" fmla="*/ 1357944 w 1380694"/>
                <a:gd name="connsiteY35" fmla="*/ 1198852 h 2787053"/>
                <a:gd name="connsiteX36" fmla="*/ 1367538 w 1380694"/>
                <a:gd name="connsiteY36" fmla="*/ 1198852 h 2787053"/>
                <a:gd name="connsiteX37" fmla="*/ 1380694 w 1380694"/>
                <a:gd name="connsiteY37" fmla="*/ 1185696 h 2787053"/>
                <a:gd name="connsiteX38" fmla="*/ 1380694 w 1380694"/>
                <a:gd name="connsiteY38" fmla="*/ 1011991 h 2787053"/>
                <a:gd name="connsiteX39" fmla="*/ 1367538 w 1380694"/>
                <a:gd name="connsiteY39" fmla="*/ 998834 h 2787053"/>
                <a:gd name="connsiteX40" fmla="*/ 1357944 w 1380694"/>
                <a:gd name="connsiteY40" fmla="*/ 998834 h 2787053"/>
                <a:gd name="connsiteX41" fmla="*/ 1357944 w 1380694"/>
                <a:gd name="connsiteY41" fmla="*/ 811811 h 2787053"/>
                <a:gd name="connsiteX42" fmla="*/ 1367538 w 1380694"/>
                <a:gd name="connsiteY42" fmla="*/ 811811 h 2787053"/>
                <a:gd name="connsiteX43" fmla="*/ 1380694 w 1380694"/>
                <a:gd name="connsiteY43" fmla="*/ 798655 h 2787053"/>
                <a:gd name="connsiteX44" fmla="*/ 1380694 w 1380694"/>
                <a:gd name="connsiteY44" fmla="*/ 624950 h 2787053"/>
                <a:gd name="connsiteX45" fmla="*/ 1367538 w 1380694"/>
                <a:gd name="connsiteY45" fmla="*/ 611793 h 2787053"/>
                <a:gd name="connsiteX46" fmla="*/ 1357944 w 1380694"/>
                <a:gd name="connsiteY46" fmla="*/ 611793 h 2787053"/>
                <a:gd name="connsiteX47" fmla="*/ 1357944 w 1380694"/>
                <a:gd name="connsiteY47" fmla="*/ 604587 h 2787053"/>
                <a:gd name="connsiteX48" fmla="*/ 1367538 w 1380694"/>
                <a:gd name="connsiteY48" fmla="*/ 604587 h 2787053"/>
                <a:gd name="connsiteX49" fmla="*/ 1367538 w 1380694"/>
                <a:gd name="connsiteY49" fmla="*/ 604507 h 2787053"/>
                <a:gd name="connsiteX50" fmla="*/ 1274917 w 1380694"/>
                <a:gd name="connsiteY50" fmla="*/ 2569588 h 2787053"/>
                <a:gd name="connsiteX51" fmla="*/ 105615 w 1380694"/>
                <a:gd name="connsiteY51" fmla="*/ 2569588 h 2787053"/>
                <a:gd name="connsiteX52" fmla="*/ 105615 w 1380694"/>
                <a:gd name="connsiteY52" fmla="*/ 217465 h 2787053"/>
                <a:gd name="connsiteX53" fmla="*/ 1274917 w 1380694"/>
                <a:gd name="connsiteY53" fmla="*/ 217465 h 2787053"/>
                <a:gd name="connsiteX54" fmla="*/ 1274917 w 1380694"/>
                <a:gd name="connsiteY54" fmla="*/ 2569588 h 2787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380694" h="2787053">
                  <a:moveTo>
                    <a:pt x="1367497" y="604507"/>
                  </a:moveTo>
                  <a:cubicBezTo>
                    <a:pt x="1374743" y="604507"/>
                    <a:pt x="1380654" y="598596"/>
                    <a:pt x="1380654" y="591350"/>
                  </a:cubicBezTo>
                  <a:lnTo>
                    <a:pt x="1380654" y="417605"/>
                  </a:lnTo>
                  <a:cubicBezTo>
                    <a:pt x="1380654" y="410358"/>
                    <a:pt x="1374743" y="404448"/>
                    <a:pt x="1367497" y="404448"/>
                  </a:cubicBezTo>
                  <a:lnTo>
                    <a:pt x="1357903" y="404448"/>
                  </a:lnTo>
                  <a:lnTo>
                    <a:pt x="1357903" y="222161"/>
                  </a:lnTo>
                  <a:cubicBezTo>
                    <a:pt x="1366849" y="210341"/>
                    <a:pt x="1372233" y="195646"/>
                    <a:pt x="1372233" y="179656"/>
                  </a:cubicBezTo>
                  <a:lnTo>
                    <a:pt x="1372233" y="70640"/>
                  </a:lnTo>
                  <a:cubicBezTo>
                    <a:pt x="1372233" y="31616"/>
                    <a:pt x="1340618" y="0"/>
                    <a:pt x="1301594" y="0"/>
                  </a:cubicBezTo>
                  <a:lnTo>
                    <a:pt x="1067207" y="0"/>
                  </a:lnTo>
                  <a:cubicBezTo>
                    <a:pt x="1049314" y="0"/>
                    <a:pt x="1033041" y="6720"/>
                    <a:pt x="1020573" y="17650"/>
                  </a:cubicBezTo>
                  <a:lnTo>
                    <a:pt x="353199" y="17650"/>
                  </a:lnTo>
                  <a:cubicBezTo>
                    <a:pt x="340731" y="6679"/>
                    <a:pt x="324457" y="0"/>
                    <a:pt x="306564" y="0"/>
                  </a:cubicBezTo>
                  <a:lnTo>
                    <a:pt x="72178" y="0"/>
                  </a:lnTo>
                  <a:cubicBezTo>
                    <a:pt x="33154" y="0"/>
                    <a:pt x="1538" y="31616"/>
                    <a:pt x="1538" y="70640"/>
                  </a:cubicBezTo>
                  <a:lnTo>
                    <a:pt x="1538" y="179656"/>
                  </a:lnTo>
                  <a:cubicBezTo>
                    <a:pt x="1538" y="195646"/>
                    <a:pt x="6922" y="210341"/>
                    <a:pt x="15869" y="222161"/>
                  </a:cubicBezTo>
                  <a:lnTo>
                    <a:pt x="15869" y="808977"/>
                  </a:lnTo>
                  <a:lnTo>
                    <a:pt x="5708" y="808977"/>
                  </a:lnTo>
                  <a:cubicBezTo>
                    <a:pt x="2550" y="808977"/>
                    <a:pt x="0" y="811568"/>
                    <a:pt x="0" y="814685"/>
                  </a:cubicBezTo>
                  <a:lnTo>
                    <a:pt x="0" y="1179664"/>
                  </a:lnTo>
                  <a:cubicBezTo>
                    <a:pt x="0" y="1182822"/>
                    <a:pt x="2550" y="1185372"/>
                    <a:pt x="5708" y="1185372"/>
                  </a:cubicBezTo>
                  <a:lnTo>
                    <a:pt x="15869" y="1185372"/>
                  </a:lnTo>
                  <a:lnTo>
                    <a:pt x="15869" y="2564892"/>
                  </a:lnTo>
                  <a:cubicBezTo>
                    <a:pt x="6922" y="2576713"/>
                    <a:pt x="1538" y="2591407"/>
                    <a:pt x="1538" y="2607397"/>
                  </a:cubicBezTo>
                  <a:lnTo>
                    <a:pt x="1538" y="2716413"/>
                  </a:lnTo>
                  <a:cubicBezTo>
                    <a:pt x="1538" y="2755437"/>
                    <a:pt x="33154" y="2787053"/>
                    <a:pt x="72178" y="2787053"/>
                  </a:cubicBezTo>
                  <a:lnTo>
                    <a:pt x="306564" y="2787053"/>
                  </a:lnTo>
                  <a:cubicBezTo>
                    <a:pt x="322716" y="2787053"/>
                    <a:pt x="337573" y="2781588"/>
                    <a:pt x="349474" y="2772440"/>
                  </a:cubicBezTo>
                  <a:lnTo>
                    <a:pt x="1024337" y="2772440"/>
                  </a:lnTo>
                  <a:cubicBezTo>
                    <a:pt x="1036239" y="2781548"/>
                    <a:pt x="1051096" y="2787053"/>
                    <a:pt x="1067248" y="2787053"/>
                  </a:cubicBezTo>
                  <a:lnTo>
                    <a:pt x="1301634" y="2787053"/>
                  </a:lnTo>
                  <a:cubicBezTo>
                    <a:pt x="1340658" y="2787053"/>
                    <a:pt x="1372274" y="2755437"/>
                    <a:pt x="1372274" y="2716413"/>
                  </a:cubicBezTo>
                  <a:lnTo>
                    <a:pt x="1372274" y="2607397"/>
                  </a:lnTo>
                  <a:cubicBezTo>
                    <a:pt x="1372274" y="2591407"/>
                    <a:pt x="1366890" y="2576713"/>
                    <a:pt x="1357944" y="2564892"/>
                  </a:cubicBezTo>
                  <a:lnTo>
                    <a:pt x="1357944" y="1198852"/>
                  </a:lnTo>
                  <a:lnTo>
                    <a:pt x="1367538" y="1198852"/>
                  </a:lnTo>
                  <a:cubicBezTo>
                    <a:pt x="1374783" y="1198852"/>
                    <a:pt x="1380694" y="1192942"/>
                    <a:pt x="1380694" y="1185696"/>
                  </a:cubicBezTo>
                  <a:lnTo>
                    <a:pt x="1380694" y="1011991"/>
                  </a:lnTo>
                  <a:cubicBezTo>
                    <a:pt x="1380694" y="1004745"/>
                    <a:pt x="1374783" y="998834"/>
                    <a:pt x="1367538" y="998834"/>
                  </a:cubicBezTo>
                  <a:lnTo>
                    <a:pt x="1357944" y="998834"/>
                  </a:lnTo>
                  <a:lnTo>
                    <a:pt x="1357944" y="811811"/>
                  </a:lnTo>
                  <a:lnTo>
                    <a:pt x="1367538" y="811811"/>
                  </a:lnTo>
                  <a:cubicBezTo>
                    <a:pt x="1374783" y="811811"/>
                    <a:pt x="1380694" y="805901"/>
                    <a:pt x="1380694" y="798655"/>
                  </a:cubicBezTo>
                  <a:lnTo>
                    <a:pt x="1380694" y="624950"/>
                  </a:lnTo>
                  <a:cubicBezTo>
                    <a:pt x="1380694" y="617703"/>
                    <a:pt x="1374783" y="611793"/>
                    <a:pt x="1367538" y="611793"/>
                  </a:cubicBezTo>
                  <a:lnTo>
                    <a:pt x="1357944" y="611793"/>
                  </a:lnTo>
                  <a:lnTo>
                    <a:pt x="1357944" y="604587"/>
                  </a:lnTo>
                  <a:lnTo>
                    <a:pt x="1367538" y="604587"/>
                  </a:lnTo>
                  <a:lnTo>
                    <a:pt x="1367538" y="604507"/>
                  </a:lnTo>
                  <a:close/>
                  <a:moveTo>
                    <a:pt x="1274917" y="2569588"/>
                  </a:moveTo>
                  <a:lnTo>
                    <a:pt x="105615" y="2569588"/>
                  </a:lnTo>
                  <a:lnTo>
                    <a:pt x="105615" y="217465"/>
                  </a:lnTo>
                  <a:lnTo>
                    <a:pt x="1274917" y="217465"/>
                  </a:lnTo>
                  <a:lnTo>
                    <a:pt x="1274917" y="2569588"/>
                  </a:lnTo>
                  <a:close/>
                </a:path>
              </a:pathLst>
            </a:custGeom>
            <a:gradFill>
              <a:gsLst>
                <a:gs pos="0">
                  <a:schemeClr val="tx1"/>
                </a:gs>
                <a:gs pos="78000">
                  <a:schemeClr val="tx1">
                    <a:lumMod val="85000"/>
                    <a:lumOff val="15000"/>
                  </a:schemeClr>
                </a:gs>
                <a:gs pos="87000">
                  <a:schemeClr val="tx1">
                    <a:lumMod val="75000"/>
                    <a:lumOff val="25000"/>
                  </a:schemeClr>
                </a:gs>
                <a:gs pos="100000">
                  <a:schemeClr val="bg1">
                    <a:lumMod val="50000"/>
                  </a:schemeClr>
                </a:gs>
              </a:gsLst>
              <a:lin ang="3600000" scaled="0"/>
            </a:gradFill>
            <a:ln w="4048" cap="flat">
              <a:noFill/>
              <a:prstDash val="solid"/>
              <a:miter/>
            </a:ln>
          </p:spPr>
          <p:txBody>
            <a:bodyPr rtlCol="0" anchor="ctr"/>
            <a:lstStyle/>
            <a:p>
              <a:endParaRPr lang="en-GB"/>
            </a:p>
          </p:txBody>
        </p:sp>
        <p:sp>
          <p:nvSpPr>
            <p:cNvPr id="14" name="Freeform 13">
              <a:extLst>
                <a:ext uri="{FF2B5EF4-FFF2-40B4-BE49-F238E27FC236}">
                  <a16:creationId xmlns:a16="http://schemas.microsoft.com/office/drawing/2014/main" id="{70F328C2-B196-7A9A-5181-3F620259FBA0}"/>
                </a:ext>
              </a:extLst>
            </p:cNvPr>
            <p:cNvSpPr/>
            <p:nvPr/>
          </p:nvSpPr>
          <p:spPr>
            <a:xfrm>
              <a:off x="-3692597" y="857838"/>
              <a:ext cx="1245364" cy="2656298"/>
            </a:xfrm>
            <a:custGeom>
              <a:avLst/>
              <a:gdLst>
                <a:gd name="connsiteX0" fmla="*/ 1129184 w 1245364"/>
                <a:gd name="connsiteY0" fmla="*/ 0 h 2656298"/>
                <a:gd name="connsiteX1" fmla="*/ 116181 w 1245364"/>
                <a:gd name="connsiteY1" fmla="*/ 0 h 2656298"/>
                <a:gd name="connsiteX2" fmla="*/ 0 w 1245364"/>
                <a:gd name="connsiteY2" fmla="*/ 116181 h 2656298"/>
                <a:gd name="connsiteX3" fmla="*/ 0 w 1245364"/>
                <a:gd name="connsiteY3" fmla="*/ 2540118 h 2656298"/>
                <a:gd name="connsiteX4" fmla="*/ 116181 w 1245364"/>
                <a:gd name="connsiteY4" fmla="*/ 2656299 h 2656298"/>
                <a:gd name="connsiteX5" fmla="*/ 1129184 w 1245364"/>
                <a:gd name="connsiteY5" fmla="*/ 2656299 h 2656298"/>
                <a:gd name="connsiteX6" fmla="*/ 1245365 w 1245364"/>
                <a:gd name="connsiteY6" fmla="*/ 2540118 h 2656298"/>
                <a:gd name="connsiteX7" fmla="*/ 1245365 w 1245364"/>
                <a:gd name="connsiteY7" fmla="*/ 116181 h 2656298"/>
                <a:gd name="connsiteX8" fmla="*/ 1129184 w 1245364"/>
                <a:gd name="connsiteY8" fmla="*/ 0 h 2656298"/>
                <a:gd name="connsiteX9" fmla="*/ 1185048 w 1245364"/>
                <a:gd name="connsiteY9" fmla="*/ 2453973 h 2656298"/>
                <a:gd name="connsiteX10" fmla="*/ 1167115 w 1245364"/>
                <a:gd name="connsiteY10" fmla="*/ 2471907 h 2656298"/>
                <a:gd name="connsiteX11" fmla="*/ 78291 w 1245364"/>
                <a:gd name="connsiteY11" fmla="*/ 2471907 h 2656298"/>
                <a:gd name="connsiteX12" fmla="*/ 60357 w 1245364"/>
                <a:gd name="connsiteY12" fmla="*/ 2453973 h 2656298"/>
                <a:gd name="connsiteX13" fmla="*/ 60357 w 1245364"/>
                <a:gd name="connsiteY13" fmla="*/ 206130 h 2656298"/>
                <a:gd name="connsiteX14" fmla="*/ 78291 w 1245364"/>
                <a:gd name="connsiteY14" fmla="*/ 188197 h 2656298"/>
                <a:gd name="connsiteX15" fmla="*/ 1167115 w 1245364"/>
                <a:gd name="connsiteY15" fmla="*/ 188197 h 2656298"/>
                <a:gd name="connsiteX16" fmla="*/ 1185048 w 1245364"/>
                <a:gd name="connsiteY16" fmla="*/ 206130 h 2656298"/>
                <a:gd name="connsiteX17" fmla="*/ 1185048 w 1245364"/>
                <a:gd name="connsiteY17" fmla="*/ 2453933 h 2656298"/>
                <a:gd name="connsiteX18" fmla="*/ 1185048 w 1245364"/>
                <a:gd name="connsiteY18" fmla="*/ 2453933 h 2656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45364" h="2656298">
                  <a:moveTo>
                    <a:pt x="1129184" y="0"/>
                  </a:moveTo>
                  <a:lnTo>
                    <a:pt x="116181" y="0"/>
                  </a:lnTo>
                  <a:cubicBezTo>
                    <a:pt x="52018" y="0"/>
                    <a:pt x="0" y="52018"/>
                    <a:pt x="0" y="116181"/>
                  </a:cubicBezTo>
                  <a:lnTo>
                    <a:pt x="0" y="2540118"/>
                  </a:lnTo>
                  <a:cubicBezTo>
                    <a:pt x="0" y="2604280"/>
                    <a:pt x="52018" y="2656299"/>
                    <a:pt x="116181" y="2656299"/>
                  </a:cubicBezTo>
                  <a:lnTo>
                    <a:pt x="1129184" y="2656299"/>
                  </a:lnTo>
                  <a:cubicBezTo>
                    <a:pt x="1193347" y="2656299"/>
                    <a:pt x="1245365" y="2604280"/>
                    <a:pt x="1245365" y="2540118"/>
                  </a:cubicBezTo>
                  <a:lnTo>
                    <a:pt x="1245365" y="116181"/>
                  </a:lnTo>
                  <a:cubicBezTo>
                    <a:pt x="1245365" y="52018"/>
                    <a:pt x="1193347" y="0"/>
                    <a:pt x="1129184" y="0"/>
                  </a:cubicBezTo>
                  <a:close/>
                  <a:moveTo>
                    <a:pt x="1185048" y="2453973"/>
                  </a:moveTo>
                  <a:cubicBezTo>
                    <a:pt x="1185048" y="2463891"/>
                    <a:pt x="1176992" y="2471907"/>
                    <a:pt x="1167115" y="2471907"/>
                  </a:cubicBezTo>
                  <a:lnTo>
                    <a:pt x="78291" y="2471907"/>
                  </a:lnTo>
                  <a:cubicBezTo>
                    <a:pt x="68373" y="2471907"/>
                    <a:pt x="60357" y="2463851"/>
                    <a:pt x="60357" y="2453973"/>
                  </a:cubicBezTo>
                  <a:lnTo>
                    <a:pt x="60357" y="206130"/>
                  </a:lnTo>
                  <a:cubicBezTo>
                    <a:pt x="60357" y="196213"/>
                    <a:pt x="68413" y="188197"/>
                    <a:pt x="78291" y="188197"/>
                  </a:cubicBezTo>
                  <a:lnTo>
                    <a:pt x="1167115" y="188197"/>
                  </a:lnTo>
                  <a:cubicBezTo>
                    <a:pt x="1177033" y="188197"/>
                    <a:pt x="1185048" y="196253"/>
                    <a:pt x="1185048" y="206130"/>
                  </a:cubicBezTo>
                  <a:lnTo>
                    <a:pt x="1185048" y="2453933"/>
                  </a:lnTo>
                  <a:lnTo>
                    <a:pt x="1185048" y="2453933"/>
                  </a:lnTo>
                  <a:close/>
                </a:path>
              </a:pathLst>
            </a:custGeom>
            <a:gradFill>
              <a:gsLst>
                <a:gs pos="0">
                  <a:schemeClr val="tx1">
                    <a:lumMod val="85000"/>
                    <a:lumOff val="15000"/>
                  </a:schemeClr>
                </a:gs>
                <a:gs pos="78000">
                  <a:schemeClr val="tx1">
                    <a:lumMod val="85000"/>
                    <a:lumOff val="15000"/>
                  </a:schemeClr>
                </a:gs>
                <a:gs pos="91000">
                  <a:schemeClr val="tx1">
                    <a:lumMod val="75000"/>
                    <a:lumOff val="25000"/>
                  </a:schemeClr>
                </a:gs>
                <a:gs pos="100000">
                  <a:schemeClr val="tx1">
                    <a:lumMod val="65000"/>
                    <a:lumOff val="35000"/>
                  </a:schemeClr>
                </a:gs>
              </a:gsLst>
              <a:lin ang="1800000" scaled="0"/>
            </a:gradFill>
            <a:ln w="4048" cap="flat">
              <a:noFill/>
              <a:prstDash val="solid"/>
              <a:miter/>
            </a:ln>
          </p:spPr>
          <p:txBody>
            <a:bodyPr rtlCol="0" anchor="ctr"/>
            <a:lstStyle/>
            <a:p>
              <a:endParaRPr lang="en-GB"/>
            </a:p>
          </p:txBody>
        </p:sp>
        <p:sp>
          <p:nvSpPr>
            <p:cNvPr id="15" name="Freeform 14">
              <a:extLst>
                <a:ext uri="{FF2B5EF4-FFF2-40B4-BE49-F238E27FC236}">
                  <a16:creationId xmlns:a16="http://schemas.microsoft.com/office/drawing/2014/main" id="{5BC40465-4EA4-E037-CE43-2DED209BB2C2}"/>
                </a:ext>
              </a:extLst>
            </p:cNvPr>
            <p:cNvSpPr/>
            <p:nvPr/>
          </p:nvSpPr>
          <p:spPr>
            <a:xfrm>
              <a:off x="-3092179" y="936118"/>
              <a:ext cx="44529" cy="44539"/>
            </a:xfrm>
            <a:custGeom>
              <a:avLst/>
              <a:gdLst>
                <a:gd name="connsiteX0" fmla="*/ 22265 w 44529"/>
                <a:gd name="connsiteY0" fmla="*/ 44539 h 44539"/>
                <a:gd name="connsiteX1" fmla="*/ 17893 w 44529"/>
                <a:gd name="connsiteY1" fmla="*/ 44094 h 44539"/>
                <a:gd name="connsiteX2" fmla="*/ 13723 w 44529"/>
                <a:gd name="connsiteY2" fmla="*/ 42839 h 44539"/>
                <a:gd name="connsiteX3" fmla="*/ 9918 w 44529"/>
                <a:gd name="connsiteY3" fmla="*/ 40775 h 44539"/>
                <a:gd name="connsiteX4" fmla="*/ 6517 w 44529"/>
                <a:gd name="connsiteY4" fmla="*/ 38022 h 44539"/>
                <a:gd name="connsiteX5" fmla="*/ 3724 w 44529"/>
                <a:gd name="connsiteY5" fmla="*/ 34622 h 44539"/>
                <a:gd name="connsiteX6" fmla="*/ 1700 w 44529"/>
                <a:gd name="connsiteY6" fmla="*/ 30776 h 44539"/>
                <a:gd name="connsiteX7" fmla="*/ 445 w 44529"/>
                <a:gd name="connsiteY7" fmla="*/ 26606 h 44539"/>
                <a:gd name="connsiteX8" fmla="*/ 0 w 44529"/>
                <a:gd name="connsiteY8" fmla="*/ 22275 h 44539"/>
                <a:gd name="connsiteX9" fmla="*/ 6517 w 44529"/>
                <a:gd name="connsiteY9" fmla="*/ 6528 h 44539"/>
                <a:gd name="connsiteX10" fmla="*/ 9918 w 44529"/>
                <a:gd name="connsiteY10" fmla="*/ 3775 h 44539"/>
                <a:gd name="connsiteX11" fmla="*/ 13723 w 44529"/>
                <a:gd name="connsiteY11" fmla="*/ 1710 h 44539"/>
                <a:gd name="connsiteX12" fmla="*/ 17893 w 44529"/>
                <a:gd name="connsiteY12" fmla="*/ 455 h 44539"/>
                <a:gd name="connsiteX13" fmla="*/ 26596 w 44529"/>
                <a:gd name="connsiteY13" fmla="*/ 455 h 44539"/>
                <a:gd name="connsiteX14" fmla="*/ 30766 w 44529"/>
                <a:gd name="connsiteY14" fmla="*/ 1710 h 44539"/>
                <a:gd name="connsiteX15" fmla="*/ 34611 w 44529"/>
                <a:gd name="connsiteY15" fmla="*/ 3775 h 44539"/>
                <a:gd name="connsiteX16" fmla="*/ 38012 w 44529"/>
                <a:gd name="connsiteY16" fmla="*/ 6528 h 44539"/>
                <a:gd name="connsiteX17" fmla="*/ 44529 w 44529"/>
                <a:gd name="connsiteY17" fmla="*/ 22275 h 44539"/>
                <a:gd name="connsiteX18" fmla="*/ 44084 w 44529"/>
                <a:gd name="connsiteY18" fmla="*/ 26606 h 44539"/>
                <a:gd name="connsiteX19" fmla="*/ 42829 w 44529"/>
                <a:gd name="connsiteY19" fmla="*/ 30776 h 44539"/>
                <a:gd name="connsiteX20" fmla="*/ 40765 w 44529"/>
                <a:gd name="connsiteY20" fmla="*/ 34622 h 44539"/>
                <a:gd name="connsiteX21" fmla="*/ 38012 w 44529"/>
                <a:gd name="connsiteY21" fmla="*/ 38022 h 44539"/>
                <a:gd name="connsiteX22" fmla="*/ 34611 w 44529"/>
                <a:gd name="connsiteY22" fmla="*/ 40775 h 44539"/>
                <a:gd name="connsiteX23" fmla="*/ 30766 w 44529"/>
                <a:gd name="connsiteY23" fmla="*/ 42839 h 44539"/>
                <a:gd name="connsiteX24" fmla="*/ 26596 w 44529"/>
                <a:gd name="connsiteY24" fmla="*/ 44094 h 44539"/>
                <a:gd name="connsiteX25" fmla="*/ 22265 w 44529"/>
                <a:gd name="connsiteY25" fmla="*/ 44539 h 44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4529" h="44539">
                  <a:moveTo>
                    <a:pt x="22265" y="44539"/>
                  </a:moveTo>
                  <a:cubicBezTo>
                    <a:pt x="20807" y="44539"/>
                    <a:pt x="19350" y="44378"/>
                    <a:pt x="17893" y="44094"/>
                  </a:cubicBezTo>
                  <a:cubicBezTo>
                    <a:pt x="16476" y="43811"/>
                    <a:pt x="15099" y="43366"/>
                    <a:pt x="13723" y="42839"/>
                  </a:cubicBezTo>
                  <a:cubicBezTo>
                    <a:pt x="12387" y="42273"/>
                    <a:pt x="11092" y="41584"/>
                    <a:pt x="9918" y="40775"/>
                  </a:cubicBezTo>
                  <a:cubicBezTo>
                    <a:pt x="8663" y="39965"/>
                    <a:pt x="7529" y="39034"/>
                    <a:pt x="6517" y="38022"/>
                  </a:cubicBezTo>
                  <a:cubicBezTo>
                    <a:pt x="5505" y="36970"/>
                    <a:pt x="4574" y="35836"/>
                    <a:pt x="3724" y="34622"/>
                  </a:cubicBezTo>
                  <a:cubicBezTo>
                    <a:pt x="2955" y="33407"/>
                    <a:pt x="2267" y="32112"/>
                    <a:pt x="1700" y="30776"/>
                  </a:cubicBezTo>
                  <a:cubicBezTo>
                    <a:pt x="1133" y="29440"/>
                    <a:pt x="729" y="28023"/>
                    <a:pt x="445" y="26606"/>
                  </a:cubicBezTo>
                  <a:cubicBezTo>
                    <a:pt x="162" y="25189"/>
                    <a:pt x="0" y="23732"/>
                    <a:pt x="0" y="22275"/>
                  </a:cubicBezTo>
                  <a:cubicBezTo>
                    <a:pt x="0" y="16405"/>
                    <a:pt x="2388" y="10657"/>
                    <a:pt x="6517" y="6528"/>
                  </a:cubicBezTo>
                  <a:cubicBezTo>
                    <a:pt x="7529" y="5516"/>
                    <a:pt x="8663" y="4585"/>
                    <a:pt x="9918" y="3775"/>
                  </a:cubicBezTo>
                  <a:cubicBezTo>
                    <a:pt x="11092" y="2965"/>
                    <a:pt x="12387" y="2277"/>
                    <a:pt x="13723" y="1710"/>
                  </a:cubicBezTo>
                  <a:cubicBezTo>
                    <a:pt x="15099" y="1144"/>
                    <a:pt x="16476" y="739"/>
                    <a:pt x="17893" y="455"/>
                  </a:cubicBezTo>
                  <a:cubicBezTo>
                    <a:pt x="20767" y="-152"/>
                    <a:pt x="23722" y="-152"/>
                    <a:pt x="26596" y="455"/>
                  </a:cubicBezTo>
                  <a:cubicBezTo>
                    <a:pt x="28013" y="739"/>
                    <a:pt x="29430" y="1144"/>
                    <a:pt x="30766" y="1710"/>
                  </a:cubicBezTo>
                  <a:cubicBezTo>
                    <a:pt x="32102" y="2277"/>
                    <a:pt x="33397" y="2965"/>
                    <a:pt x="34611" y="3775"/>
                  </a:cubicBezTo>
                  <a:cubicBezTo>
                    <a:pt x="35826" y="4585"/>
                    <a:pt x="36959" y="5516"/>
                    <a:pt x="38012" y="6528"/>
                  </a:cubicBezTo>
                  <a:cubicBezTo>
                    <a:pt x="42141" y="10657"/>
                    <a:pt x="44529" y="16405"/>
                    <a:pt x="44529" y="22275"/>
                  </a:cubicBezTo>
                  <a:cubicBezTo>
                    <a:pt x="44529" y="23732"/>
                    <a:pt x="44367" y="25189"/>
                    <a:pt x="44084" y="26606"/>
                  </a:cubicBezTo>
                  <a:cubicBezTo>
                    <a:pt x="43801" y="28023"/>
                    <a:pt x="43396" y="29440"/>
                    <a:pt x="42829" y="30776"/>
                  </a:cubicBezTo>
                  <a:cubicBezTo>
                    <a:pt x="42262" y="32112"/>
                    <a:pt x="41574" y="33407"/>
                    <a:pt x="40765" y="34622"/>
                  </a:cubicBezTo>
                  <a:cubicBezTo>
                    <a:pt x="39955" y="35836"/>
                    <a:pt x="39024" y="36970"/>
                    <a:pt x="38012" y="38022"/>
                  </a:cubicBezTo>
                  <a:cubicBezTo>
                    <a:pt x="36959" y="39034"/>
                    <a:pt x="35826" y="39965"/>
                    <a:pt x="34611" y="40775"/>
                  </a:cubicBezTo>
                  <a:cubicBezTo>
                    <a:pt x="33397" y="41584"/>
                    <a:pt x="32102" y="42273"/>
                    <a:pt x="30766" y="42839"/>
                  </a:cubicBezTo>
                  <a:cubicBezTo>
                    <a:pt x="29430" y="43366"/>
                    <a:pt x="28013" y="43811"/>
                    <a:pt x="26596" y="44094"/>
                  </a:cubicBezTo>
                  <a:cubicBezTo>
                    <a:pt x="25179" y="44378"/>
                    <a:pt x="23722" y="44539"/>
                    <a:pt x="22265" y="44539"/>
                  </a:cubicBezTo>
                  <a:close/>
                </a:path>
              </a:pathLst>
            </a:custGeom>
            <a:solidFill>
              <a:schemeClr val="tx1">
                <a:lumMod val="65000"/>
                <a:lumOff val="35000"/>
              </a:schemeClr>
            </a:solidFill>
            <a:ln w="4048" cap="flat">
              <a:noFill/>
              <a:prstDash val="solid"/>
              <a:miter/>
            </a:ln>
          </p:spPr>
          <p:txBody>
            <a:bodyPr rtlCol="0" anchor="ctr"/>
            <a:lstStyle/>
            <a:p>
              <a:endParaRPr lang="en-GB"/>
            </a:p>
          </p:txBody>
        </p:sp>
      </p:grpSp>
    </p:spTree>
    <p:extLst>
      <p:ext uri="{BB962C8B-B14F-4D97-AF65-F5344CB8AC3E}">
        <p14:creationId xmlns:p14="http://schemas.microsoft.com/office/powerpoint/2010/main" val="3218797701"/>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7 Mockup Tablet">
    <p:bg>
      <p:bgPr>
        <a:solidFill>
          <a:srgbClr val="EBF2F3"/>
        </a:solidFill>
        <a:effectLst/>
      </p:bgPr>
    </p:bg>
    <p:spTree>
      <p:nvGrpSpPr>
        <p:cNvPr id="1" name=""/>
        <p:cNvGrpSpPr/>
        <p:nvPr/>
      </p:nvGrpSpPr>
      <p:grpSpPr>
        <a:xfrm>
          <a:off x="0" y="0"/>
          <a:ext cx="0" cy="0"/>
          <a:chOff x="0" y="0"/>
          <a:chExt cx="0" cy="0"/>
        </a:xfrm>
      </p:grpSpPr>
      <p:pic>
        <p:nvPicPr>
          <p:cNvPr id="10" name="Tablet">
            <a:extLst>
              <a:ext uri="{FF2B5EF4-FFF2-40B4-BE49-F238E27FC236}">
                <a16:creationId xmlns:a16="http://schemas.microsoft.com/office/drawing/2014/main" id="{AF73F0F7-6D96-1749-82B9-04BEF52611B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01530" y="278390"/>
            <a:ext cx="3395857" cy="4433234"/>
          </a:xfrm>
          <a:prstGeom prst="rect">
            <a:avLst/>
          </a:prstGeom>
        </p:spPr>
      </p:pic>
      <p:sp>
        <p:nvSpPr>
          <p:cNvPr id="11" name="Image">
            <a:extLst>
              <a:ext uri="{FF2B5EF4-FFF2-40B4-BE49-F238E27FC236}">
                <a16:creationId xmlns:a16="http://schemas.microsoft.com/office/drawing/2014/main" id="{6F11483D-338A-6C45-BE0B-6154483356E5}"/>
              </a:ext>
            </a:extLst>
          </p:cNvPr>
          <p:cNvSpPr>
            <a:spLocks noGrp="1" noChangeAspect="1"/>
          </p:cNvSpPr>
          <p:nvPr>
            <p:ph type="pic" sz="quarter" idx="12" hasCustomPrompt="1"/>
          </p:nvPr>
        </p:nvSpPr>
        <p:spPr>
          <a:xfrm>
            <a:off x="5284519" y="479695"/>
            <a:ext cx="3043682" cy="4048762"/>
          </a:xfrm>
          <a:prstGeom prst="roundRect">
            <a:avLst>
              <a:gd name="adj" fmla="val 3275"/>
            </a:avLst>
          </a:prstGeom>
          <a:blipFill>
            <a:blip r:embed="rId3"/>
            <a:tile tx="0" ty="0" sx="100000" sy="100000" flip="none" algn="tl"/>
          </a:blipFill>
        </p:spPr>
        <p:txBody>
          <a:bodyPr tIns="72000"/>
          <a:lstStyle>
            <a:lvl1pPr marL="4763" indent="-4763" algn="ctr">
              <a:buFont typeface="Arial" panose="020B0604020202020204" pitchFamily="34" charset="0"/>
              <a:buNone/>
              <a:tabLst/>
              <a:defRPr sz="800"/>
            </a:lvl1pPr>
          </a:lstStyle>
          <a:p>
            <a:r>
              <a:rPr lang="en-GB" noProof="0"/>
              <a:t>Click on the icon to add screenshot or image</a:t>
            </a:r>
          </a:p>
        </p:txBody>
      </p:sp>
      <p:sp>
        <p:nvSpPr>
          <p:cNvPr id="9" name="Title">
            <a:extLst>
              <a:ext uri="{FF2B5EF4-FFF2-40B4-BE49-F238E27FC236}">
                <a16:creationId xmlns:a16="http://schemas.microsoft.com/office/drawing/2014/main" id="{71D01A38-7EA0-9741-A480-491359BD4009}"/>
              </a:ext>
            </a:extLst>
          </p:cNvPr>
          <p:cNvSpPr>
            <a:spLocks noGrp="1"/>
          </p:cNvSpPr>
          <p:nvPr>
            <p:ph type="title" hasCustomPrompt="1"/>
          </p:nvPr>
        </p:nvSpPr>
        <p:spPr>
          <a:xfrm>
            <a:off x="323850" y="525600"/>
            <a:ext cx="4176713" cy="1498314"/>
          </a:xfrm>
        </p:spPr>
        <p:txBody>
          <a:bodyPr rIns="144000"/>
          <a:lstStyle>
            <a:lvl1pPr>
              <a:defRPr sz="3000" spc="-50" baseline="0"/>
            </a:lvl1pPr>
          </a:lstStyle>
          <a:p>
            <a:r>
              <a:rPr lang="en-GB" noProof="0"/>
              <a:t>Click to add a headline of maximum three lines</a:t>
            </a:r>
          </a:p>
        </p:txBody>
      </p:sp>
      <p:sp>
        <p:nvSpPr>
          <p:cNvPr id="13" name="Navigation">
            <a:extLst>
              <a:ext uri="{FF2B5EF4-FFF2-40B4-BE49-F238E27FC236}">
                <a16:creationId xmlns:a16="http://schemas.microsoft.com/office/drawing/2014/main" id="{2493BE16-B666-1E43-A384-DA7DE8218D85}"/>
              </a:ext>
            </a:extLst>
          </p:cNvPr>
          <p:cNvSpPr>
            <a:spLocks noGrp="1"/>
          </p:cNvSpPr>
          <p:nvPr>
            <p:ph type="body" sz="quarter" idx="14" hasCustomPrompt="1"/>
          </p:nvPr>
        </p:nvSpPr>
        <p:spPr>
          <a:xfrm>
            <a:off x="323849" y="276226"/>
            <a:ext cx="4176077" cy="276999"/>
          </a:xfrm>
        </p:spPr>
        <p:txBody>
          <a:bodyPr lIns="111600" rIns="144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a:t>
            </a:r>
            <a:r>
              <a:rPr lang="en-GB" noProof="0" err="1"/>
              <a:t>subheader</a:t>
            </a:r>
            <a:endParaRPr lang="en-GB" noProof="0"/>
          </a:p>
        </p:txBody>
      </p:sp>
      <p:sp>
        <p:nvSpPr>
          <p:cNvPr id="12" name="Text">
            <a:extLst>
              <a:ext uri="{FF2B5EF4-FFF2-40B4-BE49-F238E27FC236}">
                <a16:creationId xmlns:a16="http://schemas.microsoft.com/office/drawing/2014/main" id="{43795203-DBC8-FC4C-AF8A-DF750A2789A5}"/>
              </a:ext>
            </a:extLst>
          </p:cNvPr>
          <p:cNvSpPr>
            <a:spLocks noGrp="1"/>
          </p:cNvSpPr>
          <p:nvPr>
            <p:ph type="body" sz="quarter" idx="13" hasCustomPrompt="1"/>
          </p:nvPr>
        </p:nvSpPr>
        <p:spPr>
          <a:xfrm>
            <a:off x="323851" y="2103438"/>
            <a:ext cx="4176712" cy="2592387"/>
          </a:xfrm>
        </p:spPr>
        <p:txBody>
          <a:bodyPr rIns="144000"/>
          <a:lstStyle>
            <a:lvl1pPr>
              <a:defRPr sz="1400"/>
            </a:lvl1pPr>
            <a:lvl2pPr>
              <a:defRPr sz="1200"/>
            </a:lvl2pPr>
            <a:lvl3pPr>
              <a:defRPr sz="1200"/>
            </a:lvl3pPr>
            <a:lvl4pPr>
              <a:defRPr sz="1200"/>
            </a:lvl4pPr>
            <a:lvl5pPr>
              <a:defRPr sz="12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2" name="Date">
            <a:extLst>
              <a:ext uri="{FF2B5EF4-FFF2-40B4-BE49-F238E27FC236}">
                <a16:creationId xmlns:a16="http://schemas.microsoft.com/office/drawing/2014/main" id="{DF0D76B5-70ED-1348-8C16-2BDFEAE1A309}"/>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E193D0A2-BF2C-4D36-AF93-F3F3D7462B13}" type="datetime1">
              <a:rPr lang="sv-SE" noProof="0" smtClean="0"/>
              <a:t>2025-09-04</a:t>
            </a:fld>
            <a:endParaRPr lang="en-GB" noProof="0"/>
          </a:p>
        </p:txBody>
      </p:sp>
      <p:sp>
        <p:nvSpPr>
          <p:cNvPr id="33" name="Number">
            <a:extLst>
              <a:ext uri="{FF2B5EF4-FFF2-40B4-BE49-F238E27FC236}">
                <a16:creationId xmlns:a16="http://schemas.microsoft.com/office/drawing/2014/main" id="{988F092B-A42E-1446-B7CB-74A043F2D8EA}"/>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5" name="Footer">
            <a:extLst>
              <a:ext uri="{FF2B5EF4-FFF2-40B4-BE49-F238E27FC236}">
                <a16:creationId xmlns:a16="http://schemas.microsoft.com/office/drawing/2014/main" id="{E7CD3979-AE70-E348-8121-A449C6EA75CA}"/>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624422658"/>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7 Mockup Computer">
    <p:bg>
      <p:bgPr>
        <a:solidFill>
          <a:srgbClr val="EBF2F3"/>
        </a:solidFill>
        <a:effectLst/>
      </p:bgPr>
    </p:bg>
    <p:spTree>
      <p:nvGrpSpPr>
        <p:cNvPr id="1" name=""/>
        <p:cNvGrpSpPr/>
        <p:nvPr/>
      </p:nvGrpSpPr>
      <p:grpSpPr>
        <a:xfrm>
          <a:off x="0" y="0"/>
          <a:ext cx="0" cy="0"/>
          <a:chOff x="0" y="0"/>
          <a:chExt cx="0" cy="0"/>
        </a:xfrm>
      </p:grpSpPr>
      <p:pic>
        <p:nvPicPr>
          <p:cNvPr id="9" name="Screen">
            <a:extLst>
              <a:ext uri="{FF2B5EF4-FFF2-40B4-BE49-F238E27FC236}">
                <a16:creationId xmlns:a16="http://schemas.microsoft.com/office/drawing/2014/main" id="{137F2073-042D-6544-88ED-5E6D429D6B0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853800" y="379902"/>
            <a:ext cx="5398300" cy="4344385"/>
          </a:xfrm>
          <a:prstGeom prst="rect">
            <a:avLst/>
          </a:prstGeom>
        </p:spPr>
      </p:pic>
      <p:sp>
        <p:nvSpPr>
          <p:cNvPr id="12" name="Image">
            <a:extLst>
              <a:ext uri="{FF2B5EF4-FFF2-40B4-BE49-F238E27FC236}">
                <a16:creationId xmlns:a16="http://schemas.microsoft.com/office/drawing/2014/main" id="{050DA14F-0160-BC46-A9E4-34119508B77D}"/>
              </a:ext>
            </a:extLst>
          </p:cNvPr>
          <p:cNvSpPr>
            <a:spLocks noGrp="1"/>
          </p:cNvSpPr>
          <p:nvPr>
            <p:ph type="pic" sz="quarter" idx="13" hasCustomPrompt="1"/>
          </p:nvPr>
        </p:nvSpPr>
        <p:spPr>
          <a:xfrm>
            <a:off x="2069377" y="600403"/>
            <a:ext cx="4975948" cy="2815483"/>
          </a:xfrm>
          <a:prstGeom prst="rect">
            <a:avLst/>
          </a:prstGeom>
          <a:blipFill>
            <a:blip r:embed="rId3"/>
            <a:tile tx="0" ty="0" sx="100000" sy="100000" flip="none" algn="tl"/>
          </a:blipFill>
        </p:spPr>
        <p:txBody>
          <a:bodyPr tIns="72000"/>
          <a:lstStyle>
            <a:lvl1pPr marL="4763" indent="-4763" algn="ctr">
              <a:buFont typeface="Arial" panose="020B0604020202020204" pitchFamily="34" charset="0"/>
              <a:buNone/>
              <a:tabLst/>
              <a:defRPr sz="800"/>
            </a:lvl1pPr>
          </a:lstStyle>
          <a:p>
            <a:r>
              <a:rPr lang="en-GB" noProof="0"/>
              <a:t>Click on the icon to add screenshot or image</a:t>
            </a:r>
          </a:p>
        </p:txBody>
      </p:sp>
      <p:sp>
        <p:nvSpPr>
          <p:cNvPr id="28" name="Date">
            <a:extLst>
              <a:ext uri="{FF2B5EF4-FFF2-40B4-BE49-F238E27FC236}">
                <a16:creationId xmlns:a16="http://schemas.microsoft.com/office/drawing/2014/main" id="{CE0F962E-4019-5544-9B35-C562B9C61B7A}"/>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A137715E-182A-4C08-94B1-96064D21D591}" type="datetime1">
              <a:rPr lang="sv-SE" noProof="0" smtClean="0"/>
              <a:t>2025-09-04</a:t>
            </a:fld>
            <a:endParaRPr lang="en-GB" noProof="0"/>
          </a:p>
        </p:txBody>
      </p:sp>
      <p:sp>
        <p:nvSpPr>
          <p:cNvPr id="29" name="Slide">
            <a:extLst>
              <a:ext uri="{FF2B5EF4-FFF2-40B4-BE49-F238E27FC236}">
                <a16:creationId xmlns:a16="http://schemas.microsoft.com/office/drawing/2014/main" id="{BAB857CC-B70E-E249-8AC6-5136D617525E}"/>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8" name="Footer">
            <a:extLst>
              <a:ext uri="{FF2B5EF4-FFF2-40B4-BE49-F238E27FC236}">
                <a16:creationId xmlns:a16="http://schemas.microsoft.com/office/drawing/2014/main" id="{654484ED-3028-044E-B530-A3D199365A29}"/>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
        <p:nvSpPr>
          <p:cNvPr id="2" name="Title 2">
            <a:extLst>
              <a:ext uri="{FF2B5EF4-FFF2-40B4-BE49-F238E27FC236}">
                <a16:creationId xmlns:a16="http://schemas.microsoft.com/office/drawing/2014/main" id="{7CFFD843-07C6-3985-A7DC-AEAD61FA2959}"/>
              </a:ext>
            </a:extLst>
          </p:cNvPr>
          <p:cNvSpPr>
            <a:spLocks noGrp="1"/>
          </p:cNvSpPr>
          <p:nvPr>
            <p:ph type="title" hasCustomPrompt="1"/>
          </p:nvPr>
        </p:nvSpPr>
        <p:spPr>
          <a:xfrm>
            <a:off x="323850" y="-765589"/>
            <a:ext cx="8496300" cy="527051"/>
          </a:xfrm>
        </p:spPr>
        <p:txBody>
          <a:bodyPr/>
          <a:lstStyle>
            <a:lvl1pPr marL="0" marR="0" indent="0" algn="l" defTabSz="685800" rtl="0" eaLnBrk="1" fontAlgn="auto" latinLnBrk="0" hangingPunct="1">
              <a:lnSpc>
                <a:spcPct val="95000"/>
              </a:lnSpc>
              <a:spcBef>
                <a:spcPct val="0"/>
              </a:spcBef>
              <a:spcAft>
                <a:spcPts val="0"/>
              </a:spcAft>
              <a:buClrTx/>
              <a:buSzTx/>
              <a:buFontTx/>
              <a:buNone/>
              <a:tabLst/>
              <a:defRPr/>
            </a:lvl1pPr>
          </a:lstStyle>
          <a:p>
            <a:r>
              <a:rPr lang="en-GB"/>
              <a:t>Click to add hidden slide title for accessibility</a:t>
            </a:r>
          </a:p>
        </p:txBody>
      </p:sp>
    </p:spTree>
    <p:extLst>
      <p:ext uri="{BB962C8B-B14F-4D97-AF65-F5344CB8AC3E}">
        <p14:creationId xmlns:p14="http://schemas.microsoft.com/office/powerpoint/2010/main" val="4076458294"/>
      </p:ext>
    </p:extLst>
  </p:cSld>
  <p:clrMapOvr>
    <a:masterClrMapping/>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7 Mockup Smartphone Video">
    <p:bg>
      <p:bgPr>
        <a:solidFill>
          <a:srgbClr val="EBF2F3"/>
        </a:solidFill>
        <a:effectLst/>
      </p:bgPr>
    </p:bg>
    <p:spTree>
      <p:nvGrpSpPr>
        <p:cNvPr id="1" name=""/>
        <p:cNvGrpSpPr/>
        <p:nvPr/>
      </p:nvGrpSpPr>
      <p:grpSpPr>
        <a:xfrm>
          <a:off x="0" y="0"/>
          <a:ext cx="0" cy="0"/>
          <a:chOff x="0" y="0"/>
          <a:chExt cx="0" cy="0"/>
        </a:xfrm>
      </p:grpSpPr>
      <p:sp>
        <p:nvSpPr>
          <p:cNvPr id="5" name="Video">
            <a:extLst>
              <a:ext uri="{FF2B5EF4-FFF2-40B4-BE49-F238E27FC236}">
                <a16:creationId xmlns:a16="http://schemas.microsoft.com/office/drawing/2014/main" id="{67CBEA9B-3BE9-E947-8B03-3DF0656F83BF}"/>
              </a:ext>
            </a:extLst>
          </p:cNvPr>
          <p:cNvSpPr>
            <a:spLocks noGrp="1"/>
          </p:cNvSpPr>
          <p:nvPr>
            <p:ph type="media" sz="quarter" idx="16" hasCustomPrompt="1"/>
          </p:nvPr>
        </p:nvSpPr>
        <p:spPr>
          <a:xfrm>
            <a:off x="5806742" y="448681"/>
            <a:ext cx="1872000" cy="4111200"/>
          </a:xfrm>
          <a:prstGeom prst="roundRect">
            <a:avLst>
              <a:gd name="adj" fmla="val 7961"/>
            </a:avLst>
          </a:prstGeom>
          <a:blipFill dpi="0" rotWithShape="1">
            <a:blip r:embed="rId2"/>
            <a:srcRect/>
            <a:tile tx="0" ty="0" sx="100000" sy="100000" flip="none" algn="tl"/>
          </a:blipFill>
        </p:spPr>
        <p:txBody>
          <a:bodyPr vert="horz" lIns="90000" tIns="45720" rIns="90000" bIns="45720" rtlCol="0">
            <a:noAutofit/>
          </a:bodyPr>
          <a:lstStyle>
            <a:lvl1pPr marL="0" indent="0" algn="ctr">
              <a:buNone/>
              <a:defRPr lang="en-GB" sz="800" dirty="0">
                <a:solidFill>
                  <a:schemeClr val="bg1">
                    <a:lumMod val="75000"/>
                  </a:schemeClr>
                </a:solidFill>
              </a:defRPr>
            </a:lvl1pPr>
          </a:lstStyle>
          <a:p>
            <a:pPr marL="171450" lvl="0" indent="-171450" algn="ctr"/>
            <a:r>
              <a:rPr lang="en-GB"/>
              <a:t>Click on the icon to add video</a:t>
            </a:r>
          </a:p>
        </p:txBody>
      </p:sp>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323850" y="525600"/>
            <a:ext cx="4176713" cy="1498314"/>
          </a:xfrm>
        </p:spPr>
        <p:txBody>
          <a:bodyPr rIns="144000"/>
          <a:lstStyle>
            <a:lvl1pPr>
              <a:defRPr sz="3000" spc="-50"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49" y="276226"/>
            <a:ext cx="4176077" cy="276999"/>
          </a:xfrm>
        </p:spPr>
        <p:txBody>
          <a:bodyPr lIns="111600" rIns="144000" anchor="t"/>
          <a:lstStyle>
            <a:lvl1pPr marL="3175" indent="-3175">
              <a:buNone/>
              <a:tabLst/>
              <a:defRPr sz="1200" b="1"/>
            </a:lvl1pPr>
            <a:lvl2pPr>
              <a:buNone/>
              <a:defRPr/>
            </a:lvl2pPr>
            <a:lvl3pPr>
              <a:buNone/>
              <a:defRPr/>
            </a:lvl3pPr>
            <a:lvl4pPr>
              <a:buNone/>
              <a:defRPr/>
            </a:lvl4pPr>
            <a:lvl5pPr>
              <a:buNone/>
              <a:defRPr/>
            </a:lvl5pPr>
          </a:lstStyle>
          <a:p>
            <a:pPr lvl="0"/>
            <a:r>
              <a:rPr lang="en-GB" noProof="0"/>
              <a:t>Click to add navigation/</a:t>
            </a:r>
            <a:r>
              <a:rPr lang="en-GB" noProof="0" err="1"/>
              <a:t>subheader</a:t>
            </a:r>
            <a:endParaRPr lang="en-GB" noProof="0"/>
          </a:p>
        </p:txBody>
      </p:sp>
      <p:sp>
        <p:nvSpPr>
          <p:cNvPr id="12" name="Text">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323851" y="2103438"/>
            <a:ext cx="4176712" cy="2592387"/>
          </a:xfrm>
        </p:spPr>
        <p:txBody>
          <a:bodyPr rIns="144000"/>
          <a:lstStyle>
            <a:lvl1pPr>
              <a:defRPr sz="1400"/>
            </a:lvl1pPr>
            <a:lvl2pPr>
              <a:defRPr sz="1200"/>
            </a:lvl2pPr>
            <a:lvl3pPr>
              <a:defRPr sz="1200"/>
            </a:lvl3pPr>
            <a:lvl4pPr>
              <a:defRPr sz="1200"/>
            </a:lvl4pPr>
            <a:lvl5pPr>
              <a:defRPr sz="12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5" name="Date">
            <a:extLst>
              <a:ext uri="{FF2B5EF4-FFF2-40B4-BE49-F238E27FC236}">
                <a16:creationId xmlns:a16="http://schemas.microsoft.com/office/drawing/2014/main" id="{FED9A850-451C-994B-9CEF-A2B324B2852F}"/>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B9E9C004-2C46-4D49-84D0-BA2A69A43F63}" type="datetime1">
              <a:rPr lang="sv-SE" noProof="0" smtClean="0"/>
              <a:t>2025-09-04</a:t>
            </a:fld>
            <a:endParaRPr lang="en-GB" noProof="0"/>
          </a:p>
        </p:txBody>
      </p:sp>
      <p:sp>
        <p:nvSpPr>
          <p:cNvPr id="36" name="Number">
            <a:extLst>
              <a:ext uri="{FF2B5EF4-FFF2-40B4-BE49-F238E27FC236}">
                <a16:creationId xmlns:a16="http://schemas.microsoft.com/office/drawing/2014/main" id="{3D6301AA-5E2B-7F46-BF55-64A8320A6BF9}"/>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13" name="Footer">
            <a:extLst>
              <a:ext uri="{FF2B5EF4-FFF2-40B4-BE49-F238E27FC236}">
                <a16:creationId xmlns:a16="http://schemas.microsoft.com/office/drawing/2014/main" id="{DC643E75-61AD-CE44-8B9B-514A1A088DD3}"/>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
        <p:nvSpPr>
          <p:cNvPr id="2" name="Freeform 1">
            <a:extLst>
              <a:ext uri="{FF2B5EF4-FFF2-40B4-BE49-F238E27FC236}">
                <a16:creationId xmlns:a16="http://schemas.microsoft.com/office/drawing/2014/main" id="{9EFA168E-8779-B2B1-E0E9-6FE719DEEE5C}"/>
              </a:ext>
            </a:extLst>
          </p:cNvPr>
          <p:cNvSpPr/>
          <p:nvPr userDrawn="1"/>
        </p:nvSpPr>
        <p:spPr>
          <a:xfrm>
            <a:off x="5732735" y="364451"/>
            <a:ext cx="2030518" cy="4275202"/>
          </a:xfrm>
          <a:custGeom>
            <a:avLst/>
            <a:gdLst>
              <a:gd name="connsiteX0" fmla="*/ 1308395 w 1308394"/>
              <a:gd name="connsiteY0" fmla="*/ 1065750 h 2754789"/>
              <a:gd name="connsiteX1" fmla="*/ 1308395 w 1308394"/>
              <a:gd name="connsiteY1" fmla="*/ 702997 h 2754789"/>
              <a:gd name="connsiteX2" fmla="*/ 1301796 w 1308394"/>
              <a:gd name="connsiteY2" fmla="*/ 702997 h 2754789"/>
              <a:gd name="connsiteX3" fmla="*/ 1301796 w 1308394"/>
              <a:gd name="connsiteY3" fmla="*/ 157594 h 2754789"/>
              <a:gd name="connsiteX4" fmla="*/ 1144203 w 1308394"/>
              <a:gd name="connsiteY4" fmla="*/ 0 h 2754789"/>
              <a:gd name="connsiteX5" fmla="*/ 157593 w 1308394"/>
              <a:gd name="connsiteY5" fmla="*/ 0 h 2754789"/>
              <a:gd name="connsiteX6" fmla="*/ 0 w 1308394"/>
              <a:gd name="connsiteY6" fmla="*/ 157594 h 2754789"/>
              <a:gd name="connsiteX7" fmla="*/ 0 w 1308394"/>
              <a:gd name="connsiteY7" fmla="*/ 2597196 h 2754789"/>
              <a:gd name="connsiteX8" fmla="*/ 157593 w 1308394"/>
              <a:gd name="connsiteY8" fmla="*/ 2754790 h 2754789"/>
              <a:gd name="connsiteX9" fmla="*/ 1144203 w 1308394"/>
              <a:gd name="connsiteY9" fmla="*/ 2754790 h 2754789"/>
              <a:gd name="connsiteX10" fmla="*/ 1301796 w 1308394"/>
              <a:gd name="connsiteY10" fmla="*/ 2597196 h 2754789"/>
              <a:gd name="connsiteX11" fmla="*/ 1301796 w 1308394"/>
              <a:gd name="connsiteY11" fmla="*/ 1368631 h 2754789"/>
              <a:gd name="connsiteX12" fmla="*/ 1308395 w 1308394"/>
              <a:gd name="connsiteY12" fmla="*/ 1368631 h 2754789"/>
              <a:gd name="connsiteX13" fmla="*/ 1308395 w 1308394"/>
              <a:gd name="connsiteY13" fmla="*/ 1196019 h 2754789"/>
              <a:gd name="connsiteX14" fmla="*/ 1301796 w 1308394"/>
              <a:gd name="connsiteY14" fmla="*/ 1196019 h 2754789"/>
              <a:gd name="connsiteX15" fmla="*/ 1301796 w 1308394"/>
              <a:gd name="connsiteY15" fmla="*/ 1065709 h 2754789"/>
              <a:gd name="connsiteX16" fmla="*/ 1308395 w 1308394"/>
              <a:gd name="connsiteY16" fmla="*/ 1065709 h 2754789"/>
              <a:gd name="connsiteX17" fmla="*/ 1246580 w 1308394"/>
              <a:gd name="connsiteY17" fmla="*/ 2589424 h 2754789"/>
              <a:gd name="connsiteX18" fmla="*/ 1138495 w 1308394"/>
              <a:gd name="connsiteY18" fmla="*/ 2697509 h 2754789"/>
              <a:gd name="connsiteX19" fmla="*/ 163301 w 1308394"/>
              <a:gd name="connsiteY19" fmla="*/ 2697509 h 2754789"/>
              <a:gd name="connsiteX20" fmla="*/ 55216 w 1308394"/>
              <a:gd name="connsiteY20" fmla="*/ 2589424 h 2754789"/>
              <a:gd name="connsiteX21" fmla="*/ 55216 w 1308394"/>
              <a:gd name="connsiteY21" fmla="*/ 165447 h 2754789"/>
              <a:gd name="connsiteX22" fmla="*/ 163301 w 1308394"/>
              <a:gd name="connsiteY22" fmla="*/ 57362 h 2754789"/>
              <a:gd name="connsiteX23" fmla="*/ 1138495 w 1308394"/>
              <a:gd name="connsiteY23" fmla="*/ 57362 h 2754789"/>
              <a:gd name="connsiteX24" fmla="*/ 1246580 w 1308394"/>
              <a:gd name="connsiteY24" fmla="*/ 165447 h 2754789"/>
              <a:gd name="connsiteX25" fmla="*/ 1246580 w 1308394"/>
              <a:gd name="connsiteY25" fmla="*/ 2589383 h 275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08394" h="2754789">
                <a:moveTo>
                  <a:pt x="1308395" y="1065750"/>
                </a:moveTo>
                <a:lnTo>
                  <a:pt x="1308395" y="702997"/>
                </a:lnTo>
                <a:lnTo>
                  <a:pt x="1301796" y="702997"/>
                </a:lnTo>
                <a:lnTo>
                  <a:pt x="1301796" y="157594"/>
                </a:lnTo>
                <a:cubicBezTo>
                  <a:pt x="1301796" y="70680"/>
                  <a:pt x="1231075" y="0"/>
                  <a:pt x="1144203" y="0"/>
                </a:cubicBezTo>
                <a:lnTo>
                  <a:pt x="157593" y="0"/>
                </a:lnTo>
                <a:cubicBezTo>
                  <a:pt x="70680" y="0"/>
                  <a:pt x="0" y="70721"/>
                  <a:pt x="0" y="157594"/>
                </a:cubicBezTo>
                <a:lnTo>
                  <a:pt x="0" y="2597196"/>
                </a:lnTo>
                <a:cubicBezTo>
                  <a:pt x="0" y="2684109"/>
                  <a:pt x="70721" y="2754790"/>
                  <a:pt x="157593" y="2754790"/>
                </a:cubicBezTo>
                <a:lnTo>
                  <a:pt x="1144203" y="2754790"/>
                </a:lnTo>
                <a:cubicBezTo>
                  <a:pt x="1231116" y="2754790"/>
                  <a:pt x="1301796" y="2684069"/>
                  <a:pt x="1301796" y="2597196"/>
                </a:cubicBezTo>
                <a:lnTo>
                  <a:pt x="1301796" y="1368631"/>
                </a:lnTo>
                <a:lnTo>
                  <a:pt x="1308395" y="1368631"/>
                </a:lnTo>
                <a:lnTo>
                  <a:pt x="1308395" y="1196019"/>
                </a:lnTo>
                <a:lnTo>
                  <a:pt x="1301796" y="1196019"/>
                </a:lnTo>
                <a:lnTo>
                  <a:pt x="1301796" y="1065709"/>
                </a:lnTo>
                <a:lnTo>
                  <a:pt x="1308395" y="1065709"/>
                </a:lnTo>
                <a:close/>
                <a:moveTo>
                  <a:pt x="1246580" y="2589424"/>
                </a:moveTo>
                <a:cubicBezTo>
                  <a:pt x="1246580" y="2649012"/>
                  <a:pt x="1198083" y="2697509"/>
                  <a:pt x="1138495" y="2697509"/>
                </a:cubicBezTo>
                <a:lnTo>
                  <a:pt x="163301" y="2697509"/>
                </a:lnTo>
                <a:cubicBezTo>
                  <a:pt x="103672" y="2697509"/>
                  <a:pt x="55216" y="2649012"/>
                  <a:pt x="55216" y="2589424"/>
                </a:cubicBezTo>
                <a:lnTo>
                  <a:pt x="55216" y="165447"/>
                </a:lnTo>
                <a:cubicBezTo>
                  <a:pt x="55216" y="105818"/>
                  <a:pt x="103713" y="57362"/>
                  <a:pt x="163301" y="57362"/>
                </a:cubicBezTo>
                <a:lnTo>
                  <a:pt x="1138495" y="57362"/>
                </a:lnTo>
                <a:cubicBezTo>
                  <a:pt x="1198083" y="57362"/>
                  <a:pt x="1246580" y="105859"/>
                  <a:pt x="1246580" y="165447"/>
                </a:cubicBezTo>
                <a:lnTo>
                  <a:pt x="1246580" y="2589383"/>
                </a:lnTo>
                <a:close/>
              </a:path>
            </a:pathLst>
          </a:custGeom>
          <a:gradFill>
            <a:gsLst>
              <a:gs pos="0">
                <a:schemeClr val="tx1"/>
              </a:gs>
              <a:gs pos="78000">
                <a:schemeClr val="tx1">
                  <a:lumMod val="85000"/>
                  <a:lumOff val="15000"/>
                </a:schemeClr>
              </a:gs>
              <a:gs pos="87000">
                <a:schemeClr val="tx1">
                  <a:lumMod val="75000"/>
                  <a:lumOff val="25000"/>
                </a:schemeClr>
              </a:gs>
              <a:gs pos="100000">
                <a:schemeClr val="bg1">
                  <a:lumMod val="50000"/>
                </a:schemeClr>
              </a:gs>
            </a:gsLst>
            <a:lin ang="3600000" scaled="0"/>
          </a:gradFill>
          <a:ln w="4048" cap="flat">
            <a:noFill/>
            <a:prstDash val="solid"/>
            <a:miter/>
          </a:ln>
        </p:spPr>
        <p:txBody>
          <a:bodyPr rtlCol="0" anchor="ctr"/>
          <a:lstStyle/>
          <a:p>
            <a:endParaRPr lang="en-GB"/>
          </a:p>
        </p:txBody>
      </p:sp>
    </p:spTree>
    <p:extLst>
      <p:ext uri="{BB962C8B-B14F-4D97-AF65-F5344CB8AC3E}">
        <p14:creationId xmlns:p14="http://schemas.microsoft.com/office/powerpoint/2010/main" val="4242912475"/>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SummitCode_Title Slide">
    <p:bg>
      <p:bgRef idx="1001">
        <a:schemeClr val="bg2"/>
      </p:bgRef>
    </p:bg>
    <p:spTree>
      <p:nvGrpSpPr>
        <p:cNvPr id="1" name=""/>
        <p:cNvGrpSpPr/>
        <p:nvPr/>
      </p:nvGrpSpPr>
      <p:grpSpPr>
        <a:xfrm>
          <a:off x="0" y="0"/>
          <a:ext cx="0" cy="0"/>
          <a:chOff x="0" y="0"/>
          <a:chExt cx="0" cy="0"/>
        </a:xfrm>
      </p:grpSpPr>
      <p:pic>
        <p:nvPicPr>
          <p:cNvPr id="27" name="Gartner Logo"/>
          <p:cNvPicPr>
            <a:picLocks noChangeAspect="1"/>
          </p:cNvPicPr>
          <p:nvPr userDrawn="1"/>
        </p:nvPicPr>
        <p:blipFill>
          <a:blip r:embed="rId2"/>
          <a:srcRect/>
          <a:stretch/>
        </p:blipFill>
        <p:spPr bwMode="black">
          <a:xfrm>
            <a:off x="7266194" y="4481653"/>
            <a:ext cx="1539912" cy="351613"/>
          </a:xfrm>
          <a:prstGeom prst="rect">
            <a:avLst/>
          </a:prstGeom>
        </p:spPr>
      </p:pic>
      <p:sp>
        <p:nvSpPr>
          <p:cNvPr id="20" name="Text - Presenter Name"/>
          <p:cNvSpPr>
            <a:spLocks noGrp="1" noChangeArrowheads="1"/>
          </p:cNvSpPr>
          <p:nvPr>
            <p:ph type="subTitle" idx="1" hasCustomPrompt="1"/>
          </p:nvPr>
        </p:nvSpPr>
        <p:spPr bwMode="black">
          <a:xfrm>
            <a:off x="740597" y="3140660"/>
            <a:ext cx="5474465" cy="207749"/>
          </a:xfrm>
          <a:prstGeom prst="rect">
            <a:avLst/>
          </a:prstGeom>
          <a:ln/>
        </p:spPr>
        <p:txBody>
          <a:bodyPr wrap="square" rIns="0" bIns="0" anchor="t" anchorCtr="0">
            <a:noAutofit/>
          </a:bodyPr>
          <a:lstStyle>
            <a:lvl1pPr marL="0" indent="0" algn="l">
              <a:lnSpc>
                <a:spcPct val="100000"/>
              </a:lnSpc>
              <a:spcBef>
                <a:spcPts val="0"/>
              </a:spcBef>
              <a:spcAft>
                <a:spcPts val="0"/>
              </a:spcAft>
              <a:buFont typeface="Arial" panose="020B0604020202020204" pitchFamily="34" charset="0"/>
              <a:buNone/>
              <a:defRPr sz="1350">
                <a:solidFill>
                  <a:srgbClr val="FFFFFF"/>
                </a:solidFill>
                <a:latin typeface="+mn-lt"/>
              </a:defRPr>
            </a:lvl1pPr>
          </a:lstStyle>
          <a:p>
            <a:pPr lvl="0"/>
            <a:r>
              <a:rPr lang="en-US"/>
              <a:t>Speaker Name</a:t>
            </a:r>
          </a:p>
        </p:txBody>
      </p:sp>
      <p:sp>
        <p:nvSpPr>
          <p:cNvPr id="19" name="Text - Presentation Title"/>
          <p:cNvSpPr>
            <a:spLocks noGrp="1" noChangeArrowheads="1"/>
          </p:cNvSpPr>
          <p:nvPr>
            <p:ph type="ctrTitle" hasCustomPrompt="1"/>
          </p:nvPr>
        </p:nvSpPr>
        <p:spPr bwMode="black">
          <a:xfrm>
            <a:off x="740598" y="1553061"/>
            <a:ext cx="5474465" cy="1495794"/>
          </a:xfrm>
          <a:ln>
            <a:noFill/>
          </a:ln>
        </p:spPr>
        <p:txBody>
          <a:bodyPr wrap="square" tIns="0" bIns="0" anchor="ctr" anchorCtr="0">
            <a:noAutofit/>
          </a:bodyPr>
          <a:lstStyle>
            <a:lvl1pPr>
              <a:lnSpc>
                <a:spcPct val="90000"/>
              </a:lnSpc>
              <a:spcBef>
                <a:spcPts val="750"/>
              </a:spcBef>
              <a:spcAft>
                <a:spcPts val="225"/>
              </a:spcAft>
              <a:defRPr sz="2700" b="0" baseline="0">
                <a:solidFill>
                  <a:srgbClr val="FFFFFF"/>
                </a:solidFill>
                <a:latin typeface="+mj-lt"/>
                <a:cs typeface="Arial"/>
              </a:defRPr>
            </a:lvl1pPr>
          </a:lstStyle>
          <a:p>
            <a:r>
              <a:rPr lang="en-US"/>
              <a:t>Session Title; Maximum of Four Lines; Reduce Font to Fit Focus Frame If Needed</a:t>
            </a:r>
          </a:p>
        </p:txBody>
      </p:sp>
      <p:sp>
        <p:nvSpPr>
          <p:cNvPr id="32" name="Focus Frame 2"/>
          <p:cNvSpPr>
            <a:spLocks noChangeAspect="1"/>
          </p:cNvSpPr>
          <p:nvPr userDrawn="1"/>
        </p:nvSpPr>
        <p:spPr bwMode="auto">
          <a:xfrm>
            <a:off x="6401667" y="1215020"/>
            <a:ext cx="120325" cy="2468880"/>
          </a:xfrm>
          <a:prstGeom prst="rect">
            <a:avLst/>
          </a:prstGeom>
          <a:solidFill>
            <a:schemeClr val="accent5"/>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350" dirty="0">
              <a:solidFill>
                <a:srgbClr val="000000"/>
              </a:solidFill>
              <a:ea typeface="+mn-ea"/>
              <a:cs typeface="+mn-cs"/>
            </a:endParaRPr>
          </a:p>
        </p:txBody>
      </p:sp>
      <p:sp>
        <p:nvSpPr>
          <p:cNvPr id="33" name="Focus Frame 2"/>
          <p:cNvSpPr>
            <a:spLocks noChangeAspect="1"/>
          </p:cNvSpPr>
          <p:nvPr userDrawn="1"/>
        </p:nvSpPr>
        <p:spPr bwMode="auto">
          <a:xfrm>
            <a:off x="345192" y="1215020"/>
            <a:ext cx="120325" cy="2468880"/>
          </a:xfrm>
          <a:prstGeom prst="rect">
            <a:avLst/>
          </a:prstGeom>
          <a:solidFill>
            <a:schemeClr val="accent5"/>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350" dirty="0">
              <a:solidFill>
                <a:srgbClr val="000000"/>
              </a:solidFill>
              <a:ea typeface="+mn-ea"/>
              <a:cs typeface="+mn-cs"/>
            </a:endParaRPr>
          </a:p>
        </p:txBody>
      </p:sp>
      <p:sp>
        <p:nvSpPr>
          <p:cNvPr id="10" name="Copyright Text">
            <a:extLst>
              <a:ext uri="{FF2B5EF4-FFF2-40B4-BE49-F238E27FC236}">
                <a16:creationId xmlns:a16="http://schemas.microsoft.com/office/drawing/2014/main" id="{CC1E8655-A643-4A64-93CB-E45163C0F10D}"/>
              </a:ext>
            </a:extLst>
          </p:cNvPr>
          <p:cNvSpPr txBox="1"/>
          <p:nvPr userDrawn="1"/>
        </p:nvSpPr>
        <p:spPr bwMode="gray">
          <a:xfrm>
            <a:off x="345192" y="4365287"/>
            <a:ext cx="5816559" cy="484748"/>
          </a:xfrm>
          <a:prstGeom prst="rect">
            <a:avLst/>
          </a:prstGeom>
          <a:noFill/>
        </p:spPr>
        <p:txBody>
          <a:bodyPr wrap="square" lIns="0" tIns="0" rIns="0" bIns="0" anchor="b" anchorCtr="0">
            <a:spAutoFit/>
          </a:bodyPr>
          <a:lstStyle>
            <a:defPPr>
              <a:defRPr lang="en-US"/>
            </a:defPPr>
            <a:lvl1pPr fontAlgn="auto">
              <a:lnSpc>
                <a:spcPct val="100000"/>
              </a:lnSpc>
              <a:spcBef>
                <a:spcPts val="0"/>
              </a:spcBef>
              <a:spcAft>
                <a:spcPts val="0"/>
              </a:spcAft>
              <a:defRPr sz="700">
                <a:solidFill>
                  <a:srgbClr val="D3D3D3"/>
                </a:solidFill>
              </a:defRPr>
            </a:lvl1pPr>
          </a:lstStyle>
          <a:p>
            <a:pPr lvl="0"/>
            <a:r>
              <a:rPr lang="en-US" sz="525" dirty="0">
                <a:solidFill>
                  <a:srgbClr val="BDBDBD"/>
                </a:solidFill>
              </a:rPr>
              <a:t>© 2024 Gartner, Inc. and/or its affiliates. All rights reserved. Gartner is a registered trademark of Gartner, Inc. and its affiliates. This publication may not be reproduced or distributed in any form without Gartner's prior written permission. It consists of the opinions of Gartner's research organization, which should not be construed as statements of fact. While the information contained in this publication has been obtained from sources believed to be reliable, Gartner disclaims all warranties as to the accuracy, completeness or adequacy of such information. Although Gartner research may address legal and financial issues, Gartner does not provide legal or investment advice and its research should not be construed or used as such. Your access and use of this publication are governed by </a:t>
            </a:r>
            <a:r>
              <a:rPr lang="en-US" sz="525" dirty="0">
                <a:solidFill>
                  <a:srgbClr val="BDBDBD"/>
                </a:solidFill>
                <a:hlinkClick r:id="rId3">
                  <a:extLst>
                    <a:ext uri="{A12FA001-AC4F-418D-AE19-62706E023703}">
                      <ahyp:hlinkClr xmlns:ahyp="http://schemas.microsoft.com/office/drawing/2018/hyperlinkcolor" val="tx"/>
                    </a:ext>
                  </a:extLst>
                </a:hlinkClick>
              </a:rPr>
              <a:t>Gartner’s Usage Policy</a:t>
            </a:r>
            <a:r>
              <a:rPr lang="en-US" sz="525" dirty="0">
                <a:solidFill>
                  <a:srgbClr val="BDBDBD"/>
                </a:solidFill>
              </a:rPr>
              <a:t>. Gartner prides itself on its reputation for independence and objectivity. Its research is produced independently by its research organization without input or influence from any third party. For further information, see "</a:t>
            </a:r>
            <a:r>
              <a:rPr lang="en-US" sz="525" dirty="0">
                <a:solidFill>
                  <a:srgbClr val="BDBDBD"/>
                </a:solidFill>
                <a:hlinkClick r:id="rId4">
                  <a:extLst>
                    <a:ext uri="{A12FA001-AC4F-418D-AE19-62706E023703}">
                      <ahyp:hlinkClr xmlns:ahyp="http://schemas.microsoft.com/office/drawing/2018/hyperlinkcolor" val="tx"/>
                    </a:ext>
                  </a:extLst>
                </a:hlinkClick>
              </a:rPr>
              <a:t>Guiding Principles on Independence and Objectivity</a:t>
            </a:r>
            <a:r>
              <a:rPr lang="en-US" sz="525" dirty="0">
                <a:solidFill>
                  <a:srgbClr val="BDBDBD"/>
                </a:solidFill>
              </a:rPr>
              <a:t>."</a:t>
            </a:r>
          </a:p>
        </p:txBody>
      </p:sp>
    </p:spTree>
    <p:extLst>
      <p:ext uri="{BB962C8B-B14F-4D97-AF65-F5344CB8AC3E}">
        <p14:creationId xmlns:p14="http://schemas.microsoft.com/office/powerpoint/2010/main" val="423930332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307066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21" Type="http://schemas.openxmlformats.org/officeDocument/2006/relationships/slideLayout" Target="../slideLayouts/slideLayout59.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image" Target="../media/image1.emf"/><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oleObject" Target="../embeddings/oleObject2.bin"/><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tags" Target="../tags/tag3.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9" Type="http://schemas.openxmlformats.org/officeDocument/2006/relationships/theme" Target="../theme/theme3.xml"/><Relationship Id="rId21" Type="http://schemas.openxmlformats.org/officeDocument/2006/relationships/slideLayout" Target="../slideLayouts/slideLayout80.xml"/><Relationship Id="rId34" Type="http://schemas.openxmlformats.org/officeDocument/2006/relationships/slideLayout" Target="../slideLayouts/slideLayout93.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33" Type="http://schemas.openxmlformats.org/officeDocument/2006/relationships/slideLayout" Target="../slideLayouts/slideLayout92.xml"/><Relationship Id="rId38" Type="http://schemas.openxmlformats.org/officeDocument/2006/relationships/slideLayout" Target="../slideLayouts/slideLayout97.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slideLayout" Target="../slideLayouts/slideLayout88.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32" Type="http://schemas.openxmlformats.org/officeDocument/2006/relationships/slideLayout" Target="../slideLayouts/slideLayout91.xml"/><Relationship Id="rId37" Type="http://schemas.openxmlformats.org/officeDocument/2006/relationships/slideLayout" Target="../slideLayouts/slideLayout96.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36" Type="http://schemas.openxmlformats.org/officeDocument/2006/relationships/slideLayout" Target="../slideLayouts/slideLayout95.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slideLayout" Target="../slideLayouts/slideLayout90.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slideLayout" Target="../slideLayouts/slideLayout89.xml"/><Relationship Id="rId35" Type="http://schemas.openxmlformats.org/officeDocument/2006/relationships/slideLayout" Target="../slideLayouts/slideLayout94.xml"/><Relationship Id="rId8" Type="http://schemas.openxmlformats.org/officeDocument/2006/relationships/slideLayout" Target="../slideLayouts/slideLayout67.xml"/><Relationship Id="rId3" Type="http://schemas.openxmlformats.org/officeDocument/2006/relationships/slideLayout" Target="../slideLayouts/slideLayout6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26" Type="http://schemas.openxmlformats.org/officeDocument/2006/relationships/slideLayout" Target="../slideLayouts/slideLayout123.xml"/><Relationship Id="rId3" Type="http://schemas.openxmlformats.org/officeDocument/2006/relationships/slideLayout" Target="../slideLayouts/slideLayout100.xml"/><Relationship Id="rId21" Type="http://schemas.openxmlformats.org/officeDocument/2006/relationships/slideLayout" Target="../slideLayouts/slideLayout118.xml"/><Relationship Id="rId34" Type="http://schemas.openxmlformats.org/officeDocument/2006/relationships/theme" Target="../theme/theme4.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slideLayout" Target="../slideLayouts/slideLayout122.xml"/><Relationship Id="rId33" Type="http://schemas.openxmlformats.org/officeDocument/2006/relationships/slideLayout" Target="../slideLayouts/slideLayout130.xml"/><Relationship Id="rId2" Type="http://schemas.openxmlformats.org/officeDocument/2006/relationships/slideLayout" Target="../slideLayouts/slideLayout99.xml"/><Relationship Id="rId16" Type="http://schemas.openxmlformats.org/officeDocument/2006/relationships/slideLayout" Target="../slideLayouts/slideLayout113.xml"/><Relationship Id="rId20" Type="http://schemas.openxmlformats.org/officeDocument/2006/relationships/slideLayout" Target="../slideLayouts/slideLayout117.xml"/><Relationship Id="rId29" Type="http://schemas.openxmlformats.org/officeDocument/2006/relationships/slideLayout" Target="../slideLayouts/slideLayout126.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24" Type="http://schemas.openxmlformats.org/officeDocument/2006/relationships/slideLayout" Target="../slideLayouts/slideLayout121.xml"/><Relationship Id="rId32" Type="http://schemas.openxmlformats.org/officeDocument/2006/relationships/slideLayout" Target="../slideLayouts/slideLayout129.xml"/><Relationship Id="rId5" Type="http://schemas.openxmlformats.org/officeDocument/2006/relationships/slideLayout" Target="../slideLayouts/slideLayout102.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28" Type="http://schemas.openxmlformats.org/officeDocument/2006/relationships/slideLayout" Target="../slideLayouts/slideLayout125.xml"/><Relationship Id="rId10" Type="http://schemas.openxmlformats.org/officeDocument/2006/relationships/slideLayout" Target="../slideLayouts/slideLayout107.xml"/><Relationship Id="rId19" Type="http://schemas.openxmlformats.org/officeDocument/2006/relationships/slideLayout" Target="../slideLayouts/slideLayout116.xml"/><Relationship Id="rId31" Type="http://schemas.openxmlformats.org/officeDocument/2006/relationships/slideLayout" Target="../slideLayouts/slideLayout128.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slideLayout" Target="../slideLayouts/slideLayout119.xml"/><Relationship Id="rId27" Type="http://schemas.openxmlformats.org/officeDocument/2006/relationships/slideLayout" Target="../slideLayouts/slideLayout124.xml"/><Relationship Id="rId30" Type="http://schemas.openxmlformats.org/officeDocument/2006/relationships/slideLayout" Target="../slideLayouts/slideLayout127.xml"/><Relationship Id="rId35" Type="http://schemas.openxmlformats.org/officeDocument/2006/relationships/image" Target="../media/image9.png"/><Relationship Id="rId8" Type="http://schemas.openxmlformats.org/officeDocument/2006/relationships/slideLayout" Target="../slideLayouts/slideLayout105.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43.xml"/><Relationship Id="rId18" Type="http://schemas.openxmlformats.org/officeDocument/2006/relationships/slideLayout" Target="../slideLayouts/slideLayout148.xml"/><Relationship Id="rId26" Type="http://schemas.openxmlformats.org/officeDocument/2006/relationships/slideLayout" Target="../slideLayouts/slideLayout156.xml"/><Relationship Id="rId3" Type="http://schemas.openxmlformats.org/officeDocument/2006/relationships/slideLayout" Target="../slideLayouts/slideLayout133.xml"/><Relationship Id="rId21" Type="http://schemas.openxmlformats.org/officeDocument/2006/relationships/slideLayout" Target="../slideLayouts/slideLayout151.xml"/><Relationship Id="rId34" Type="http://schemas.openxmlformats.org/officeDocument/2006/relationships/theme" Target="../theme/theme5.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17" Type="http://schemas.openxmlformats.org/officeDocument/2006/relationships/slideLayout" Target="../slideLayouts/slideLayout147.xml"/><Relationship Id="rId25" Type="http://schemas.openxmlformats.org/officeDocument/2006/relationships/slideLayout" Target="../slideLayouts/slideLayout155.xml"/><Relationship Id="rId33" Type="http://schemas.openxmlformats.org/officeDocument/2006/relationships/slideLayout" Target="../slideLayouts/slideLayout163.xml"/><Relationship Id="rId2" Type="http://schemas.openxmlformats.org/officeDocument/2006/relationships/slideLayout" Target="../slideLayouts/slideLayout132.xml"/><Relationship Id="rId16" Type="http://schemas.openxmlformats.org/officeDocument/2006/relationships/slideLayout" Target="../slideLayouts/slideLayout146.xml"/><Relationship Id="rId20" Type="http://schemas.openxmlformats.org/officeDocument/2006/relationships/slideLayout" Target="../slideLayouts/slideLayout150.xml"/><Relationship Id="rId29" Type="http://schemas.openxmlformats.org/officeDocument/2006/relationships/slideLayout" Target="../slideLayouts/slideLayout159.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24" Type="http://schemas.openxmlformats.org/officeDocument/2006/relationships/slideLayout" Target="../slideLayouts/slideLayout154.xml"/><Relationship Id="rId32" Type="http://schemas.openxmlformats.org/officeDocument/2006/relationships/slideLayout" Target="../slideLayouts/slideLayout162.xml"/><Relationship Id="rId5" Type="http://schemas.openxmlformats.org/officeDocument/2006/relationships/slideLayout" Target="../slideLayouts/slideLayout135.xml"/><Relationship Id="rId15" Type="http://schemas.openxmlformats.org/officeDocument/2006/relationships/slideLayout" Target="../slideLayouts/slideLayout145.xml"/><Relationship Id="rId23" Type="http://schemas.openxmlformats.org/officeDocument/2006/relationships/slideLayout" Target="../slideLayouts/slideLayout153.xml"/><Relationship Id="rId28" Type="http://schemas.openxmlformats.org/officeDocument/2006/relationships/slideLayout" Target="../slideLayouts/slideLayout158.xml"/><Relationship Id="rId10" Type="http://schemas.openxmlformats.org/officeDocument/2006/relationships/slideLayout" Target="../slideLayouts/slideLayout140.xml"/><Relationship Id="rId19" Type="http://schemas.openxmlformats.org/officeDocument/2006/relationships/slideLayout" Target="../slideLayouts/slideLayout149.xml"/><Relationship Id="rId31" Type="http://schemas.openxmlformats.org/officeDocument/2006/relationships/slideLayout" Target="../slideLayouts/slideLayout161.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 Id="rId22" Type="http://schemas.openxmlformats.org/officeDocument/2006/relationships/slideLayout" Target="../slideLayouts/slideLayout152.xml"/><Relationship Id="rId27" Type="http://schemas.openxmlformats.org/officeDocument/2006/relationships/slideLayout" Target="../slideLayouts/slideLayout157.xml"/><Relationship Id="rId30" Type="http://schemas.openxmlformats.org/officeDocument/2006/relationships/slideLayout" Target="../slideLayouts/slideLayout160.xml"/><Relationship Id="rId35" Type="http://schemas.openxmlformats.org/officeDocument/2006/relationships/image" Target="../media/image10.png"/><Relationship Id="rId8" Type="http://schemas.openxmlformats.org/officeDocument/2006/relationships/slideLayout" Target="../slideLayouts/slideLayout13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26" Type="http://schemas.openxmlformats.org/officeDocument/2006/relationships/slideLayout" Target="../slideLayouts/slideLayout189.xml"/><Relationship Id="rId39" Type="http://schemas.openxmlformats.org/officeDocument/2006/relationships/slideLayout" Target="../slideLayouts/slideLayout202.xml"/><Relationship Id="rId21" Type="http://schemas.openxmlformats.org/officeDocument/2006/relationships/slideLayout" Target="../slideLayouts/slideLayout184.xml"/><Relationship Id="rId34" Type="http://schemas.openxmlformats.org/officeDocument/2006/relationships/slideLayout" Target="../slideLayouts/slideLayout197.xml"/><Relationship Id="rId42" Type="http://schemas.openxmlformats.org/officeDocument/2006/relationships/tags" Target="../tags/tag4.xml"/><Relationship Id="rId7" Type="http://schemas.openxmlformats.org/officeDocument/2006/relationships/slideLayout" Target="../slideLayouts/slideLayout170.xml"/><Relationship Id="rId2" Type="http://schemas.openxmlformats.org/officeDocument/2006/relationships/slideLayout" Target="../slideLayouts/slideLayout165.xml"/><Relationship Id="rId16" Type="http://schemas.openxmlformats.org/officeDocument/2006/relationships/slideLayout" Target="../slideLayouts/slideLayout179.xml"/><Relationship Id="rId20" Type="http://schemas.openxmlformats.org/officeDocument/2006/relationships/slideLayout" Target="../slideLayouts/slideLayout183.xml"/><Relationship Id="rId29" Type="http://schemas.openxmlformats.org/officeDocument/2006/relationships/slideLayout" Target="../slideLayouts/slideLayout192.xml"/><Relationship Id="rId41" Type="http://schemas.openxmlformats.org/officeDocument/2006/relationships/theme" Target="../theme/theme6.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24" Type="http://schemas.openxmlformats.org/officeDocument/2006/relationships/slideLayout" Target="../slideLayouts/slideLayout187.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40" Type="http://schemas.openxmlformats.org/officeDocument/2006/relationships/slideLayout" Target="../slideLayouts/slideLayout203.xml"/><Relationship Id="rId5" Type="http://schemas.openxmlformats.org/officeDocument/2006/relationships/slideLayout" Target="../slideLayouts/slideLayout168.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10" Type="http://schemas.openxmlformats.org/officeDocument/2006/relationships/slideLayout" Target="../slideLayouts/slideLayout173.xml"/><Relationship Id="rId19" Type="http://schemas.openxmlformats.org/officeDocument/2006/relationships/slideLayout" Target="../slideLayouts/slideLayout182.xml"/><Relationship Id="rId31" Type="http://schemas.openxmlformats.org/officeDocument/2006/relationships/slideLayout" Target="../slideLayouts/slideLayout194.xml"/><Relationship Id="rId44" Type="http://schemas.openxmlformats.org/officeDocument/2006/relationships/image" Target="../media/image17.emf"/><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oleObject" Target="../embeddings/oleObject3.bin"/><Relationship Id="rId8" Type="http://schemas.openxmlformats.org/officeDocument/2006/relationships/slideLayout" Target="../slideLayouts/slideLayout171.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1B3D412-D56E-7786-1F4D-1916FA6B02CB}"/>
              </a:ext>
            </a:extLst>
          </p:cNvPr>
          <p:cNvGraphicFramePr>
            <a:graphicFrameLocks noChangeAspect="1"/>
          </p:cNvGraphicFramePr>
          <p:nvPr userDrawn="1">
            <p:custDataLst>
              <p:tags r:id="rId40"/>
            </p:custDataLst>
            <p:extLst>
              <p:ext uri="{D42A27DB-BD31-4B8C-83A1-F6EECF244321}">
                <p14:modId xmlns:p14="http://schemas.microsoft.com/office/powerpoint/2010/main" val="969560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359" imgH="360" progId="TCLayout.ActiveDocument.1">
                  <p:embed/>
                </p:oleObj>
              </mc:Choice>
              <mc:Fallback>
                <p:oleObj name="think-cell Slide" r:id="rId41" imgW="359" imgH="360" progId="TCLayout.ActiveDocument.1">
                  <p:embed/>
                  <p:pic>
                    <p:nvPicPr>
                      <p:cNvPr id="8" name="think-cell data - do not delete" hidden="1">
                        <a:extLst>
                          <a:ext uri="{FF2B5EF4-FFF2-40B4-BE49-F238E27FC236}">
                            <a16:creationId xmlns:a16="http://schemas.microsoft.com/office/drawing/2014/main" id="{91B3D412-D56E-7786-1F4D-1916FA6B02CB}"/>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23850" y="525600"/>
            <a:ext cx="8496300" cy="1560972"/>
          </a:xfrm>
          <a:prstGeom prst="rect">
            <a:avLst/>
          </a:prstGeom>
        </p:spPr>
        <p:txBody>
          <a:bodyPr vert="horz" lIns="91440" tIns="45720" rIns="91440" bIns="45720" rtlCol="0" anchor="t">
            <a:noAutofit/>
          </a:bodyPr>
          <a:lstStyle/>
          <a:p>
            <a:r>
              <a:rPr lang="en-GB" noProof="0"/>
              <a:t>Click to edit Master title slide</a:t>
            </a:r>
          </a:p>
        </p:txBody>
      </p:sp>
      <p:sp>
        <p:nvSpPr>
          <p:cNvPr id="3" name="Text"/>
          <p:cNvSpPr>
            <a:spLocks noGrp="1"/>
          </p:cNvSpPr>
          <p:nvPr>
            <p:ph type="body" idx="1"/>
          </p:nvPr>
        </p:nvSpPr>
        <p:spPr>
          <a:xfrm>
            <a:off x="323850" y="2103438"/>
            <a:ext cx="8496300" cy="2613680"/>
          </a:xfrm>
          <a:prstGeom prst="rect">
            <a:avLst/>
          </a:prstGeom>
        </p:spPr>
        <p:txBody>
          <a:bodyPr vert="horz" lIns="90000" tIns="45720" rIns="90000" bIns="45720" rtlCol="0">
            <a:noAutofit/>
          </a:bodyPr>
          <a:lstStyle/>
          <a:p>
            <a:pPr lvl="0"/>
            <a:r>
              <a:rPr lang="en-GB" noProof="0"/>
              <a:t>Click to edit Master text slid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9" name="Frihandsfigur 38">
            <a:extLst>
              <a:ext uri="{FF2B5EF4-FFF2-40B4-BE49-F238E27FC236}">
                <a16:creationId xmlns:a16="http://schemas.microsoft.com/office/drawing/2014/main" id="{E1BCAB34-53D3-7A48-9E69-B9D2FB9E2C35}"/>
              </a:ext>
            </a:extLst>
          </p:cNvPr>
          <p:cNvSpPr/>
          <p:nvPr userDrawn="1"/>
        </p:nvSpPr>
        <p:spPr>
          <a:xfrm rot="5400000">
            <a:off x="2000250" y="-2000250"/>
            <a:ext cx="5143500" cy="9144000"/>
          </a:xfrm>
          <a:custGeom>
            <a:avLst/>
            <a:gdLst>
              <a:gd name="connsiteX0" fmla="*/ 158750 w 5143500"/>
              <a:gd name="connsiteY0" fmla="*/ 8964612 h 9144000"/>
              <a:gd name="connsiteX1" fmla="*/ 4840289 w 5143500"/>
              <a:gd name="connsiteY1" fmla="*/ 8964612 h 9144000"/>
              <a:gd name="connsiteX2" fmla="*/ 4840289 w 5143500"/>
              <a:gd name="connsiteY2" fmla="*/ 179389 h 9144000"/>
              <a:gd name="connsiteX3" fmla="*/ 158750 w 5143500"/>
              <a:gd name="connsiteY3" fmla="*/ 179389 h 9144000"/>
              <a:gd name="connsiteX4" fmla="*/ 0 w 5143500"/>
              <a:gd name="connsiteY4" fmla="*/ 179389 h 9144000"/>
              <a:gd name="connsiteX5" fmla="*/ 0 w 5143500"/>
              <a:gd name="connsiteY5" fmla="*/ 0 h 9144000"/>
              <a:gd name="connsiteX6" fmla="*/ 5143500 w 5143500"/>
              <a:gd name="connsiteY6" fmla="*/ 0 h 9144000"/>
              <a:gd name="connsiteX7" fmla="*/ 5143500 w 5143500"/>
              <a:gd name="connsiteY7" fmla="*/ 25398 h 9144000"/>
              <a:gd name="connsiteX8" fmla="*/ 5143500 w 5143500"/>
              <a:gd name="connsiteY8" fmla="*/ 25398 h 9144000"/>
              <a:gd name="connsiteX9" fmla="*/ 5143500 w 5143500"/>
              <a:gd name="connsiteY9" fmla="*/ 9033715 h 9144000"/>
              <a:gd name="connsiteX10" fmla="*/ 5143499 w 5143500"/>
              <a:gd name="connsiteY10" fmla="*/ 9033715 h 9144000"/>
              <a:gd name="connsiteX11" fmla="*/ 5143499 w 5143500"/>
              <a:gd name="connsiteY11" fmla="*/ 9144000 h 9144000"/>
              <a:gd name="connsiteX12" fmla="*/ 0 w 5143500"/>
              <a:gd name="connsiteY12" fmla="*/ 9144000 h 9144000"/>
              <a:gd name="connsiteX13" fmla="*/ 0 w 5143500"/>
              <a:gd name="connsiteY13" fmla="*/ 9033714 h 9144000"/>
              <a:gd name="connsiteX14" fmla="*/ 0 w 5143500"/>
              <a:gd name="connsiteY14" fmla="*/ 9033714 h 9144000"/>
              <a:gd name="connsiteX15" fmla="*/ 0 w 5143500"/>
              <a:gd name="connsiteY15" fmla="*/ 179389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143500" h="9144000">
                <a:moveTo>
                  <a:pt x="158750" y="8964612"/>
                </a:moveTo>
                <a:lnTo>
                  <a:pt x="4840289" y="8964612"/>
                </a:lnTo>
                <a:lnTo>
                  <a:pt x="4840289" y="179389"/>
                </a:lnTo>
                <a:lnTo>
                  <a:pt x="158750" y="179389"/>
                </a:lnTo>
                <a:close/>
                <a:moveTo>
                  <a:pt x="0" y="179389"/>
                </a:moveTo>
                <a:lnTo>
                  <a:pt x="0" y="0"/>
                </a:lnTo>
                <a:lnTo>
                  <a:pt x="5143500" y="0"/>
                </a:lnTo>
                <a:lnTo>
                  <a:pt x="5143500" y="25398"/>
                </a:lnTo>
                <a:lnTo>
                  <a:pt x="5143500" y="25398"/>
                </a:lnTo>
                <a:lnTo>
                  <a:pt x="5143500" y="9033715"/>
                </a:lnTo>
                <a:lnTo>
                  <a:pt x="5143499" y="9033715"/>
                </a:lnTo>
                <a:lnTo>
                  <a:pt x="5143499" y="9144000"/>
                </a:lnTo>
                <a:lnTo>
                  <a:pt x="0" y="9144000"/>
                </a:lnTo>
                <a:lnTo>
                  <a:pt x="0" y="9033714"/>
                </a:lnTo>
                <a:lnTo>
                  <a:pt x="0" y="9033714"/>
                </a:lnTo>
                <a:lnTo>
                  <a:pt x="0" y="17938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grpSp>
        <p:nvGrpSpPr>
          <p:cNvPr id="5" name="Logo" descr="Vattenfall logotype">
            <a:extLst>
              <a:ext uri="{FF2B5EF4-FFF2-40B4-BE49-F238E27FC236}">
                <a16:creationId xmlns:a16="http://schemas.microsoft.com/office/drawing/2014/main" id="{133EFDB0-08D2-CA41-9A6F-D93000386FD2}"/>
              </a:ext>
            </a:extLst>
          </p:cNvPr>
          <p:cNvGrpSpPr>
            <a:grpSpLocks noChangeAspect="1"/>
          </p:cNvGrpSpPr>
          <p:nvPr userDrawn="1"/>
        </p:nvGrpSpPr>
        <p:grpSpPr>
          <a:xfrm>
            <a:off x="4085649" y="4917137"/>
            <a:ext cx="972702" cy="148746"/>
            <a:chOff x="4085649" y="4917137"/>
            <a:chExt cx="972702" cy="148746"/>
          </a:xfrm>
        </p:grpSpPr>
        <p:sp>
          <p:nvSpPr>
            <p:cNvPr id="25" name="Frihandsfigur 24">
              <a:extLst>
                <a:ext uri="{FF2B5EF4-FFF2-40B4-BE49-F238E27FC236}">
                  <a16:creationId xmlns:a16="http://schemas.microsoft.com/office/drawing/2014/main" id="{D0B20966-557B-FD4C-AEFD-237DB58109CE}"/>
                </a:ext>
              </a:extLst>
            </p:cNvPr>
            <p:cNvSpPr/>
            <p:nvPr/>
          </p:nvSpPr>
          <p:spPr>
            <a:xfrm>
              <a:off x="4909411" y="4917137"/>
              <a:ext cx="148940" cy="74384"/>
            </a:xfrm>
            <a:custGeom>
              <a:avLst/>
              <a:gdLst>
                <a:gd name="connsiteX0" fmla="*/ 108621 w 217242"/>
                <a:gd name="connsiteY0" fmla="*/ 0 h 108497"/>
                <a:gd name="connsiteX1" fmla="*/ 0 w 217242"/>
                <a:gd name="connsiteY1" fmla="*/ 108498 h 108497"/>
                <a:gd name="connsiteX2" fmla="*/ 217243 w 217242"/>
                <a:gd name="connsiteY2" fmla="*/ 108498 h 108497"/>
                <a:gd name="connsiteX3" fmla="*/ 108650 w 217242"/>
                <a:gd name="connsiteY3" fmla="*/ 0 h 108497"/>
                <a:gd name="connsiteX4" fmla="*/ 108621 w 217242"/>
                <a:gd name="connsiteY4" fmla="*/ 0 h 108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242" h="108497">
                  <a:moveTo>
                    <a:pt x="108621" y="0"/>
                  </a:moveTo>
                  <a:cubicBezTo>
                    <a:pt x="48632" y="0"/>
                    <a:pt x="0" y="48576"/>
                    <a:pt x="0" y="108498"/>
                  </a:cubicBezTo>
                  <a:lnTo>
                    <a:pt x="217243" y="108498"/>
                  </a:lnTo>
                  <a:cubicBezTo>
                    <a:pt x="217257" y="48584"/>
                    <a:pt x="168632" y="8"/>
                    <a:pt x="108650" y="0"/>
                  </a:cubicBezTo>
                  <a:cubicBezTo>
                    <a:pt x="108640" y="0"/>
                    <a:pt x="108631" y="0"/>
                    <a:pt x="108621" y="0"/>
                  </a:cubicBezTo>
                  <a:close/>
                </a:path>
              </a:pathLst>
            </a:custGeom>
            <a:solidFill>
              <a:srgbClr val="FFDA00"/>
            </a:solidFill>
            <a:ln w="1400" cap="flat">
              <a:noFill/>
              <a:prstDash val="solid"/>
              <a:miter/>
            </a:ln>
          </p:spPr>
          <p:txBody>
            <a:bodyPr rtlCol="0" anchor="ctr"/>
            <a:lstStyle/>
            <a:p>
              <a:endParaRPr lang="en-GB" noProof="0"/>
            </a:p>
          </p:txBody>
        </p:sp>
        <p:sp>
          <p:nvSpPr>
            <p:cNvPr id="26" name="Frihandsfigur 25">
              <a:extLst>
                <a:ext uri="{FF2B5EF4-FFF2-40B4-BE49-F238E27FC236}">
                  <a16:creationId xmlns:a16="http://schemas.microsoft.com/office/drawing/2014/main" id="{971B17A3-E306-2242-BA24-C3FEA7450426}"/>
                </a:ext>
              </a:extLst>
            </p:cNvPr>
            <p:cNvSpPr/>
            <p:nvPr/>
          </p:nvSpPr>
          <p:spPr>
            <a:xfrm>
              <a:off x="4909411" y="4991508"/>
              <a:ext cx="148940" cy="74375"/>
            </a:xfrm>
            <a:custGeom>
              <a:avLst/>
              <a:gdLst>
                <a:gd name="connsiteX0" fmla="*/ 108621 w 217242"/>
                <a:gd name="connsiteY0" fmla="*/ 108484 h 108483"/>
                <a:gd name="connsiteX1" fmla="*/ 0 w 217242"/>
                <a:gd name="connsiteY1" fmla="*/ 0 h 108483"/>
                <a:gd name="connsiteX2" fmla="*/ 217243 w 217242"/>
                <a:gd name="connsiteY2" fmla="*/ 0 h 108483"/>
                <a:gd name="connsiteX3" fmla="*/ 108636 w 217242"/>
                <a:gd name="connsiteY3" fmla="*/ 108484 h 108483"/>
                <a:gd name="connsiteX4" fmla="*/ 108621 w 217242"/>
                <a:gd name="connsiteY4" fmla="*/ 108484 h 108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242" h="108483">
                  <a:moveTo>
                    <a:pt x="108621" y="108484"/>
                  </a:moveTo>
                  <a:cubicBezTo>
                    <a:pt x="48637" y="108484"/>
                    <a:pt x="7" y="59916"/>
                    <a:pt x="0" y="0"/>
                  </a:cubicBezTo>
                  <a:lnTo>
                    <a:pt x="217243" y="0"/>
                  </a:lnTo>
                  <a:cubicBezTo>
                    <a:pt x="217243" y="59914"/>
                    <a:pt x="168618" y="108484"/>
                    <a:pt x="108636" y="108484"/>
                  </a:cubicBezTo>
                  <a:cubicBezTo>
                    <a:pt x="108631" y="108484"/>
                    <a:pt x="108626" y="108484"/>
                    <a:pt x="108621" y="108484"/>
                  </a:cubicBezTo>
                  <a:close/>
                </a:path>
              </a:pathLst>
            </a:custGeom>
            <a:solidFill>
              <a:srgbClr val="2071B5"/>
            </a:solidFill>
            <a:ln w="1400" cap="flat">
              <a:noFill/>
              <a:prstDash val="solid"/>
              <a:miter/>
            </a:ln>
          </p:spPr>
          <p:txBody>
            <a:bodyPr rtlCol="0" anchor="ctr"/>
            <a:lstStyle/>
            <a:p>
              <a:endParaRPr lang="en-GB" noProof="0"/>
            </a:p>
          </p:txBody>
        </p:sp>
        <p:sp>
          <p:nvSpPr>
            <p:cNvPr id="22" name="Frihandsfigur 21">
              <a:extLst>
                <a:ext uri="{FF2B5EF4-FFF2-40B4-BE49-F238E27FC236}">
                  <a16:creationId xmlns:a16="http://schemas.microsoft.com/office/drawing/2014/main" id="{FEBDF823-A994-7046-B9A0-22F15D3F33C3}"/>
                </a:ext>
              </a:extLst>
            </p:cNvPr>
            <p:cNvSpPr/>
            <p:nvPr/>
          </p:nvSpPr>
          <p:spPr>
            <a:xfrm>
              <a:off x="4085649" y="4951310"/>
              <a:ext cx="781273" cy="84934"/>
            </a:xfrm>
            <a:custGeom>
              <a:avLst/>
              <a:gdLst>
                <a:gd name="connsiteX0" fmla="*/ 595123 w 781273"/>
                <a:gd name="connsiteY0" fmla="*/ 23454 h 84934"/>
                <a:gd name="connsiteX1" fmla="*/ 583493 w 781273"/>
                <a:gd name="connsiteY1" fmla="*/ 52452 h 84934"/>
                <a:gd name="connsiteX2" fmla="*/ 606935 w 781273"/>
                <a:gd name="connsiteY2" fmla="*/ 52442 h 84934"/>
                <a:gd name="connsiteX3" fmla="*/ 595267 w 781273"/>
                <a:gd name="connsiteY3" fmla="*/ 23454 h 84934"/>
                <a:gd name="connsiteX4" fmla="*/ 123589 w 781273"/>
                <a:gd name="connsiteY4" fmla="*/ 23454 h 84934"/>
                <a:gd name="connsiteX5" fmla="*/ 111959 w 781273"/>
                <a:gd name="connsiteY5" fmla="*/ 52452 h 84934"/>
                <a:gd name="connsiteX6" fmla="*/ 135363 w 781273"/>
                <a:gd name="connsiteY6" fmla="*/ 52442 h 84934"/>
                <a:gd name="connsiteX7" fmla="*/ 123734 w 781273"/>
                <a:gd name="connsiteY7" fmla="*/ 23454 h 84934"/>
                <a:gd name="connsiteX8" fmla="*/ 584293 w 781273"/>
                <a:gd name="connsiteY8" fmla="*/ 48 h 84934"/>
                <a:gd name="connsiteX9" fmla="*/ 606136 w 781273"/>
                <a:gd name="connsiteY9" fmla="*/ 48 h 84934"/>
                <a:gd name="connsiteX10" fmla="*/ 641516 w 781273"/>
                <a:gd name="connsiteY10" fmla="*/ 84886 h 84934"/>
                <a:gd name="connsiteX11" fmla="*/ 620001 w 781273"/>
                <a:gd name="connsiteY11" fmla="*/ 84886 h 84934"/>
                <a:gd name="connsiteX12" fmla="*/ 613892 w 781273"/>
                <a:gd name="connsiteY12" fmla="*/ 69775 h 84934"/>
                <a:gd name="connsiteX13" fmla="*/ 576488 w 781273"/>
                <a:gd name="connsiteY13" fmla="*/ 69775 h 84934"/>
                <a:gd name="connsiteX14" fmla="*/ 570389 w 781273"/>
                <a:gd name="connsiteY14" fmla="*/ 84934 h 84934"/>
                <a:gd name="connsiteX15" fmla="*/ 548864 w 781273"/>
                <a:gd name="connsiteY15" fmla="*/ 84934 h 84934"/>
                <a:gd name="connsiteX16" fmla="*/ 112712 w 781273"/>
                <a:gd name="connsiteY16" fmla="*/ 48 h 84934"/>
                <a:gd name="connsiteX17" fmla="*/ 134515 w 781273"/>
                <a:gd name="connsiteY17" fmla="*/ 48 h 84934"/>
                <a:gd name="connsiteX18" fmla="*/ 169992 w 781273"/>
                <a:gd name="connsiteY18" fmla="*/ 84886 h 84934"/>
                <a:gd name="connsiteX19" fmla="*/ 148467 w 781273"/>
                <a:gd name="connsiteY19" fmla="*/ 84886 h 84934"/>
                <a:gd name="connsiteX20" fmla="*/ 142320 w 781273"/>
                <a:gd name="connsiteY20" fmla="*/ 69775 h 84934"/>
                <a:gd name="connsiteX21" fmla="*/ 104917 w 781273"/>
                <a:gd name="connsiteY21" fmla="*/ 69775 h 84934"/>
                <a:gd name="connsiteX22" fmla="*/ 98808 w 781273"/>
                <a:gd name="connsiteY22" fmla="*/ 84934 h 84934"/>
                <a:gd name="connsiteX23" fmla="*/ 77293 w 781273"/>
                <a:gd name="connsiteY23" fmla="*/ 84934 h 84934"/>
                <a:gd name="connsiteX24" fmla="*/ 719820 w 781273"/>
                <a:gd name="connsiteY24" fmla="*/ 0 h 84934"/>
                <a:gd name="connsiteX25" fmla="*/ 742077 w 781273"/>
                <a:gd name="connsiteY25" fmla="*/ 0 h 84934"/>
                <a:gd name="connsiteX26" fmla="*/ 742077 w 781273"/>
                <a:gd name="connsiteY26" fmla="*/ 66042 h 84934"/>
                <a:gd name="connsiteX27" fmla="*/ 781273 w 781273"/>
                <a:gd name="connsiteY27" fmla="*/ 66042 h 84934"/>
                <a:gd name="connsiteX28" fmla="*/ 781273 w 781273"/>
                <a:gd name="connsiteY28" fmla="*/ 84886 h 84934"/>
                <a:gd name="connsiteX29" fmla="*/ 719820 w 781273"/>
                <a:gd name="connsiteY29" fmla="*/ 84886 h 84934"/>
                <a:gd name="connsiteX30" fmla="*/ 648751 w 781273"/>
                <a:gd name="connsiteY30" fmla="*/ 0 h 84934"/>
                <a:gd name="connsiteX31" fmla="*/ 671018 w 781273"/>
                <a:gd name="connsiteY31" fmla="*/ 0 h 84934"/>
                <a:gd name="connsiteX32" fmla="*/ 671018 w 781273"/>
                <a:gd name="connsiteY32" fmla="*/ 66042 h 84934"/>
                <a:gd name="connsiteX33" fmla="*/ 710214 w 781273"/>
                <a:gd name="connsiteY33" fmla="*/ 66042 h 84934"/>
                <a:gd name="connsiteX34" fmla="*/ 710214 w 781273"/>
                <a:gd name="connsiteY34" fmla="*/ 84886 h 84934"/>
                <a:gd name="connsiteX35" fmla="*/ 648751 w 781273"/>
                <a:gd name="connsiteY35" fmla="*/ 84886 h 84934"/>
                <a:gd name="connsiteX36" fmla="*/ 491429 w 781273"/>
                <a:gd name="connsiteY36" fmla="*/ 0 h 84934"/>
                <a:gd name="connsiteX37" fmla="*/ 556293 w 781273"/>
                <a:gd name="connsiteY37" fmla="*/ 0 h 84934"/>
                <a:gd name="connsiteX38" fmla="*/ 556293 w 781273"/>
                <a:gd name="connsiteY38" fmla="*/ 18190 h 84934"/>
                <a:gd name="connsiteX39" fmla="*/ 513686 w 781273"/>
                <a:gd name="connsiteY39" fmla="*/ 18190 h 84934"/>
                <a:gd name="connsiteX40" fmla="*/ 513686 w 781273"/>
                <a:gd name="connsiteY40" fmla="*/ 32338 h 84934"/>
                <a:gd name="connsiteX41" fmla="*/ 549616 w 781273"/>
                <a:gd name="connsiteY41" fmla="*/ 32338 h 84934"/>
                <a:gd name="connsiteX42" fmla="*/ 549616 w 781273"/>
                <a:gd name="connsiteY42" fmla="*/ 50527 h 84934"/>
                <a:gd name="connsiteX43" fmla="*/ 513686 w 781273"/>
                <a:gd name="connsiteY43" fmla="*/ 50527 h 84934"/>
                <a:gd name="connsiteX44" fmla="*/ 513686 w 781273"/>
                <a:gd name="connsiteY44" fmla="*/ 84886 h 84934"/>
                <a:gd name="connsiteX45" fmla="*/ 491429 w 781273"/>
                <a:gd name="connsiteY45" fmla="*/ 84886 h 84934"/>
                <a:gd name="connsiteX46" fmla="*/ 394124 w 781273"/>
                <a:gd name="connsiteY46" fmla="*/ 0 h 84934"/>
                <a:gd name="connsiteX47" fmla="*/ 415380 w 781273"/>
                <a:gd name="connsiteY47" fmla="*/ 0 h 84934"/>
                <a:gd name="connsiteX48" fmla="*/ 453246 w 781273"/>
                <a:gd name="connsiteY48" fmla="*/ 50797 h 84934"/>
                <a:gd name="connsiteX49" fmla="*/ 453246 w 781273"/>
                <a:gd name="connsiteY49" fmla="*/ 0 h 84934"/>
                <a:gd name="connsiteX50" fmla="*/ 474500 w 781273"/>
                <a:gd name="connsiteY50" fmla="*/ 0 h 84934"/>
                <a:gd name="connsiteX51" fmla="*/ 474500 w 781273"/>
                <a:gd name="connsiteY51" fmla="*/ 84886 h 84934"/>
                <a:gd name="connsiteX52" fmla="*/ 453246 w 781273"/>
                <a:gd name="connsiteY52" fmla="*/ 84886 h 84934"/>
                <a:gd name="connsiteX53" fmla="*/ 415380 w 781273"/>
                <a:gd name="connsiteY53" fmla="*/ 34705 h 84934"/>
                <a:gd name="connsiteX54" fmla="*/ 415380 w 781273"/>
                <a:gd name="connsiteY54" fmla="*/ 84886 h 84934"/>
                <a:gd name="connsiteX55" fmla="*/ 394124 w 781273"/>
                <a:gd name="connsiteY55" fmla="*/ 84886 h 84934"/>
                <a:gd name="connsiteX56" fmla="*/ 315887 w 781273"/>
                <a:gd name="connsiteY56" fmla="*/ 0 h 84934"/>
                <a:gd name="connsiteX57" fmla="*/ 378728 w 781273"/>
                <a:gd name="connsiteY57" fmla="*/ 0 h 84934"/>
                <a:gd name="connsiteX58" fmla="*/ 378728 w 781273"/>
                <a:gd name="connsiteY58" fmla="*/ 18190 h 84934"/>
                <a:gd name="connsiteX59" fmla="*/ 338144 w 781273"/>
                <a:gd name="connsiteY59" fmla="*/ 18190 h 84934"/>
                <a:gd name="connsiteX60" fmla="*/ 338144 w 781273"/>
                <a:gd name="connsiteY60" fmla="*/ 31799 h 84934"/>
                <a:gd name="connsiteX61" fmla="*/ 372542 w 781273"/>
                <a:gd name="connsiteY61" fmla="*/ 31799 h 84934"/>
                <a:gd name="connsiteX62" fmla="*/ 372542 w 781273"/>
                <a:gd name="connsiteY62" fmla="*/ 49988 h 84934"/>
                <a:gd name="connsiteX63" fmla="*/ 338144 w 781273"/>
                <a:gd name="connsiteY63" fmla="*/ 49988 h 84934"/>
                <a:gd name="connsiteX64" fmla="*/ 338144 w 781273"/>
                <a:gd name="connsiteY64" fmla="*/ 66696 h 84934"/>
                <a:gd name="connsiteX65" fmla="*/ 378728 w 781273"/>
                <a:gd name="connsiteY65" fmla="*/ 66696 h 84934"/>
                <a:gd name="connsiteX66" fmla="*/ 378728 w 781273"/>
                <a:gd name="connsiteY66" fmla="*/ 84886 h 84934"/>
                <a:gd name="connsiteX67" fmla="*/ 338144 w 781273"/>
                <a:gd name="connsiteY67" fmla="*/ 84886 h 84934"/>
                <a:gd name="connsiteX68" fmla="*/ 315887 w 781273"/>
                <a:gd name="connsiteY68" fmla="*/ 84886 h 84934"/>
                <a:gd name="connsiteX69" fmla="*/ 235954 w 781273"/>
                <a:gd name="connsiteY69" fmla="*/ 0 h 84934"/>
                <a:gd name="connsiteX70" fmla="*/ 305096 w 781273"/>
                <a:gd name="connsiteY70" fmla="*/ 0 h 84934"/>
                <a:gd name="connsiteX71" fmla="*/ 305096 w 781273"/>
                <a:gd name="connsiteY71" fmla="*/ 18190 h 84934"/>
                <a:gd name="connsiteX72" fmla="*/ 280468 w 781273"/>
                <a:gd name="connsiteY72" fmla="*/ 18190 h 84934"/>
                <a:gd name="connsiteX73" fmla="*/ 280468 w 781273"/>
                <a:gd name="connsiteY73" fmla="*/ 84886 h 84934"/>
                <a:gd name="connsiteX74" fmla="*/ 258211 w 781273"/>
                <a:gd name="connsiteY74" fmla="*/ 84886 h 84934"/>
                <a:gd name="connsiteX75" fmla="*/ 258211 w 781273"/>
                <a:gd name="connsiteY75" fmla="*/ 18190 h 84934"/>
                <a:gd name="connsiteX76" fmla="*/ 235954 w 781273"/>
                <a:gd name="connsiteY76" fmla="*/ 18190 h 84934"/>
                <a:gd name="connsiteX77" fmla="*/ 159066 w 781273"/>
                <a:gd name="connsiteY77" fmla="*/ 0 h 84934"/>
                <a:gd name="connsiteX78" fmla="*/ 228198 w 781273"/>
                <a:gd name="connsiteY78" fmla="*/ 0 h 84934"/>
                <a:gd name="connsiteX79" fmla="*/ 228198 w 781273"/>
                <a:gd name="connsiteY79" fmla="*/ 18190 h 84934"/>
                <a:gd name="connsiteX80" fmla="*/ 205941 w 781273"/>
                <a:gd name="connsiteY80" fmla="*/ 18190 h 84934"/>
                <a:gd name="connsiteX81" fmla="*/ 205941 w 781273"/>
                <a:gd name="connsiteY81" fmla="*/ 84886 h 84934"/>
                <a:gd name="connsiteX82" fmla="*/ 183684 w 781273"/>
                <a:gd name="connsiteY82" fmla="*/ 84886 h 84934"/>
                <a:gd name="connsiteX83" fmla="*/ 183684 w 781273"/>
                <a:gd name="connsiteY83" fmla="*/ 18190 h 84934"/>
                <a:gd name="connsiteX84" fmla="*/ 159066 w 781273"/>
                <a:gd name="connsiteY84" fmla="*/ 18190 h 84934"/>
                <a:gd name="connsiteX85" fmla="*/ 0 w 781273"/>
                <a:gd name="connsiteY85" fmla="*/ 0 h 84934"/>
                <a:gd name="connsiteX86" fmla="*/ 21525 w 781273"/>
                <a:gd name="connsiteY86" fmla="*/ 0 h 84934"/>
                <a:gd name="connsiteX87" fmla="*/ 45728 w 781273"/>
                <a:gd name="connsiteY87" fmla="*/ 59680 h 84934"/>
                <a:gd name="connsiteX88" fmla="*/ 45911 w 781273"/>
                <a:gd name="connsiteY88" fmla="*/ 59680 h 84934"/>
                <a:gd name="connsiteX89" fmla="*/ 70124 w 781273"/>
                <a:gd name="connsiteY89" fmla="*/ 0 h 84934"/>
                <a:gd name="connsiteX90" fmla="*/ 91639 w 781273"/>
                <a:gd name="connsiteY90" fmla="*/ 0 h 84934"/>
                <a:gd name="connsiteX91" fmla="*/ 56780 w 781273"/>
                <a:gd name="connsiteY91" fmla="*/ 84886 h 84934"/>
                <a:gd name="connsiteX92" fmla="*/ 34859 w 781273"/>
                <a:gd name="connsiteY92" fmla="*/ 84886 h 84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781273" h="84934">
                  <a:moveTo>
                    <a:pt x="595123" y="23454"/>
                  </a:moveTo>
                  <a:lnTo>
                    <a:pt x="583493" y="52452"/>
                  </a:lnTo>
                  <a:lnTo>
                    <a:pt x="606935" y="52442"/>
                  </a:lnTo>
                  <a:lnTo>
                    <a:pt x="595267" y="23454"/>
                  </a:lnTo>
                  <a:close/>
                  <a:moveTo>
                    <a:pt x="123589" y="23454"/>
                  </a:moveTo>
                  <a:lnTo>
                    <a:pt x="111959" y="52452"/>
                  </a:lnTo>
                  <a:lnTo>
                    <a:pt x="135363" y="52442"/>
                  </a:lnTo>
                  <a:lnTo>
                    <a:pt x="123734" y="23454"/>
                  </a:lnTo>
                  <a:close/>
                  <a:moveTo>
                    <a:pt x="584293" y="48"/>
                  </a:moveTo>
                  <a:lnTo>
                    <a:pt x="606136" y="48"/>
                  </a:lnTo>
                  <a:lnTo>
                    <a:pt x="641516" y="84886"/>
                  </a:lnTo>
                  <a:lnTo>
                    <a:pt x="620001" y="84886"/>
                  </a:lnTo>
                  <a:lnTo>
                    <a:pt x="613892" y="69775"/>
                  </a:lnTo>
                  <a:lnTo>
                    <a:pt x="576488" y="69775"/>
                  </a:lnTo>
                  <a:lnTo>
                    <a:pt x="570389" y="84934"/>
                  </a:lnTo>
                  <a:lnTo>
                    <a:pt x="548864" y="84934"/>
                  </a:lnTo>
                  <a:close/>
                  <a:moveTo>
                    <a:pt x="112712" y="48"/>
                  </a:moveTo>
                  <a:lnTo>
                    <a:pt x="134515" y="48"/>
                  </a:lnTo>
                  <a:lnTo>
                    <a:pt x="169992" y="84886"/>
                  </a:lnTo>
                  <a:lnTo>
                    <a:pt x="148467" y="84886"/>
                  </a:lnTo>
                  <a:lnTo>
                    <a:pt x="142320" y="69775"/>
                  </a:lnTo>
                  <a:lnTo>
                    <a:pt x="104917" y="69775"/>
                  </a:lnTo>
                  <a:lnTo>
                    <a:pt x="98808" y="84934"/>
                  </a:lnTo>
                  <a:lnTo>
                    <a:pt x="77293" y="84934"/>
                  </a:lnTo>
                  <a:close/>
                  <a:moveTo>
                    <a:pt x="719820" y="0"/>
                  </a:moveTo>
                  <a:lnTo>
                    <a:pt x="742077" y="0"/>
                  </a:lnTo>
                  <a:lnTo>
                    <a:pt x="742077" y="66042"/>
                  </a:lnTo>
                  <a:lnTo>
                    <a:pt x="781273" y="66042"/>
                  </a:lnTo>
                  <a:lnTo>
                    <a:pt x="781273" y="84886"/>
                  </a:lnTo>
                  <a:lnTo>
                    <a:pt x="719820" y="84886"/>
                  </a:lnTo>
                  <a:close/>
                  <a:moveTo>
                    <a:pt x="648751" y="0"/>
                  </a:moveTo>
                  <a:lnTo>
                    <a:pt x="671018" y="0"/>
                  </a:lnTo>
                  <a:lnTo>
                    <a:pt x="671018" y="66042"/>
                  </a:lnTo>
                  <a:lnTo>
                    <a:pt x="710214" y="66042"/>
                  </a:lnTo>
                  <a:lnTo>
                    <a:pt x="710214" y="84886"/>
                  </a:lnTo>
                  <a:lnTo>
                    <a:pt x="648751" y="84886"/>
                  </a:lnTo>
                  <a:close/>
                  <a:moveTo>
                    <a:pt x="491429" y="0"/>
                  </a:moveTo>
                  <a:lnTo>
                    <a:pt x="556293" y="0"/>
                  </a:lnTo>
                  <a:lnTo>
                    <a:pt x="556293" y="18190"/>
                  </a:lnTo>
                  <a:lnTo>
                    <a:pt x="513686" y="18190"/>
                  </a:lnTo>
                  <a:lnTo>
                    <a:pt x="513686" y="32338"/>
                  </a:lnTo>
                  <a:lnTo>
                    <a:pt x="549616" y="32338"/>
                  </a:lnTo>
                  <a:lnTo>
                    <a:pt x="549616" y="50527"/>
                  </a:lnTo>
                  <a:lnTo>
                    <a:pt x="513686" y="50527"/>
                  </a:lnTo>
                  <a:lnTo>
                    <a:pt x="513686" y="84886"/>
                  </a:lnTo>
                  <a:lnTo>
                    <a:pt x="491429" y="84886"/>
                  </a:lnTo>
                  <a:close/>
                  <a:moveTo>
                    <a:pt x="394124" y="0"/>
                  </a:moveTo>
                  <a:lnTo>
                    <a:pt x="415380" y="0"/>
                  </a:lnTo>
                  <a:lnTo>
                    <a:pt x="453246" y="50797"/>
                  </a:lnTo>
                  <a:lnTo>
                    <a:pt x="453246" y="0"/>
                  </a:lnTo>
                  <a:lnTo>
                    <a:pt x="474500" y="0"/>
                  </a:lnTo>
                  <a:lnTo>
                    <a:pt x="474500" y="84886"/>
                  </a:lnTo>
                  <a:lnTo>
                    <a:pt x="453246" y="84886"/>
                  </a:lnTo>
                  <a:lnTo>
                    <a:pt x="415380" y="34705"/>
                  </a:lnTo>
                  <a:lnTo>
                    <a:pt x="415380" y="84886"/>
                  </a:lnTo>
                  <a:lnTo>
                    <a:pt x="394124" y="84886"/>
                  </a:lnTo>
                  <a:close/>
                  <a:moveTo>
                    <a:pt x="315887" y="0"/>
                  </a:moveTo>
                  <a:lnTo>
                    <a:pt x="378728" y="0"/>
                  </a:lnTo>
                  <a:lnTo>
                    <a:pt x="378728" y="18190"/>
                  </a:lnTo>
                  <a:lnTo>
                    <a:pt x="338144" y="18190"/>
                  </a:lnTo>
                  <a:lnTo>
                    <a:pt x="338144" y="31799"/>
                  </a:lnTo>
                  <a:lnTo>
                    <a:pt x="372542" y="31799"/>
                  </a:lnTo>
                  <a:lnTo>
                    <a:pt x="372542" y="49988"/>
                  </a:lnTo>
                  <a:lnTo>
                    <a:pt x="338144" y="49988"/>
                  </a:lnTo>
                  <a:lnTo>
                    <a:pt x="338144" y="66696"/>
                  </a:lnTo>
                  <a:lnTo>
                    <a:pt x="378728" y="66696"/>
                  </a:lnTo>
                  <a:lnTo>
                    <a:pt x="378728" y="84886"/>
                  </a:lnTo>
                  <a:lnTo>
                    <a:pt x="338144" y="84886"/>
                  </a:lnTo>
                  <a:lnTo>
                    <a:pt x="315887" y="84886"/>
                  </a:lnTo>
                  <a:close/>
                  <a:moveTo>
                    <a:pt x="235954" y="0"/>
                  </a:moveTo>
                  <a:lnTo>
                    <a:pt x="305096" y="0"/>
                  </a:lnTo>
                  <a:lnTo>
                    <a:pt x="305096" y="18190"/>
                  </a:lnTo>
                  <a:lnTo>
                    <a:pt x="280468" y="18190"/>
                  </a:lnTo>
                  <a:lnTo>
                    <a:pt x="280468" y="84886"/>
                  </a:lnTo>
                  <a:lnTo>
                    <a:pt x="258211" y="84886"/>
                  </a:lnTo>
                  <a:lnTo>
                    <a:pt x="258211" y="18190"/>
                  </a:lnTo>
                  <a:lnTo>
                    <a:pt x="235954" y="18190"/>
                  </a:lnTo>
                  <a:close/>
                  <a:moveTo>
                    <a:pt x="159066" y="0"/>
                  </a:moveTo>
                  <a:lnTo>
                    <a:pt x="228198" y="0"/>
                  </a:lnTo>
                  <a:lnTo>
                    <a:pt x="228198" y="18190"/>
                  </a:lnTo>
                  <a:lnTo>
                    <a:pt x="205941" y="18190"/>
                  </a:lnTo>
                  <a:lnTo>
                    <a:pt x="205941" y="84886"/>
                  </a:lnTo>
                  <a:lnTo>
                    <a:pt x="183684" y="84886"/>
                  </a:lnTo>
                  <a:lnTo>
                    <a:pt x="183684" y="18190"/>
                  </a:lnTo>
                  <a:lnTo>
                    <a:pt x="159066" y="18190"/>
                  </a:lnTo>
                  <a:close/>
                  <a:moveTo>
                    <a:pt x="0" y="0"/>
                  </a:moveTo>
                  <a:lnTo>
                    <a:pt x="21525" y="0"/>
                  </a:lnTo>
                  <a:lnTo>
                    <a:pt x="45728" y="59680"/>
                  </a:lnTo>
                  <a:lnTo>
                    <a:pt x="45911" y="59680"/>
                  </a:lnTo>
                  <a:lnTo>
                    <a:pt x="70124" y="0"/>
                  </a:lnTo>
                  <a:lnTo>
                    <a:pt x="91639" y="0"/>
                  </a:lnTo>
                  <a:lnTo>
                    <a:pt x="56780" y="84886"/>
                  </a:lnTo>
                  <a:lnTo>
                    <a:pt x="34859" y="84886"/>
                  </a:lnTo>
                  <a:close/>
                </a:path>
              </a:pathLst>
            </a:custGeom>
            <a:solidFill>
              <a:srgbClr val="4E4B48"/>
            </a:solidFill>
            <a:ln w="1400" cap="flat">
              <a:noFill/>
              <a:prstDash val="solid"/>
              <a:miter/>
            </a:ln>
          </p:spPr>
          <p:txBody>
            <a:bodyPr wrap="square" rtlCol="0" anchor="ctr">
              <a:noAutofit/>
            </a:bodyPr>
            <a:lstStyle/>
            <a:p>
              <a:endParaRPr lang="en-GB" noProof="0"/>
            </a:p>
          </p:txBody>
        </p:sp>
      </p:grpSp>
      <p:sp>
        <p:nvSpPr>
          <p:cNvPr id="4" name="Date"/>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767B4F68-9186-4781-8DBC-3F0A4A0E9AD9}" type="datetime1">
              <a:rPr lang="sv-SE" noProof="0" smtClean="0"/>
              <a:t>2025-09-04</a:t>
            </a:fld>
            <a:endParaRPr lang="en-GB" noProof="0"/>
          </a:p>
        </p:txBody>
      </p:sp>
      <p:sp>
        <p:nvSpPr>
          <p:cNvPr id="23" name="Number">
            <a:extLst>
              <a:ext uri="{FF2B5EF4-FFF2-40B4-BE49-F238E27FC236}">
                <a16:creationId xmlns:a16="http://schemas.microsoft.com/office/drawing/2014/main" id="{AD23396C-F419-E04B-8B2D-18295DF77462}"/>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7" name="Footer">
            <a:extLst>
              <a:ext uri="{FF2B5EF4-FFF2-40B4-BE49-F238E27FC236}">
                <a16:creationId xmlns:a16="http://schemas.microsoft.com/office/drawing/2014/main" id="{8793D5AD-B13B-5B45-8FD0-9E8A3F8D760D}"/>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p:txBody>
      </p:sp>
      <p:sp>
        <p:nvSpPr>
          <p:cNvPr id="9" name="TextBox 8">
            <a:extLst>
              <a:ext uri="{FF2B5EF4-FFF2-40B4-BE49-F238E27FC236}">
                <a16:creationId xmlns:a16="http://schemas.microsoft.com/office/drawing/2014/main" id="{632EF8CC-E7E7-4A8C-A0DE-53597FC2F4D4}"/>
              </a:ext>
            </a:extLst>
          </p:cNvPr>
          <p:cNvSpPr txBox="1"/>
          <p:nvPr>
            <p:extLst>
              <p:ext uri="{1162E1C5-73C7-4A58-AE30-91384D911F3F}">
                <p184:classification xmlns:p184="http://schemas.microsoft.com/office/powerpoint/2018/4/main" val="ftr"/>
              </p:ext>
            </p:extLst>
          </p:nvPr>
        </p:nvSpPr>
        <p:spPr>
          <a:xfrm>
            <a:off x="190500" y="4861560"/>
            <a:ext cx="965200" cy="91440"/>
          </a:xfrm>
          <a:prstGeom prst="rect">
            <a:avLst/>
          </a:prstGeom>
        </p:spPr>
        <p:txBody>
          <a:bodyPr horzOverflow="overflow" lIns="0" tIns="0" rIns="0" bIns="0">
            <a:spAutoFit/>
          </a:bodyPr>
          <a:lstStyle/>
          <a:p>
            <a:pPr algn="l"/>
            <a:r>
              <a:rPr lang="en-GB" sz="600">
                <a:solidFill>
                  <a:srgbClr val="737373"/>
                </a:solidFill>
                <a:latin typeface="Arial" panose="020B0604020202020204" pitchFamily="34" charset="0"/>
                <a:cs typeface="Arial" panose="020B0604020202020204" pitchFamily="34" charset="0"/>
              </a:rPr>
              <a:t>Confidentiality: C2 - Internal</a:t>
            </a:r>
          </a:p>
        </p:txBody>
      </p:sp>
    </p:spTree>
    <p:extLst>
      <p:ext uri="{BB962C8B-B14F-4D97-AF65-F5344CB8AC3E}">
        <p14:creationId xmlns:p14="http://schemas.microsoft.com/office/powerpoint/2010/main" val="1658820399"/>
      </p:ext>
    </p:extLst>
  </p:cSld>
  <p:clrMap bg1="lt1" tx1="dk1" bg2="lt2" tx2="dk2" accent1="accent1" accent2="accent2" accent3="accent3" accent4="accent4" accent5="accent5" accent6="accent6" hlink="hlink" folHlink="folHlink"/>
  <p:sldLayoutIdLst>
    <p:sldLayoutId id="2147483721" r:id="rId1"/>
    <p:sldLayoutId id="2147483761" r:id="rId2"/>
    <p:sldLayoutId id="2147483674" r:id="rId3"/>
    <p:sldLayoutId id="2147483762" r:id="rId4"/>
    <p:sldLayoutId id="2147483719" r:id="rId5"/>
    <p:sldLayoutId id="2147483754" r:id="rId6"/>
    <p:sldLayoutId id="2147483757" r:id="rId7"/>
    <p:sldLayoutId id="2147483677" r:id="rId8"/>
    <p:sldLayoutId id="2147483763" r:id="rId9"/>
    <p:sldLayoutId id="2147483724" r:id="rId10"/>
    <p:sldLayoutId id="2147483675" r:id="rId11"/>
    <p:sldLayoutId id="2147483676" r:id="rId12"/>
    <p:sldLayoutId id="2147483671" r:id="rId13"/>
    <p:sldLayoutId id="2147483679" r:id="rId14"/>
    <p:sldLayoutId id="2147483683" r:id="rId15"/>
    <p:sldLayoutId id="2147483767" r:id="rId16"/>
    <p:sldLayoutId id="2147483680" r:id="rId17"/>
    <p:sldLayoutId id="2147483682" r:id="rId18"/>
    <p:sldLayoutId id="2147483681" r:id="rId19"/>
    <p:sldLayoutId id="2147483685" r:id="rId20"/>
    <p:sldLayoutId id="2147483686" r:id="rId21"/>
    <p:sldLayoutId id="2147483684" r:id="rId22"/>
    <p:sldLayoutId id="2147483673" r:id="rId23"/>
    <p:sldLayoutId id="2147483746" r:id="rId24"/>
    <p:sldLayoutId id="2147483750" r:id="rId25"/>
    <p:sldLayoutId id="2147483758" r:id="rId26"/>
    <p:sldLayoutId id="2147483764" r:id="rId27"/>
    <p:sldLayoutId id="2147483753" r:id="rId28"/>
    <p:sldLayoutId id="2147483765" r:id="rId29"/>
    <p:sldLayoutId id="2147483749" r:id="rId30"/>
    <p:sldLayoutId id="2147483755" r:id="rId31"/>
    <p:sldLayoutId id="2147483678" r:id="rId32"/>
    <p:sldLayoutId id="2147483668" r:id="rId33"/>
    <p:sldLayoutId id="2147483759" r:id="rId34"/>
    <p:sldLayoutId id="2147483760" r:id="rId35"/>
    <p:sldLayoutId id="2147483669" r:id="rId36"/>
    <p:sldLayoutId id="2147483670" r:id="rId37"/>
    <p:sldLayoutId id="2147483756" r:id="rId38"/>
  </p:sldLayoutIdLst>
  <p:hf hdr="0" ftr="0" dt="0"/>
  <p:txStyles>
    <p:titleStyle>
      <a:lvl1pPr algn="l" defTabSz="685800" rtl="0" eaLnBrk="1" latinLnBrk="0" hangingPunct="1">
        <a:lnSpc>
          <a:spcPct val="95000"/>
        </a:lnSpc>
        <a:spcBef>
          <a:spcPct val="0"/>
        </a:spcBef>
        <a:buNone/>
        <a:defRPr sz="3000" b="1" kern="1200" spc="-50" baseline="0">
          <a:solidFill>
            <a:schemeClr val="tx1"/>
          </a:solidFill>
          <a:latin typeface="+mj-lt"/>
          <a:ea typeface="+mj-ea"/>
          <a:cs typeface="+mj-cs"/>
        </a:defRPr>
      </a:lvl1pPr>
    </p:titleStyle>
    <p:bodyStyle>
      <a:lvl1pPr marL="171450" indent="-171450" algn="l" defTabSz="685800" rtl="0" eaLnBrk="1" latinLnBrk="0" hangingPunct="1">
        <a:lnSpc>
          <a:spcPct val="100000"/>
        </a:lnSpc>
        <a:spcBef>
          <a:spcPts val="750"/>
        </a:spcBef>
        <a:buFont typeface="Arial" panose="020B0604020202020204" pitchFamily="34" charset="0"/>
        <a:buChar char="•"/>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375"/>
        </a:spcBef>
        <a:buFont typeface="Arial" panose="020B0604020202020204" pitchFamily="34" charset="0"/>
        <a:buChar char="•"/>
        <a:tabLst/>
        <a:defRPr sz="1200" kern="1200">
          <a:solidFill>
            <a:schemeClr val="tx1"/>
          </a:solidFill>
          <a:latin typeface="+mn-lt"/>
          <a:ea typeface="+mn-ea"/>
          <a:cs typeface="+mn-cs"/>
        </a:defRPr>
      </a:lvl2pPr>
      <a:lvl3pPr marL="534988" indent="-176213" algn="l" defTabSz="685800" rtl="0" eaLnBrk="1" latinLnBrk="0" hangingPunct="1">
        <a:lnSpc>
          <a:spcPct val="100000"/>
        </a:lnSpc>
        <a:spcBef>
          <a:spcPts val="375"/>
        </a:spcBef>
        <a:buFont typeface="Arial" panose="020B0604020202020204" pitchFamily="34" charset="0"/>
        <a:buChar char="•"/>
        <a:tabLst/>
        <a:defRPr sz="1200" kern="1200">
          <a:solidFill>
            <a:schemeClr val="tx1"/>
          </a:solidFill>
          <a:latin typeface="+mn-lt"/>
          <a:ea typeface="+mn-ea"/>
          <a:cs typeface="+mn-cs"/>
        </a:defRPr>
      </a:lvl3pPr>
      <a:lvl4pPr marL="714375" indent="-179388" algn="l" defTabSz="685800" rtl="0" eaLnBrk="1" latinLnBrk="0" hangingPunct="1">
        <a:lnSpc>
          <a:spcPct val="100000"/>
        </a:lnSpc>
        <a:spcBef>
          <a:spcPts val="375"/>
        </a:spcBef>
        <a:buFont typeface="Arial" panose="020B0604020202020204" pitchFamily="34" charset="0"/>
        <a:buChar char="•"/>
        <a:tabLst/>
        <a:defRPr sz="1200" kern="1200">
          <a:solidFill>
            <a:schemeClr val="tx1"/>
          </a:solidFill>
          <a:latin typeface="+mn-lt"/>
          <a:ea typeface="+mn-ea"/>
          <a:cs typeface="+mn-cs"/>
        </a:defRPr>
      </a:lvl4pPr>
      <a:lvl5pPr marL="889000" indent="-174625" algn="l" defTabSz="685800" rtl="0" eaLnBrk="1" latinLnBrk="0" hangingPunct="1">
        <a:lnSpc>
          <a:spcPct val="100000"/>
        </a:lnSpc>
        <a:spcBef>
          <a:spcPts val="375"/>
        </a:spcBef>
        <a:buFont typeface="Arial" panose="020B0604020202020204" pitchFamily="34" charset="0"/>
        <a:buChar char="•"/>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13" userDrawn="1">
          <p15:clr>
            <a:srgbClr val="F26B43"/>
          </p15:clr>
        </p15:guide>
        <p15:guide id="4" pos="5647" userDrawn="1">
          <p15:clr>
            <a:srgbClr val="F26B43"/>
          </p15:clr>
        </p15:guide>
        <p15:guide id="5" orient="horz" pos="100" userDrawn="1">
          <p15:clr>
            <a:srgbClr val="F26B43"/>
          </p15:clr>
        </p15:guide>
        <p15:guide id="6" orient="horz" pos="3049" userDrawn="1">
          <p15:clr>
            <a:srgbClr val="F26B43"/>
          </p15:clr>
        </p15:guide>
        <p15:guide id="7" pos="2925" userDrawn="1">
          <p15:clr>
            <a:srgbClr val="547EBF"/>
          </p15:clr>
        </p15:guide>
        <p15:guide id="8" pos="2835" userDrawn="1">
          <p15:clr>
            <a:srgbClr val="547EBF"/>
          </p15:clr>
        </p15:guide>
        <p15:guide id="9" pos="204" userDrawn="1">
          <p15:clr>
            <a:srgbClr val="547EBF"/>
          </p15:clr>
        </p15:guide>
        <p15:guide id="10" pos="5556" userDrawn="1">
          <p15:clr>
            <a:srgbClr val="547EBF"/>
          </p15:clr>
        </p15:guide>
        <p15:guide id="11" orient="horz" pos="169" userDrawn="1">
          <p15:clr>
            <a:srgbClr val="547EBF"/>
          </p15:clr>
        </p15:guide>
        <p15:guide id="12" orient="horz" pos="2958" userDrawn="1">
          <p15:clr>
            <a:srgbClr val="547EBF"/>
          </p15:clr>
        </p15:guide>
        <p15:guide id="16" pos="1111" userDrawn="1">
          <p15:clr>
            <a:srgbClr val="547EBF"/>
          </p15:clr>
        </p15:guide>
        <p15:guide id="17" pos="1927" userDrawn="1">
          <p15:clr>
            <a:srgbClr val="547EBF"/>
          </p15:clr>
        </p15:guide>
        <p15:guide id="18" pos="2018" userDrawn="1">
          <p15:clr>
            <a:srgbClr val="547EBF"/>
          </p15:clr>
        </p15:guide>
        <p15:guide id="19" pos="3742" userDrawn="1">
          <p15:clr>
            <a:srgbClr val="547EBF"/>
          </p15:clr>
        </p15:guide>
        <p15:guide id="20" pos="3833" userDrawn="1">
          <p15:clr>
            <a:srgbClr val="547EBF"/>
          </p15:clr>
        </p15:guide>
        <p15:guide id="21" pos="4649" userDrawn="1">
          <p15:clr>
            <a:srgbClr val="547EBF"/>
          </p15:clr>
        </p15:guide>
        <p15:guide id="22" pos="4740" userDrawn="1">
          <p15:clr>
            <a:srgbClr val="547EBF"/>
          </p15:clr>
        </p15:guide>
        <p15:guide id="24" pos="1020" userDrawn="1">
          <p15:clr>
            <a:srgbClr val="547EBF"/>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EDA6A96-6E8C-4EC4-4776-8ED53F6CB614}"/>
              </a:ext>
            </a:extLst>
          </p:cNvPr>
          <p:cNvGraphicFramePr>
            <a:graphicFrameLocks noChangeAspect="1"/>
          </p:cNvGraphicFramePr>
          <p:nvPr userDrawn="1">
            <p:custDataLst>
              <p:tags r:id="rId23"/>
            </p:custDataLst>
            <p:extLst>
              <p:ext uri="{D42A27DB-BD31-4B8C-83A1-F6EECF244321}">
                <p14:modId xmlns:p14="http://schemas.microsoft.com/office/powerpoint/2010/main" val="2934696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59" imgH="360" progId="TCLayout.ActiveDocument.1">
                  <p:embed/>
                </p:oleObj>
              </mc:Choice>
              <mc:Fallback>
                <p:oleObj name="think-cell Slide" r:id="rId24" imgW="359" imgH="360" progId="TCLayout.ActiveDocument.1">
                  <p:embed/>
                  <p:pic>
                    <p:nvPicPr>
                      <p:cNvPr id="6" name="think-cell data - do not delete" hidden="1">
                        <a:extLst>
                          <a:ext uri="{FF2B5EF4-FFF2-40B4-BE49-F238E27FC236}">
                            <a16:creationId xmlns:a16="http://schemas.microsoft.com/office/drawing/2014/main" id="{8EDA6A96-6E8C-4EC4-4776-8ED53F6CB614}"/>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23850" y="545325"/>
            <a:ext cx="8496300" cy="413292"/>
          </a:xfrm>
          <a:prstGeom prst="rect">
            <a:avLst/>
          </a:prstGeom>
        </p:spPr>
        <p:txBody>
          <a:bodyPr vert="horz" lIns="91440" tIns="45720" rIns="144000" bIns="45720" rtlCol="0" anchor="t">
            <a:noAutofit/>
          </a:bodyPr>
          <a:lstStyle/>
          <a:p>
            <a:r>
              <a:rPr lang="en-GB" noProof="0"/>
              <a:t>Click to edit Master title slide</a:t>
            </a:r>
          </a:p>
        </p:txBody>
      </p:sp>
      <p:sp>
        <p:nvSpPr>
          <p:cNvPr id="3" name="Text"/>
          <p:cNvSpPr>
            <a:spLocks noGrp="1"/>
          </p:cNvSpPr>
          <p:nvPr>
            <p:ph type="body" idx="1"/>
          </p:nvPr>
        </p:nvSpPr>
        <p:spPr>
          <a:xfrm>
            <a:off x="323850" y="1347788"/>
            <a:ext cx="8496300" cy="3348037"/>
          </a:xfrm>
          <a:prstGeom prst="rect">
            <a:avLst/>
          </a:prstGeom>
        </p:spPr>
        <p:txBody>
          <a:bodyPr vert="horz" lIns="90000" tIns="45720" rIns="144000" bIns="45720" rtlCol="0">
            <a:noAutofit/>
          </a:bodyPr>
          <a:lstStyle/>
          <a:p>
            <a:pPr lvl="0"/>
            <a:r>
              <a:rPr lang="en-GB" noProof="0"/>
              <a:t>Click to edit Master text slid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1" name="Frame">
            <a:extLst>
              <a:ext uri="{FF2B5EF4-FFF2-40B4-BE49-F238E27FC236}">
                <a16:creationId xmlns:a16="http://schemas.microsoft.com/office/drawing/2014/main" id="{CD4B332F-8E6A-4544-856F-C9543E014148}"/>
              </a:ext>
            </a:extLst>
          </p:cNvPr>
          <p:cNvSpPr/>
          <p:nvPr userDrawn="1"/>
        </p:nvSpPr>
        <p:spPr>
          <a:xfrm rot="5400000">
            <a:off x="2000250" y="-2000250"/>
            <a:ext cx="5143500" cy="9144000"/>
          </a:xfrm>
          <a:custGeom>
            <a:avLst/>
            <a:gdLst>
              <a:gd name="connsiteX0" fmla="*/ 158750 w 5143500"/>
              <a:gd name="connsiteY0" fmla="*/ 8964612 h 9144000"/>
              <a:gd name="connsiteX1" fmla="*/ 4840289 w 5143500"/>
              <a:gd name="connsiteY1" fmla="*/ 8964612 h 9144000"/>
              <a:gd name="connsiteX2" fmla="*/ 4840289 w 5143500"/>
              <a:gd name="connsiteY2" fmla="*/ 179389 h 9144000"/>
              <a:gd name="connsiteX3" fmla="*/ 158750 w 5143500"/>
              <a:gd name="connsiteY3" fmla="*/ 179389 h 9144000"/>
              <a:gd name="connsiteX4" fmla="*/ 0 w 5143500"/>
              <a:gd name="connsiteY4" fmla="*/ 179389 h 9144000"/>
              <a:gd name="connsiteX5" fmla="*/ 0 w 5143500"/>
              <a:gd name="connsiteY5" fmla="*/ 0 h 9144000"/>
              <a:gd name="connsiteX6" fmla="*/ 5143500 w 5143500"/>
              <a:gd name="connsiteY6" fmla="*/ 0 h 9144000"/>
              <a:gd name="connsiteX7" fmla="*/ 5143500 w 5143500"/>
              <a:gd name="connsiteY7" fmla="*/ 25398 h 9144000"/>
              <a:gd name="connsiteX8" fmla="*/ 5143500 w 5143500"/>
              <a:gd name="connsiteY8" fmla="*/ 25398 h 9144000"/>
              <a:gd name="connsiteX9" fmla="*/ 5143500 w 5143500"/>
              <a:gd name="connsiteY9" fmla="*/ 9033715 h 9144000"/>
              <a:gd name="connsiteX10" fmla="*/ 5143499 w 5143500"/>
              <a:gd name="connsiteY10" fmla="*/ 9033715 h 9144000"/>
              <a:gd name="connsiteX11" fmla="*/ 5143499 w 5143500"/>
              <a:gd name="connsiteY11" fmla="*/ 9144000 h 9144000"/>
              <a:gd name="connsiteX12" fmla="*/ 0 w 5143500"/>
              <a:gd name="connsiteY12" fmla="*/ 9144000 h 9144000"/>
              <a:gd name="connsiteX13" fmla="*/ 0 w 5143500"/>
              <a:gd name="connsiteY13" fmla="*/ 9033714 h 9144000"/>
              <a:gd name="connsiteX14" fmla="*/ 0 w 5143500"/>
              <a:gd name="connsiteY14" fmla="*/ 9033714 h 9144000"/>
              <a:gd name="connsiteX15" fmla="*/ 0 w 5143500"/>
              <a:gd name="connsiteY15" fmla="*/ 179389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143500" h="9144000">
                <a:moveTo>
                  <a:pt x="158750" y="8964612"/>
                </a:moveTo>
                <a:lnTo>
                  <a:pt x="4840289" y="8964612"/>
                </a:lnTo>
                <a:lnTo>
                  <a:pt x="4840289" y="179389"/>
                </a:lnTo>
                <a:lnTo>
                  <a:pt x="158750" y="179389"/>
                </a:lnTo>
                <a:close/>
                <a:moveTo>
                  <a:pt x="0" y="179389"/>
                </a:moveTo>
                <a:lnTo>
                  <a:pt x="0" y="0"/>
                </a:lnTo>
                <a:lnTo>
                  <a:pt x="5143500" y="0"/>
                </a:lnTo>
                <a:lnTo>
                  <a:pt x="5143500" y="25398"/>
                </a:lnTo>
                <a:lnTo>
                  <a:pt x="5143500" y="25398"/>
                </a:lnTo>
                <a:lnTo>
                  <a:pt x="5143500" y="9033715"/>
                </a:lnTo>
                <a:lnTo>
                  <a:pt x="5143499" y="9033715"/>
                </a:lnTo>
                <a:lnTo>
                  <a:pt x="5143499" y="9144000"/>
                </a:lnTo>
                <a:lnTo>
                  <a:pt x="0" y="9144000"/>
                </a:lnTo>
                <a:lnTo>
                  <a:pt x="0" y="9033714"/>
                </a:lnTo>
                <a:lnTo>
                  <a:pt x="0" y="9033714"/>
                </a:lnTo>
                <a:lnTo>
                  <a:pt x="0" y="17938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noProof="0"/>
          </a:p>
        </p:txBody>
      </p:sp>
      <p:grpSp>
        <p:nvGrpSpPr>
          <p:cNvPr id="37" name="Logo" descr="Vattenfall logotype">
            <a:extLst>
              <a:ext uri="{FF2B5EF4-FFF2-40B4-BE49-F238E27FC236}">
                <a16:creationId xmlns:a16="http://schemas.microsoft.com/office/drawing/2014/main" id="{9FB574A9-A763-714E-AC65-2F90EB646F51}"/>
              </a:ext>
            </a:extLst>
          </p:cNvPr>
          <p:cNvGrpSpPr>
            <a:grpSpLocks noChangeAspect="1"/>
          </p:cNvGrpSpPr>
          <p:nvPr userDrawn="1"/>
        </p:nvGrpSpPr>
        <p:grpSpPr>
          <a:xfrm>
            <a:off x="4085649" y="4917137"/>
            <a:ext cx="972702" cy="148746"/>
            <a:chOff x="4085649" y="4917137"/>
            <a:chExt cx="972702" cy="148746"/>
          </a:xfrm>
        </p:grpSpPr>
        <p:sp>
          <p:nvSpPr>
            <p:cNvPr id="38" name="Frihandsfigur 37">
              <a:extLst>
                <a:ext uri="{FF2B5EF4-FFF2-40B4-BE49-F238E27FC236}">
                  <a16:creationId xmlns:a16="http://schemas.microsoft.com/office/drawing/2014/main" id="{65D872E4-7FD8-304A-A33E-A4979619DC23}"/>
                </a:ext>
              </a:extLst>
            </p:cNvPr>
            <p:cNvSpPr/>
            <p:nvPr/>
          </p:nvSpPr>
          <p:spPr>
            <a:xfrm>
              <a:off x="4909411" y="4917137"/>
              <a:ext cx="148940" cy="74384"/>
            </a:xfrm>
            <a:custGeom>
              <a:avLst/>
              <a:gdLst>
                <a:gd name="connsiteX0" fmla="*/ 108621 w 217242"/>
                <a:gd name="connsiteY0" fmla="*/ 0 h 108497"/>
                <a:gd name="connsiteX1" fmla="*/ 0 w 217242"/>
                <a:gd name="connsiteY1" fmla="*/ 108498 h 108497"/>
                <a:gd name="connsiteX2" fmla="*/ 217243 w 217242"/>
                <a:gd name="connsiteY2" fmla="*/ 108498 h 108497"/>
                <a:gd name="connsiteX3" fmla="*/ 108650 w 217242"/>
                <a:gd name="connsiteY3" fmla="*/ 0 h 108497"/>
                <a:gd name="connsiteX4" fmla="*/ 108621 w 217242"/>
                <a:gd name="connsiteY4" fmla="*/ 0 h 108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242" h="108497">
                  <a:moveTo>
                    <a:pt x="108621" y="0"/>
                  </a:moveTo>
                  <a:cubicBezTo>
                    <a:pt x="48632" y="0"/>
                    <a:pt x="0" y="48576"/>
                    <a:pt x="0" y="108498"/>
                  </a:cubicBezTo>
                  <a:lnTo>
                    <a:pt x="217243" y="108498"/>
                  </a:lnTo>
                  <a:cubicBezTo>
                    <a:pt x="217257" y="48584"/>
                    <a:pt x="168632" y="8"/>
                    <a:pt x="108650" y="0"/>
                  </a:cubicBezTo>
                  <a:cubicBezTo>
                    <a:pt x="108640" y="0"/>
                    <a:pt x="108631" y="0"/>
                    <a:pt x="108621" y="0"/>
                  </a:cubicBezTo>
                  <a:close/>
                </a:path>
              </a:pathLst>
            </a:custGeom>
            <a:solidFill>
              <a:srgbClr val="FFDA00"/>
            </a:solidFill>
            <a:ln w="1400" cap="flat">
              <a:noFill/>
              <a:prstDash val="solid"/>
              <a:miter/>
            </a:ln>
          </p:spPr>
          <p:txBody>
            <a:bodyPr rtlCol="0" anchor="ctr"/>
            <a:lstStyle/>
            <a:p>
              <a:endParaRPr lang="en-GB" noProof="0"/>
            </a:p>
          </p:txBody>
        </p:sp>
        <p:sp>
          <p:nvSpPr>
            <p:cNvPr id="39" name="Frihandsfigur 38">
              <a:extLst>
                <a:ext uri="{FF2B5EF4-FFF2-40B4-BE49-F238E27FC236}">
                  <a16:creationId xmlns:a16="http://schemas.microsoft.com/office/drawing/2014/main" id="{9EA5AED1-B3FC-7148-ADAE-32AE773DA5EC}"/>
                </a:ext>
              </a:extLst>
            </p:cNvPr>
            <p:cNvSpPr/>
            <p:nvPr/>
          </p:nvSpPr>
          <p:spPr>
            <a:xfrm>
              <a:off x="4909411" y="4991508"/>
              <a:ext cx="148940" cy="74375"/>
            </a:xfrm>
            <a:custGeom>
              <a:avLst/>
              <a:gdLst>
                <a:gd name="connsiteX0" fmla="*/ 108621 w 217242"/>
                <a:gd name="connsiteY0" fmla="*/ 108484 h 108483"/>
                <a:gd name="connsiteX1" fmla="*/ 0 w 217242"/>
                <a:gd name="connsiteY1" fmla="*/ 0 h 108483"/>
                <a:gd name="connsiteX2" fmla="*/ 217243 w 217242"/>
                <a:gd name="connsiteY2" fmla="*/ 0 h 108483"/>
                <a:gd name="connsiteX3" fmla="*/ 108636 w 217242"/>
                <a:gd name="connsiteY3" fmla="*/ 108484 h 108483"/>
                <a:gd name="connsiteX4" fmla="*/ 108621 w 217242"/>
                <a:gd name="connsiteY4" fmla="*/ 108484 h 108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242" h="108483">
                  <a:moveTo>
                    <a:pt x="108621" y="108484"/>
                  </a:moveTo>
                  <a:cubicBezTo>
                    <a:pt x="48637" y="108484"/>
                    <a:pt x="7" y="59916"/>
                    <a:pt x="0" y="0"/>
                  </a:cubicBezTo>
                  <a:lnTo>
                    <a:pt x="217243" y="0"/>
                  </a:lnTo>
                  <a:cubicBezTo>
                    <a:pt x="217243" y="59914"/>
                    <a:pt x="168618" y="108484"/>
                    <a:pt x="108636" y="108484"/>
                  </a:cubicBezTo>
                  <a:cubicBezTo>
                    <a:pt x="108631" y="108484"/>
                    <a:pt x="108626" y="108484"/>
                    <a:pt x="108621" y="108484"/>
                  </a:cubicBezTo>
                  <a:close/>
                </a:path>
              </a:pathLst>
            </a:custGeom>
            <a:solidFill>
              <a:srgbClr val="2071B5"/>
            </a:solidFill>
            <a:ln w="1400" cap="flat">
              <a:noFill/>
              <a:prstDash val="solid"/>
              <a:miter/>
            </a:ln>
          </p:spPr>
          <p:txBody>
            <a:bodyPr rtlCol="0" anchor="ctr"/>
            <a:lstStyle/>
            <a:p>
              <a:endParaRPr lang="en-GB" noProof="0"/>
            </a:p>
          </p:txBody>
        </p:sp>
        <p:sp>
          <p:nvSpPr>
            <p:cNvPr id="40" name="Frihandsfigur 39">
              <a:extLst>
                <a:ext uri="{FF2B5EF4-FFF2-40B4-BE49-F238E27FC236}">
                  <a16:creationId xmlns:a16="http://schemas.microsoft.com/office/drawing/2014/main" id="{FFE26B1C-3AA7-6C4A-94D9-E473B98DD1BF}"/>
                </a:ext>
              </a:extLst>
            </p:cNvPr>
            <p:cNvSpPr/>
            <p:nvPr/>
          </p:nvSpPr>
          <p:spPr>
            <a:xfrm>
              <a:off x="4085649" y="4951310"/>
              <a:ext cx="781273" cy="84934"/>
            </a:xfrm>
            <a:custGeom>
              <a:avLst/>
              <a:gdLst>
                <a:gd name="connsiteX0" fmla="*/ 595123 w 781273"/>
                <a:gd name="connsiteY0" fmla="*/ 23454 h 84934"/>
                <a:gd name="connsiteX1" fmla="*/ 583493 w 781273"/>
                <a:gd name="connsiteY1" fmla="*/ 52452 h 84934"/>
                <a:gd name="connsiteX2" fmla="*/ 606935 w 781273"/>
                <a:gd name="connsiteY2" fmla="*/ 52442 h 84934"/>
                <a:gd name="connsiteX3" fmla="*/ 595267 w 781273"/>
                <a:gd name="connsiteY3" fmla="*/ 23454 h 84934"/>
                <a:gd name="connsiteX4" fmla="*/ 123589 w 781273"/>
                <a:gd name="connsiteY4" fmla="*/ 23454 h 84934"/>
                <a:gd name="connsiteX5" fmla="*/ 111959 w 781273"/>
                <a:gd name="connsiteY5" fmla="*/ 52452 h 84934"/>
                <a:gd name="connsiteX6" fmla="*/ 135363 w 781273"/>
                <a:gd name="connsiteY6" fmla="*/ 52442 h 84934"/>
                <a:gd name="connsiteX7" fmla="*/ 123734 w 781273"/>
                <a:gd name="connsiteY7" fmla="*/ 23454 h 84934"/>
                <a:gd name="connsiteX8" fmla="*/ 584293 w 781273"/>
                <a:gd name="connsiteY8" fmla="*/ 48 h 84934"/>
                <a:gd name="connsiteX9" fmla="*/ 606136 w 781273"/>
                <a:gd name="connsiteY9" fmla="*/ 48 h 84934"/>
                <a:gd name="connsiteX10" fmla="*/ 641516 w 781273"/>
                <a:gd name="connsiteY10" fmla="*/ 84886 h 84934"/>
                <a:gd name="connsiteX11" fmla="*/ 620001 w 781273"/>
                <a:gd name="connsiteY11" fmla="*/ 84886 h 84934"/>
                <a:gd name="connsiteX12" fmla="*/ 613892 w 781273"/>
                <a:gd name="connsiteY12" fmla="*/ 69775 h 84934"/>
                <a:gd name="connsiteX13" fmla="*/ 576488 w 781273"/>
                <a:gd name="connsiteY13" fmla="*/ 69775 h 84934"/>
                <a:gd name="connsiteX14" fmla="*/ 570389 w 781273"/>
                <a:gd name="connsiteY14" fmla="*/ 84934 h 84934"/>
                <a:gd name="connsiteX15" fmla="*/ 548864 w 781273"/>
                <a:gd name="connsiteY15" fmla="*/ 84934 h 84934"/>
                <a:gd name="connsiteX16" fmla="*/ 112712 w 781273"/>
                <a:gd name="connsiteY16" fmla="*/ 48 h 84934"/>
                <a:gd name="connsiteX17" fmla="*/ 134515 w 781273"/>
                <a:gd name="connsiteY17" fmla="*/ 48 h 84934"/>
                <a:gd name="connsiteX18" fmla="*/ 169992 w 781273"/>
                <a:gd name="connsiteY18" fmla="*/ 84886 h 84934"/>
                <a:gd name="connsiteX19" fmla="*/ 148467 w 781273"/>
                <a:gd name="connsiteY19" fmla="*/ 84886 h 84934"/>
                <a:gd name="connsiteX20" fmla="*/ 142320 w 781273"/>
                <a:gd name="connsiteY20" fmla="*/ 69775 h 84934"/>
                <a:gd name="connsiteX21" fmla="*/ 104917 w 781273"/>
                <a:gd name="connsiteY21" fmla="*/ 69775 h 84934"/>
                <a:gd name="connsiteX22" fmla="*/ 98808 w 781273"/>
                <a:gd name="connsiteY22" fmla="*/ 84934 h 84934"/>
                <a:gd name="connsiteX23" fmla="*/ 77293 w 781273"/>
                <a:gd name="connsiteY23" fmla="*/ 84934 h 84934"/>
                <a:gd name="connsiteX24" fmla="*/ 719820 w 781273"/>
                <a:gd name="connsiteY24" fmla="*/ 0 h 84934"/>
                <a:gd name="connsiteX25" fmla="*/ 742077 w 781273"/>
                <a:gd name="connsiteY25" fmla="*/ 0 h 84934"/>
                <a:gd name="connsiteX26" fmla="*/ 742077 w 781273"/>
                <a:gd name="connsiteY26" fmla="*/ 66042 h 84934"/>
                <a:gd name="connsiteX27" fmla="*/ 781273 w 781273"/>
                <a:gd name="connsiteY27" fmla="*/ 66042 h 84934"/>
                <a:gd name="connsiteX28" fmla="*/ 781273 w 781273"/>
                <a:gd name="connsiteY28" fmla="*/ 84886 h 84934"/>
                <a:gd name="connsiteX29" fmla="*/ 719820 w 781273"/>
                <a:gd name="connsiteY29" fmla="*/ 84886 h 84934"/>
                <a:gd name="connsiteX30" fmla="*/ 648751 w 781273"/>
                <a:gd name="connsiteY30" fmla="*/ 0 h 84934"/>
                <a:gd name="connsiteX31" fmla="*/ 671018 w 781273"/>
                <a:gd name="connsiteY31" fmla="*/ 0 h 84934"/>
                <a:gd name="connsiteX32" fmla="*/ 671018 w 781273"/>
                <a:gd name="connsiteY32" fmla="*/ 66042 h 84934"/>
                <a:gd name="connsiteX33" fmla="*/ 710214 w 781273"/>
                <a:gd name="connsiteY33" fmla="*/ 66042 h 84934"/>
                <a:gd name="connsiteX34" fmla="*/ 710214 w 781273"/>
                <a:gd name="connsiteY34" fmla="*/ 84886 h 84934"/>
                <a:gd name="connsiteX35" fmla="*/ 648751 w 781273"/>
                <a:gd name="connsiteY35" fmla="*/ 84886 h 84934"/>
                <a:gd name="connsiteX36" fmla="*/ 491429 w 781273"/>
                <a:gd name="connsiteY36" fmla="*/ 0 h 84934"/>
                <a:gd name="connsiteX37" fmla="*/ 556293 w 781273"/>
                <a:gd name="connsiteY37" fmla="*/ 0 h 84934"/>
                <a:gd name="connsiteX38" fmla="*/ 556293 w 781273"/>
                <a:gd name="connsiteY38" fmla="*/ 18190 h 84934"/>
                <a:gd name="connsiteX39" fmla="*/ 513686 w 781273"/>
                <a:gd name="connsiteY39" fmla="*/ 18190 h 84934"/>
                <a:gd name="connsiteX40" fmla="*/ 513686 w 781273"/>
                <a:gd name="connsiteY40" fmla="*/ 32338 h 84934"/>
                <a:gd name="connsiteX41" fmla="*/ 549616 w 781273"/>
                <a:gd name="connsiteY41" fmla="*/ 32338 h 84934"/>
                <a:gd name="connsiteX42" fmla="*/ 549616 w 781273"/>
                <a:gd name="connsiteY42" fmla="*/ 50527 h 84934"/>
                <a:gd name="connsiteX43" fmla="*/ 513686 w 781273"/>
                <a:gd name="connsiteY43" fmla="*/ 50527 h 84934"/>
                <a:gd name="connsiteX44" fmla="*/ 513686 w 781273"/>
                <a:gd name="connsiteY44" fmla="*/ 84886 h 84934"/>
                <a:gd name="connsiteX45" fmla="*/ 491429 w 781273"/>
                <a:gd name="connsiteY45" fmla="*/ 84886 h 84934"/>
                <a:gd name="connsiteX46" fmla="*/ 394124 w 781273"/>
                <a:gd name="connsiteY46" fmla="*/ 0 h 84934"/>
                <a:gd name="connsiteX47" fmla="*/ 415380 w 781273"/>
                <a:gd name="connsiteY47" fmla="*/ 0 h 84934"/>
                <a:gd name="connsiteX48" fmla="*/ 453246 w 781273"/>
                <a:gd name="connsiteY48" fmla="*/ 50797 h 84934"/>
                <a:gd name="connsiteX49" fmla="*/ 453246 w 781273"/>
                <a:gd name="connsiteY49" fmla="*/ 0 h 84934"/>
                <a:gd name="connsiteX50" fmla="*/ 474500 w 781273"/>
                <a:gd name="connsiteY50" fmla="*/ 0 h 84934"/>
                <a:gd name="connsiteX51" fmla="*/ 474500 w 781273"/>
                <a:gd name="connsiteY51" fmla="*/ 84886 h 84934"/>
                <a:gd name="connsiteX52" fmla="*/ 453246 w 781273"/>
                <a:gd name="connsiteY52" fmla="*/ 84886 h 84934"/>
                <a:gd name="connsiteX53" fmla="*/ 415380 w 781273"/>
                <a:gd name="connsiteY53" fmla="*/ 34705 h 84934"/>
                <a:gd name="connsiteX54" fmla="*/ 415380 w 781273"/>
                <a:gd name="connsiteY54" fmla="*/ 84886 h 84934"/>
                <a:gd name="connsiteX55" fmla="*/ 394124 w 781273"/>
                <a:gd name="connsiteY55" fmla="*/ 84886 h 84934"/>
                <a:gd name="connsiteX56" fmla="*/ 315887 w 781273"/>
                <a:gd name="connsiteY56" fmla="*/ 0 h 84934"/>
                <a:gd name="connsiteX57" fmla="*/ 378728 w 781273"/>
                <a:gd name="connsiteY57" fmla="*/ 0 h 84934"/>
                <a:gd name="connsiteX58" fmla="*/ 378728 w 781273"/>
                <a:gd name="connsiteY58" fmla="*/ 18190 h 84934"/>
                <a:gd name="connsiteX59" fmla="*/ 338144 w 781273"/>
                <a:gd name="connsiteY59" fmla="*/ 18190 h 84934"/>
                <a:gd name="connsiteX60" fmla="*/ 338144 w 781273"/>
                <a:gd name="connsiteY60" fmla="*/ 31799 h 84934"/>
                <a:gd name="connsiteX61" fmla="*/ 372542 w 781273"/>
                <a:gd name="connsiteY61" fmla="*/ 31799 h 84934"/>
                <a:gd name="connsiteX62" fmla="*/ 372542 w 781273"/>
                <a:gd name="connsiteY62" fmla="*/ 49988 h 84934"/>
                <a:gd name="connsiteX63" fmla="*/ 338144 w 781273"/>
                <a:gd name="connsiteY63" fmla="*/ 49988 h 84934"/>
                <a:gd name="connsiteX64" fmla="*/ 338144 w 781273"/>
                <a:gd name="connsiteY64" fmla="*/ 66696 h 84934"/>
                <a:gd name="connsiteX65" fmla="*/ 378728 w 781273"/>
                <a:gd name="connsiteY65" fmla="*/ 66696 h 84934"/>
                <a:gd name="connsiteX66" fmla="*/ 378728 w 781273"/>
                <a:gd name="connsiteY66" fmla="*/ 84886 h 84934"/>
                <a:gd name="connsiteX67" fmla="*/ 338144 w 781273"/>
                <a:gd name="connsiteY67" fmla="*/ 84886 h 84934"/>
                <a:gd name="connsiteX68" fmla="*/ 315887 w 781273"/>
                <a:gd name="connsiteY68" fmla="*/ 84886 h 84934"/>
                <a:gd name="connsiteX69" fmla="*/ 235954 w 781273"/>
                <a:gd name="connsiteY69" fmla="*/ 0 h 84934"/>
                <a:gd name="connsiteX70" fmla="*/ 305096 w 781273"/>
                <a:gd name="connsiteY70" fmla="*/ 0 h 84934"/>
                <a:gd name="connsiteX71" fmla="*/ 305096 w 781273"/>
                <a:gd name="connsiteY71" fmla="*/ 18190 h 84934"/>
                <a:gd name="connsiteX72" fmla="*/ 280468 w 781273"/>
                <a:gd name="connsiteY72" fmla="*/ 18190 h 84934"/>
                <a:gd name="connsiteX73" fmla="*/ 280468 w 781273"/>
                <a:gd name="connsiteY73" fmla="*/ 84886 h 84934"/>
                <a:gd name="connsiteX74" fmla="*/ 258211 w 781273"/>
                <a:gd name="connsiteY74" fmla="*/ 84886 h 84934"/>
                <a:gd name="connsiteX75" fmla="*/ 258211 w 781273"/>
                <a:gd name="connsiteY75" fmla="*/ 18190 h 84934"/>
                <a:gd name="connsiteX76" fmla="*/ 235954 w 781273"/>
                <a:gd name="connsiteY76" fmla="*/ 18190 h 84934"/>
                <a:gd name="connsiteX77" fmla="*/ 159066 w 781273"/>
                <a:gd name="connsiteY77" fmla="*/ 0 h 84934"/>
                <a:gd name="connsiteX78" fmla="*/ 228198 w 781273"/>
                <a:gd name="connsiteY78" fmla="*/ 0 h 84934"/>
                <a:gd name="connsiteX79" fmla="*/ 228198 w 781273"/>
                <a:gd name="connsiteY79" fmla="*/ 18190 h 84934"/>
                <a:gd name="connsiteX80" fmla="*/ 205941 w 781273"/>
                <a:gd name="connsiteY80" fmla="*/ 18190 h 84934"/>
                <a:gd name="connsiteX81" fmla="*/ 205941 w 781273"/>
                <a:gd name="connsiteY81" fmla="*/ 84886 h 84934"/>
                <a:gd name="connsiteX82" fmla="*/ 183684 w 781273"/>
                <a:gd name="connsiteY82" fmla="*/ 84886 h 84934"/>
                <a:gd name="connsiteX83" fmla="*/ 183684 w 781273"/>
                <a:gd name="connsiteY83" fmla="*/ 18190 h 84934"/>
                <a:gd name="connsiteX84" fmla="*/ 159066 w 781273"/>
                <a:gd name="connsiteY84" fmla="*/ 18190 h 84934"/>
                <a:gd name="connsiteX85" fmla="*/ 0 w 781273"/>
                <a:gd name="connsiteY85" fmla="*/ 0 h 84934"/>
                <a:gd name="connsiteX86" fmla="*/ 21525 w 781273"/>
                <a:gd name="connsiteY86" fmla="*/ 0 h 84934"/>
                <a:gd name="connsiteX87" fmla="*/ 45728 w 781273"/>
                <a:gd name="connsiteY87" fmla="*/ 59680 h 84934"/>
                <a:gd name="connsiteX88" fmla="*/ 45911 w 781273"/>
                <a:gd name="connsiteY88" fmla="*/ 59680 h 84934"/>
                <a:gd name="connsiteX89" fmla="*/ 70124 w 781273"/>
                <a:gd name="connsiteY89" fmla="*/ 0 h 84934"/>
                <a:gd name="connsiteX90" fmla="*/ 91639 w 781273"/>
                <a:gd name="connsiteY90" fmla="*/ 0 h 84934"/>
                <a:gd name="connsiteX91" fmla="*/ 56780 w 781273"/>
                <a:gd name="connsiteY91" fmla="*/ 84886 h 84934"/>
                <a:gd name="connsiteX92" fmla="*/ 34859 w 781273"/>
                <a:gd name="connsiteY92" fmla="*/ 84886 h 84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781273" h="84934">
                  <a:moveTo>
                    <a:pt x="595123" y="23454"/>
                  </a:moveTo>
                  <a:lnTo>
                    <a:pt x="583493" y="52452"/>
                  </a:lnTo>
                  <a:lnTo>
                    <a:pt x="606935" y="52442"/>
                  </a:lnTo>
                  <a:lnTo>
                    <a:pt x="595267" y="23454"/>
                  </a:lnTo>
                  <a:close/>
                  <a:moveTo>
                    <a:pt x="123589" y="23454"/>
                  </a:moveTo>
                  <a:lnTo>
                    <a:pt x="111959" y="52452"/>
                  </a:lnTo>
                  <a:lnTo>
                    <a:pt x="135363" y="52442"/>
                  </a:lnTo>
                  <a:lnTo>
                    <a:pt x="123734" y="23454"/>
                  </a:lnTo>
                  <a:close/>
                  <a:moveTo>
                    <a:pt x="584293" y="48"/>
                  </a:moveTo>
                  <a:lnTo>
                    <a:pt x="606136" y="48"/>
                  </a:lnTo>
                  <a:lnTo>
                    <a:pt x="641516" y="84886"/>
                  </a:lnTo>
                  <a:lnTo>
                    <a:pt x="620001" y="84886"/>
                  </a:lnTo>
                  <a:lnTo>
                    <a:pt x="613892" y="69775"/>
                  </a:lnTo>
                  <a:lnTo>
                    <a:pt x="576488" y="69775"/>
                  </a:lnTo>
                  <a:lnTo>
                    <a:pt x="570389" y="84934"/>
                  </a:lnTo>
                  <a:lnTo>
                    <a:pt x="548864" y="84934"/>
                  </a:lnTo>
                  <a:close/>
                  <a:moveTo>
                    <a:pt x="112712" y="48"/>
                  </a:moveTo>
                  <a:lnTo>
                    <a:pt x="134515" y="48"/>
                  </a:lnTo>
                  <a:lnTo>
                    <a:pt x="169992" y="84886"/>
                  </a:lnTo>
                  <a:lnTo>
                    <a:pt x="148467" y="84886"/>
                  </a:lnTo>
                  <a:lnTo>
                    <a:pt x="142320" y="69775"/>
                  </a:lnTo>
                  <a:lnTo>
                    <a:pt x="104917" y="69775"/>
                  </a:lnTo>
                  <a:lnTo>
                    <a:pt x="98808" y="84934"/>
                  </a:lnTo>
                  <a:lnTo>
                    <a:pt x="77293" y="84934"/>
                  </a:lnTo>
                  <a:close/>
                  <a:moveTo>
                    <a:pt x="719820" y="0"/>
                  </a:moveTo>
                  <a:lnTo>
                    <a:pt x="742077" y="0"/>
                  </a:lnTo>
                  <a:lnTo>
                    <a:pt x="742077" y="66042"/>
                  </a:lnTo>
                  <a:lnTo>
                    <a:pt x="781273" y="66042"/>
                  </a:lnTo>
                  <a:lnTo>
                    <a:pt x="781273" y="84886"/>
                  </a:lnTo>
                  <a:lnTo>
                    <a:pt x="719820" y="84886"/>
                  </a:lnTo>
                  <a:close/>
                  <a:moveTo>
                    <a:pt x="648751" y="0"/>
                  </a:moveTo>
                  <a:lnTo>
                    <a:pt x="671018" y="0"/>
                  </a:lnTo>
                  <a:lnTo>
                    <a:pt x="671018" y="66042"/>
                  </a:lnTo>
                  <a:lnTo>
                    <a:pt x="710214" y="66042"/>
                  </a:lnTo>
                  <a:lnTo>
                    <a:pt x="710214" y="84886"/>
                  </a:lnTo>
                  <a:lnTo>
                    <a:pt x="648751" y="84886"/>
                  </a:lnTo>
                  <a:close/>
                  <a:moveTo>
                    <a:pt x="491429" y="0"/>
                  </a:moveTo>
                  <a:lnTo>
                    <a:pt x="556293" y="0"/>
                  </a:lnTo>
                  <a:lnTo>
                    <a:pt x="556293" y="18190"/>
                  </a:lnTo>
                  <a:lnTo>
                    <a:pt x="513686" y="18190"/>
                  </a:lnTo>
                  <a:lnTo>
                    <a:pt x="513686" y="32338"/>
                  </a:lnTo>
                  <a:lnTo>
                    <a:pt x="549616" y="32338"/>
                  </a:lnTo>
                  <a:lnTo>
                    <a:pt x="549616" y="50527"/>
                  </a:lnTo>
                  <a:lnTo>
                    <a:pt x="513686" y="50527"/>
                  </a:lnTo>
                  <a:lnTo>
                    <a:pt x="513686" y="84886"/>
                  </a:lnTo>
                  <a:lnTo>
                    <a:pt x="491429" y="84886"/>
                  </a:lnTo>
                  <a:close/>
                  <a:moveTo>
                    <a:pt x="394124" y="0"/>
                  </a:moveTo>
                  <a:lnTo>
                    <a:pt x="415380" y="0"/>
                  </a:lnTo>
                  <a:lnTo>
                    <a:pt x="453246" y="50797"/>
                  </a:lnTo>
                  <a:lnTo>
                    <a:pt x="453246" y="0"/>
                  </a:lnTo>
                  <a:lnTo>
                    <a:pt x="474500" y="0"/>
                  </a:lnTo>
                  <a:lnTo>
                    <a:pt x="474500" y="84886"/>
                  </a:lnTo>
                  <a:lnTo>
                    <a:pt x="453246" y="84886"/>
                  </a:lnTo>
                  <a:lnTo>
                    <a:pt x="415380" y="34705"/>
                  </a:lnTo>
                  <a:lnTo>
                    <a:pt x="415380" y="84886"/>
                  </a:lnTo>
                  <a:lnTo>
                    <a:pt x="394124" y="84886"/>
                  </a:lnTo>
                  <a:close/>
                  <a:moveTo>
                    <a:pt x="315887" y="0"/>
                  </a:moveTo>
                  <a:lnTo>
                    <a:pt x="378728" y="0"/>
                  </a:lnTo>
                  <a:lnTo>
                    <a:pt x="378728" y="18190"/>
                  </a:lnTo>
                  <a:lnTo>
                    <a:pt x="338144" y="18190"/>
                  </a:lnTo>
                  <a:lnTo>
                    <a:pt x="338144" y="31799"/>
                  </a:lnTo>
                  <a:lnTo>
                    <a:pt x="372542" y="31799"/>
                  </a:lnTo>
                  <a:lnTo>
                    <a:pt x="372542" y="49988"/>
                  </a:lnTo>
                  <a:lnTo>
                    <a:pt x="338144" y="49988"/>
                  </a:lnTo>
                  <a:lnTo>
                    <a:pt x="338144" y="66696"/>
                  </a:lnTo>
                  <a:lnTo>
                    <a:pt x="378728" y="66696"/>
                  </a:lnTo>
                  <a:lnTo>
                    <a:pt x="378728" y="84886"/>
                  </a:lnTo>
                  <a:lnTo>
                    <a:pt x="338144" y="84886"/>
                  </a:lnTo>
                  <a:lnTo>
                    <a:pt x="315887" y="84886"/>
                  </a:lnTo>
                  <a:close/>
                  <a:moveTo>
                    <a:pt x="235954" y="0"/>
                  </a:moveTo>
                  <a:lnTo>
                    <a:pt x="305096" y="0"/>
                  </a:lnTo>
                  <a:lnTo>
                    <a:pt x="305096" y="18190"/>
                  </a:lnTo>
                  <a:lnTo>
                    <a:pt x="280468" y="18190"/>
                  </a:lnTo>
                  <a:lnTo>
                    <a:pt x="280468" y="84886"/>
                  </a:lnTo>
                  <a:lnTo>
                    <a:pt x="258211" y="84886"/>
                  </a:lnTo>
                  <a:lnTo>
                    <a:pt x="258211" y="18190"/>
                  </a:lnTo>
                  <a:lnTo>
                    <a:pt x="235954" y="18190"/>
                  </a:lnTo>
                  <a:close/>
                  <a:moveTo>
                    <a:pt x="159066" y="0"/>
                  </a:moveTo>
                  <a:lnTo>
                    <a:pt x="228198" y="0"/>
                  </a:lnTo>
                  <a:lnTo>
                    <a:pt x="228198" y="18190"/>
                  </a:lnTo>
                  <a:lnTo>
                    <a:pt x="205941" y="18190"/>
                  </a:lnTo>
                  <a:lnTo>
                    <a:pt x="205941" y="84886"/>
                  </a:lnTo>
                  <a:lnTo>
                    <a:pt x="183684" y="84886"/>
                  </a:lnTo>
                  <a:lnTo>
                    <a:pt x="183684" y="18190"/>
                  </a:lnTo>
                  <a:lnTo>
                    <a:pt x="159066" y="18190"/>
                  </a:lnTo>
                  <a:close/>
                  <a:moveTo>
                    <a:pt x="0" y="0"/>
                  </a:moveTo>
                  <a:lnTo>
                    <a:pt x="21525" y="0"/>
                  </a:lnTo>
                  <a:lnTo>
                    <a:pt x="45728" y="59680"/>
                  </a:lnTo>
                  <a:lnTo>
                    <a:pt x="45911" y="59680"/>
                  </a:lnTo>
                  <a:lnTo>
                    <a:pt x="70124" y="0"/>
                  </a:lnTo>
                  <a:lnTo>
                    <a:pt x="91639" y="0"/>
                  </a:lnTo>
                  <a:lnTo>
                    <a:pt x="56780" y="84886"/>
                  </a:lnTo>
                  <a:lnTo>
                    <a:pt x="34859" y="84886"/>
                  </a:lnTo>
                  <a:close/>
                </a:path>
              </a:pathLst>
            </a:custGeom>
            <a:solidFill>
              <a:srgbClr val="4E4B48"/>
            </a:solidFill>
            <a:ln w="1400" cap="flat">
              <a:noFill/>
              <a:prstDash val="solid"/>
              <a:miter/>
            </a:ln>
          </p:spPr>
          <p:txBody>
            <a:bodyPr wrap="square" rtlCol="0" anchor="ctr">
              <a:noAutofit/>
            </a:bodyPr>
            <a:lstStyle/>
            <a:p>
              <a:endParaRPr lang="en-GB" noProof="0"/>
            </a:p>
          </p:txBody>
        </p:sp>
      </p:grpSp>
      <p:sp>
        <p:nvSpPr>
          <p:cNvPr id="4" name="Date"/>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42B116F1-FD06-4010-ADC4-067FDA74B486}" type="datetime1">
              <a:rPr lang="sv-SE" noProof="0" smtClean="0"/>
              <a:t>2025-09-04</a:t>
            </a:fld>
            <a:endParaRPr lang="en-GB" noProof="0"/>
          </a:p>
        </p:txBody>
      </p:sp>
      <p:sp>
        <p:nvSpPr>
          <p:cNvPr id="23" name="Number">
            <a:extLst>
              <a:ext uri="{FF2B5EF4-FFF2-40B4-BE49-F238E27FC236}">
                <a16:creationId xmlns:a16="http://schemas.microsoft.com/office/drawing/2014/main" id="{AD23396C-F419-E04B-8B2D-18295DF77462}"/>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22" name="Footer">
            <a:extLst>
              <a:ext uri="{FF2B5EF4-FFF2-40B4-BE49-F238E27FC236}">
                <a16:creationId xmlns:a16="http://schemas.microsoft.com/office/drawing/2014/main" id="{16E4C672-CF50-B14D-8CAC-37BB2A05635B}"/>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
        <p:nvSpPr>
          <p:cNvPr id="7" name="TextBox 6">
            <a:extLst>
              <a:ext uri="{FF2B5EF4-FFF2-40B4-BE49-F238E27FC236}">
                <a16:creationId xmlns:a16="http://schemas.microsoft.com/office/drawing/2014/main" id="{A2D576DB-1377-9B4E-C89D-DAC8174D0641}"/>
              </a:ext>
            </a:extLst>
          </p:cNvPr>
          <p:cNvSpPr txBox="1"/>
          <p:nvPr>
            <p:extLst>
              <p:ext uri="{1162E1C5-73C7-4A58-AE30-91384D911F3F}">
                <p184:classification xmlns:p184="http://schemas.microsoft.com/office/powerpoint/2018/4/main" val="ftr"/>
              </p:ext>
            </p:extLst>
          </p:nvPr>
        </p:nvSpPr>
        <p:spPr>
          <a:xfrm>
            <a:off x="190500" y="4861560"/>
            <a:ext cx="965200" cy="91440"/>
          </a:xfrm>
          <a:prstGeom prst="rect">
            <a:avLst/>
          </a:prstGeom>
        </p:spPr>
        <p:txBody>
          <a:bodyPr horzOverflow="overflow" lIns="0" tIns="0" rIns="0" bIns="0">
            <a:spAutoFit/>
          </a:bodyPr>
          <a:lstStyle/>
          <a:p>
            <a:pPr algn="l"/>
            <a:r>
              <a:rPr lang="en-GB" sz="600">
                <a:solidFill>
                  <a:srgbClr val="737373"/>
                </a:solidFill>
                <a:latin typeface="Arial" panose="020B0604020202020204" pitchFamily="34" charset="0"/>
                <a:cs typeface="Arial" panose="020B0604020202020204" pitchFamily="34" charset="0"/>
              </a:rPr>
              <a:t>Confidentiality: C2 - Internal</a:t>
            </a:r>
          </a:p>
        </p:txBody>
      </p:sp>
    </p:spTree>
    <p:extLst>
      <p:ext uri="{BB962C8B-B14F-4D97-AF65-F5344CB8AC3E}">
        <p14:creationId xmlns:p14="http://schemas.microsoft.com/office/powerpoint/2010/main" val="598848599"/>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45" r:id="rId3"/>
    <p:sldLayoutId id="2147483751" r:id="rId4"/>
    <p:sldLayoutId id="2147483769" r:id="rId5"/>
    <p:sldLayoutId id="2147483770" r:id="rId6"/>
    <p:sldLayoutId id="2147483738" r:id="rId7"/>
    <p:sldLayoutId id="2147483735" r:id="rId8"/>
    <p:sldLayoutId id="2147483739" r:id="rId9"/>
    <p:sldLayoutId id="2147483736" r:id="rId10"/>
    <p:sldLayoutId id="2147483730" r:id="rId11"/>
    <p:sldLayoutId id="2147483731" r:id="rId12"/>
    <p:sldLayoutId id="2147483766" r:id="rId13"/>
    <p:sldLayoutId id="2147483737" r:id="rId14"/>
    <p:sldLayoutId id="2147483740" r:id="rId15"/>
    <p:sldLayoutId id="2147483742" r:id="rId16"/>
    <p:sldLayoutId id="2147483741" r:id="rId17"/>
    <p:sldLayoutId id="2147483771" r:id="rId18"/>
    <p:sldLayoutId id="2147483743" r:id="rId19"/>
    <p:sldLayoutId id="2147483752" r:id="rId20"/>
    <p:sldLayoutId id="2147483768" r:id="rId21"/>
  </p:sldLayoutIdLst>
  <p:hf hdr="0" ftr="0" dt="0"/>
  <p:txStyles>
    <p:titleStyle>
      <a:lvl1pPr algn="l" defTabSz="685800" rtl="0" eaLnBrk="1" latinLnBrk="0" hangingPunct="1">
        <a:lnSpc>
          <a:spcPct val="95000"/>
        </a:lnSpc>
        <a:spcBef>
          <a:spcPct val="0"/>
        </a:spcBef>
        <a:buNone/>
        <a:defRPr sz="2400" b="1" kern="1200" spc="-30" baseline="0">
          <a:solidFill>
            <a:schemeClr val="tx1"/>
          </a:solidFill>
          <a:latin typeface="+mj-lt"/>
          <a:ea typeface="+mj-ea"/>
          <a:cs typeface="+mj-cs"/>
        </a:defRPr>
      </a:lvl1pPr>
    </p:titleStyle>
    <p:bodyStyle>
      <a:lvl1pPr marL="171450" indent="-171450" algn="l" defTabSz="685800" rtl="0" eaLnBrk="1" latinLnBrk="0" hangingPunct="1">
        <a:lnSpc>
          <a:spcPct val="100000"/>
        </a:lnSpc>
        <a:spcBef>
          <a:spcPts val="750"/>
        </a:spcBef>
        <a:buFont typeface="Arial" panose="020B0604020202020204" pitchFamily="34" charset="0"/>
        <a:buChar char="•"/>
        <a:defRPr sz="1200" kern="1200">
          <a:solidFill>
            <a:schemeClr val="tx1"/>
          </a:solidFill>
          <a:latin typeface="+mn-lt"/>
          <a:ea typeface="+mn-ea"/>
          <a:cs typeface="+mn-cs"/>
        </a:defRPr>
      </a:lvl1pPr>
      <a:lvl2pPr marL="358775" indent="-179388" algn="l" defTabSz="685800" rtl="0" eaLnBrk="1" latinLnBrk="0" hangingPunct="1">
        <a:lnSpc>
          <a:spcPct val="100000"/>
        </a:lnSpc>
        <a:spcBef>
          <a:spcPts val="375"/>
        </a:spcBef>
        <a:buFont typeface="Arial" panose="020B0604020202020204" pitchFamily="34" charset="0"/>
        <a:buChar char="•"/>
        <a:tabLst/>
        <a:defRPr sz="1050" kern="1200">
          <a:solidFill>
            <a:schemeClr val="tx1"/>
          </a:solidFill>
          <a:latin typeface="+mn-lt"/>
          <a:ea typeface="+mn-ea"/>
          <a:cs typeface="+mn-cs"/>
        </a:defRPr>
      </a:lvl2pPr>
      <a:lvl3pPr marL="534988" indent="-176213" algn="l" defTabSz="685800" rtl="0" eaLnBrk="1" latinLnBrk="0" hangingPunct="1">
        <a:lnSpc>
          <a:spcPct val="100000"/>
        </a:lnSpc>
        <a:spcBef>
          <a:spcPts val="375"/>
        </a:spcBef>
        <a:buFont typeface="Arial" panose="020B0604020202020204" pitchFamily="34" charset="0"/>
        <a:buChar char="•"/>
        <a:tabLst/>
        <a:defRPr sz="1050" kern="1200">
          <a:solidFill>
            <a:schemeClr val="tx1"/>
          </a:solidFill>
          <a:latin typeface="+mn-lt"/>
          <a:ea typeface="+mn-ea"/>
          <a:cs typeface="+mn-cs"/>
        </a:defRPr>
      </a:lvl3pPr>
      <a:lvl4pPr marL="714375" indent="-179388" algn="l" defTabSz="685800" rtl="0" eaLnBrk="1" latinLnBrk="0" hangingPunct="1">
        <a:lnSpc>
          <a:spcPct val="100000"/>
        </a:lnSpc>
        <a:spcBef>
          <a:spcPts val="375"/>
        </a:spcBef>
        <a:buFont typeface="Arial" panose="020B0604020202020204" pitchFamily="34" charset="0"/>
        <a:buChar char="•"/>
        <a:tabLst/>
        <a:defRPr sz="1050" kern="1200">
          <a:solidFill>
            <a:schemeClr val="tx1"/>
          </a:solidFill>
          <a:latin typeface="+mn-lt"/>
          <a:ea typeface="+mn-ea"/>
          <a:cs typeface="+mn-cs"/>
        </a:defRPr>
      </a:lvl4pPr>
      <a:lvl5pPr marL="889000" indent="-174625" algn="l" defTabSz="685800" rtl="0" eaLnBrk="1" latinLnBrk="0" hangingPunct="1">
        <a:lnSpc>
          <a:spcPct val="100000"/>
        </a:lnSpc>
        <a:spcBef>
          <a:spcPts val="375"/>
        </a:spcBef>
        <a:buFont typeface="Arial" panose="020B0604020202020204" pitchFamily="34" charset="0"/>
        <a:buChar char="•"/>
        <a:tabLst/>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13">
          <p15:clr>
            <a:srgbClr val="F26B43"/>
          </p15:clr>
        </p15:guide>
        <p15:guide id="4" pos="5647">
          <p15:clr>
            <a:srgbClr val="F26B43"/>
          </p15:clr>
        </p15:guide>
        <p15:guide id="5" orient="horz" pos="100">
          <p15:clr>
            <a:srgbClr val="F26B43"/>
          </p15:clr>
        </p15:guide>
        <p15:guide id="6" orient="horz" pos="3049">
          <p15:clr>
            <a:srgbClr val="F26B43"/>
          </p15:clr>
        </p15:guide>
        <p15:guide id="7" pos="2925">
          <p15:clr>
            <a:srgbClr val="547EBF"/>
          </p15:clr>
        </p15:guide>
        <p15:guide id="8" pos="2835">
          <p15:clr>
            <a:srgbClr val="547EBF"/>
          </p15:clr>
        </p15:guide>
        <p15:guide id="9" pos="204">
          <p15:clr>
            <a:srgbClr val="547EBF"/>
          </p15:clr>
        </p15:guide>
        <p15:guide id="10" pos="5556">
          <p15:clr>
            <a:srgbClr val="547EBF"/>
          </p15:clr>
        </p15:guide>
        <p15:guide id="11" orient="horz" pos="169" userDrawn="1">
          <p15:clr>
            <a:srgbClr val="547EBF"/>
          </p15:clr>
        </p15:guide>
        <p15:guide id="12" orient="horz" pos="2958">
          <p15:clr>
            <a:srgbClr val="547EBF"/>
          </p15:clr>
        </p15:guide>
        <p15:guide id="16" pos="1111">
          <p15:clr>
            <a:srgbClr val="547EBF"/>
          </p15:clr>
        </p15:guide>
        <p15:guide id="17" pos="1927">
          <p15:clr>
            <a:srgbClr val="547EBF"/>
          </p15:clr>
        </p15:guide>
        <p15:guide id="18" pos="2018">
          <p15:clr>
            <a:srgbClr val="547EBF"/>
          </p15:clr>
        </p15:guide>
        <p15:guide id="19" pos="3742">
          <p15:clr>
            <a:srgbClr val="547EBF"/>
          </p15:clr>
        </p15:guide>
        <p15:guide id="20" pos="3833">
          <p15:clr>
            <a:srgbClr val="547EBF"/>
          </p15:clr>
        </p15:guide>
        <p15:guide id="21" pos="4649">
          <p15:clr>
            <a:srgbClr val="547EBF"/>
          </p15:clr>
        </p15:guide>
        <p15:guide id="22" pos="4740">
          <p15:clr>
            <a:srgbClr val="547EBF"/>
          </p15:clr>
        </p15:guide>
        <p15:guide id="24" pos="1020">
          <p15:clr>
            <a:srgbClr val="547EBF"/>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cNvSpPr>
            <a:spLocks noGrp="1"/>
          </p:cNvSpPr>
          <p:nvPr>
            <p:ph type="title"/>
          </p:nvPr>
        </p:nvSpPr>
        <p:spPr>
          <a:xfrm>
            <a:off x="323850" y="525600"/>
            <a:ext cx="8496300" cy="1560972"/>
          </a:xfrm>
          <a:prstGeom prst="rect">
            <a:avLst/>
          </a:prstGeom>
        </p:spPr>
        <p:txBody>
          <a:bodyPr vert="horz" lIns="91440" tIns="45720" rIns="91440" bIns="45720" rtlCol="0" anchor="t">
            <a:noAutofit/>
          </a:bodyPr>
          <a:lstStyle/>
          <a:p>
            <a:r>
              <a:rPr lang="en-GB" noProof="0"/>
              <a:t>Click to edit Master title slide</a:t>
            </a:r>
          </a:p>
        </p:txBody>
      </p:sp>
      <p:sp>
        <p:nvSpPr>
          <p:cNvPr id="3" name="Text"/>
          <p:cNvSpPr>
            <a:spLocks noGrp="1"/>
          </p:cNvSpPr>
          <p:nvPr>
            <p:ph type="body" idx="1"/>
          </p:nvPr>
        </p:nvSpPr>
        <p:spPr>
          <a:xfrm>
            <a:off x="323850" y="2103438"/>
            <a:ext cx="8496300" cy="2613680"/>
          </a:xfrm>
          <a:prstGeom prst="rect">
            <a:avLst/>
          </a:prstGeom>
        </p:spPr>
        <p:txBody>
          <a:bodyPr vert="horz" lIns="90000" tIns="45720" rIns="90000" bIns="45720" rtlCol="0">
            <a:noAutofit/>
          </a:bodyPr>
          <a:lstStyle/>
          <a:p>
            <a:pPr lvl="0"/>
            <a:r>
              <a:rPr lang="en-GB" noProof="0"/>
              <a:t>Click to edit Master text slid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9" name="Frihandsfigur 38">
            <a:extLst>
              <a:ext uri="{FF2B5EF4-FFF2-40B4-BE49-F238E27FC236}">
                <a16:creationId xmlns:a16="http://schemas.microsoft.com/office/drawing/2014/main" id="{E1BCAB34-53D3-7A48-9E69-B9D2FB9E2C35}"/>
              </a:ext>
            </a:extLst>
          </p:cNvPr>
          <p:cNvSpPr/>
          <p:nvPr userDrawn="1"/>
        </p:nvSpPr>
        <p:spPr>
          <a:xfrm rot="5400000">
            <a:off x="2000250" y="-2000250"/>
            <a:ext cx="5143500" cy="9144000"/>
          </a:xfrm>
          <a:custGeom>
            <a:avLst/>
            <a:gdLst>
              <a:gd name="connsiteX0" fmla="*/ 158750 w 5143500"/>
              <a:gd name="connsiteY0" fmla="*/ 8964612 h 9144000"/>
              <a:gd name="connsiteX1" fmla="*/ 4840289 w 5143500"/>
              <a:gd name="connsiteY1" fmla="*/ 8964612 h 9144000"/>
              <a:gd name="connsiteX2" fmla="*/ 4840289 w 5143500"/>
              <a:gd name="connsiteY2" fmla="*/ 179389 h 9144000"/>
              <a:gd name="connsiteX3" fmla="*/ 158750 w 5143500"/>
              <a:gd name="connsiteY3" fmla="*/ 179389 h 9144000"/>
              <a:gd name="connsiteX4" fmla="*/ 0 w 5143500"/>
              <a:gd name="connsiteY4" fmla="*/ 179389 h 9144000"/>
              <a:gd name="connsiteX5" fmla="*/ 0 w 5143500"/>
              <a:gd name="connsiteY5" fmla="*/ 0 h 9144000"/>
              <a:gd name="connsiteX6" fmla="*/ 5143500 w 5143500"/>
              <a:gd name="connsiteY6" fmla="*/ 0 h 9144000"/>
              <a:gd name="connsiteX7" fmla="*/ 5143500 w 5143500"/>
              <a:gd name="connsiteY7" fmla="*/ 25398 h 9144000"/>
              <a:gd name="connsiteX8" fmla="*/ 5143500 w 5143500"/>
              <a:gd name="connsiteY8" fmla="*/ 25398 h 9144000"/>
              <a:gd name="connsiteX9" fmla="*/ 5143500 w 5143500"/>
              <a:gd name="connsiteY9" fmla="*/ 9033715 h 9144000"/>
              <a:gd name="connsiteX10" fmla="*/ 5143499 w 5143500"/>
              <a:gd name="connsiteY10" fmla="*/ 9033715 h 9144000"/>
              <a:gd name="connsiteX11" fmla="*/ 5143499 w 5143500"/>
              <a:gd name="connsiteY11" fmla="*/ 9144000 h 9144000"/>
              <a:gd name="connsiteX12" fmla="*/ 0 w 5143500"/>
              <a:gd name="connsiteY12" fmla="*/ 9144000 h 9144000"/>
              <a:gd name="connsiteX13" fmla="*/ 0 w 5143500"/>
              <a:gd name="connsiteY13" fmla="*/ 9033714 h 9144000"/>
              <a:gd name="connsiteX14" fmla="*/ 0 w 5143500"/>
              <a:gd name="connsiteY14" fmla="*/ 9033714 h 9144000"/>
              <a:gd name="connsiteX15" fmla="*/ 0 w 5143500"/>
              <a:gd name="connsiteY15" fmla="*/ 179389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143500" h="9144000">
                <a:moveTo>
                  <a:pt x="158750" y="8964612"/>
                </a:moveTo>
                <a:lnTo>
                  <a:pt x="4840289" y="8964612"/>
                </a:lnTo>
                <a:lnTo>
                  <a:pt x="4840289" y="179389"/>
                </a:lnTo>
                <a:lnTo>
                  <a:pt x="158750" y="179389"/>
                </a:lnTo>
                <a:close/>
                <a:moveTo>
                  <a:pt x="0" y="179389"/>
                </a:moveTo>
                <a:lnTo>
                  <a:pt x="0" y="0"/>
                </a:lnTo>
                <a:lnTo>
                  <a:pt x="5143500" y="0"/>
                </a:lnTo>
                <a:lnTo>
                  <a:pt x="5143500" y="25398"/>
                </a:lnTo>
                <a:lnTo>
                  <a:pt x="5143500" y="25398"/>
                </a:lnTo>
                <a:lnTo>
                  <a:pt x="5143500" y="9033715"/>
                </a:lnTo>
                <a:lnTo>
                  <a:pt x="5143499" y="9033715"/>
                </a:lnTo>
                <a:lnTo>
                  <a:pt x="5143499" y="9144000"/>
                </a:lnTo>
                <a:lnTo>
                  <a:pt x="0" y="9144000"/>
                </a:lnTo>
                <a:lnTo>
                  <a:pt x="0" y="9033714"/>
                </a:lnTo>
                <a:lnTo>
                  <a:pt x="0" y="9033714"/>
                </a:lnTo>
                <a:lnTo>
                  <a:pt x="0" y="17938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grpSp>
        <p:nvGrpSpPr>
          <p:cNvPr id="5" name="Logo" descr="Vattenfall logotype">
            <a:extLst>
              <a:ext uri="{FF2B5EF4-FFF2-40B4-BE49-F238E27FC236}">
                <a16:creationId xmlns:a16="http://schemas.microsoft.com/office/drawing/2014/main" id="{133EFDB0-08D2-CA41-9A6F-D93000386FD2}"/>
              </a:ext>
            </a:extLst>
          </p:cNvPr>
          <p:cNvGrpSpPr>
            <a:grpSpLocks noChangeAspect="1"/>
          </p:cNvGrpSpPr>
          <p:nvPr userDrawn="1"/>
        </p:nvGrpSpPr>
        <p:grpSpPr>
          <a:xfrm>
            <a:off x="4085649" y="4917137"/>
            <a:ext cx="972702" cy="148746"/>
            <a:chOff x="4085649" y="4917137"/>
            <a:chExt cx="972702" cy="148746"/>
          </a:xfrm>
        </p:grpSpPr>
        <p:sp>
          <p:nvSpPr>
            <p:cNvPr id="25" name="Frihandsfigur 24">
              <a:extLst>
                <a:ext uri="{FF2B5EF4-FFF2-40B4-BE49-F238E27FC236}">
                  <a16:creationId xmlns:a16="http://schemas.microsoft.com/office/drawing/2014/main" id="{D0B20966-557B-FD4C-AEFD-237DB58109CE}"/>
                </a:ext>
              </a:extLst>
            </p:cNvPr>
            <p:cNvSpPr/>
            <p:nvPr/>
          </p:nvSpPr>
          <p:spPr>
            <a:xfrm>
              <a:off x="4909411" y="4917137"/>
              <a:ext cx="148940" cy="74384"/>
            </a:xfrm>
            <a:custGeom>
              <a:avLst/>
              <a:gdLst>
                <a:gd name="connsiteX0" fmla="*/ 108621 w 217242"/>
                <a:gd name="connsiteY0" fmla="*/ 0 h 108497"/>
                <a:gd name="connsiteX1" fmla="*/ 0 w 217242"/>
                <a:gd name="connsiteY1" fmla="*/ 108498 h 108497"/>
                <a:gd name="connsiteX2" fmla="*/ 217243 w 217242"/>
                <a:gd name="connsiteY2" fmla="*/ 108498 h 108497"/>
                <a:gd name="connsiteX3" fmla="*/ 108650 w 217242"/>
                <a:gd name="connsiteY3" fmla="*/ 0 h 108497"/>
                <a:gd name="connsiteX4" fmla="*/ 108621 w 217242"/>
                <a:gd name="connsiteY4" fmla="*/ 0 h 108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242" h="108497">
                  <a:moveTo>
                    <a:pt x="108621" y="0"/>
                  </a:moveTo>
                  <a:cubicBezTo>
                    <a:pt x="48632" y="0"/>
                    <a:pt x="0" y="48576"/>
                    <a:pt x="0" y="108498"/>
                  </a:cubicBezTo>
                  <a:lnTo>
                    <a:pt x="217243" y="108498"/>
                  </a:lnTo>
                  <a:cubicBezTo>
                    <a:pt x="217257" y="48584"/>
                    <a:pt x="168632" y="8"/>
                    <a:pt x="108650" y="0"/>
                  </a:cubicBezTo>
                  <a:cubicBezTo>
                    <a:pt x="108640" y="0"/>
                    <a:pt x="108631" y="0"/>
                    <a:pt x="108621" y="0"/>
                  </a:cubicBezTo>
                  <a:close/>
                </a:path>
              </a:pathLst>
            </a:custGeom>
            <a:solidFill>
              <a:srgbClr val="FFDA00"/>
            </a:solidFill>
            <a:ln w="1400" cap="flat">
              <a:noFill/>
              <a:prstDash val="solid"/>
              <a:miter/>
            </a:ln>
          </p:spPr>
          <p:txBody>
            <a:bodyPr rtlCol="0" anchor="ctr"/>
            <a:lstStyle/>
            <a:p>
              <a:endParaRPr lang="en-GB" noProof="0"/>
            </a:p>
          </p:txBody>
        </p:sp>
        <p:sp>
          <p:nvSpPr>
            <p:cNvPr id="26" name="Frihandsfigur 25">
              <a:extLst>
                <a:ext uri="{FF2B5EF4-FFF2-40B4-BE49-F238E27FC236}">
                  <a16:creationId xmlns:a16="http://schemas.microsoft.com/office/drawing/2014/main" id="{971B17A3-E306-2242-BA24-C3FEA7450426}"/>
                </a:ext>
              </a:extLst>
            </p:cNvPr>
            <p:cNvSpPr/>
            <p:nvPr/>
          </p:nvSpPr>
          <p:spPr>
            <a:xfrm>
              <a:off x="4909411" y="4991508"/>
              <a:ext cx="148940" cy="74375"/>
            </a:xfrm>
            <a:custGeom>
              <a:avLst/>
              <a:gdLst>
                <a:gd name="connsiteX0" fmla="*/ 108621 w 217242"/>
                <a:gd name="connsiteY0" fmla="*/ 108484 h 108483"/>
                <a:gd name="connsiteX1" fmla="*/ 0 w 217242"/>
                <a:gd name="connsiteY1" fmla="*/ 0 h 108483"/>
                <a:gd name="connsiteX2" fmla="*/ 217243 w 217242"/>
                <a:gd name="connsiteY2" fmla="*/ 0 h 108483"/>
                <a:gd name="connsiteX3" fmla="*/ 108636 w 217242"/>
                <a:gd name="connsiteY3" fmla="*/ 108484 h 108483"/>
                <a:gd name="connsiteX4" fmla="*/ 108621 w 217242"/>
                <a:gd name="connsiteY4" fmla="*/ 108484 h 108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242" h="108483">
                  <a:moveTo>
                    <a:pt x="108621" y="108484"/>
                  </a:moveTo>
                  <a:cubicBezTo>
                    <a:pt x="48637" y="108484"/>
                    <a:pt x="7" y="59916"/>
                    <a:pt x="0" y="0"/>
                  </a:cubicBezTo>
                  <a:lnTo>
                    <a:pt x="217243" y="0"/>
                  </a:lnTo>
                  <a:cubicBezTo>
                    <a:pt x="217243" y="59914"/>
                    <a:pt x="168618" y="108484"/>
                    <a:pt x="108636" y="108484"/>
                  </a:cubicBezTo>
                  <a:cubicBezTo>
                    <a:pt x="108631" y="108484"/>
                    <a:pt x="108626" y="108484"/>
                    <a:pt x="108621" y="108484"/>
                  </a:cubicBezTo>
                  <a:close/>
                </a:path>
              </a:pathLst>
            </a:custGeom>
            <a:solidFill>
              <a:srgbClr val="2071B5"/>
            </a:solidFill>
            <a:ln w="1400" cap="flat">
              <a:noFill/>
              <a:prstDash val="solid"/>
              <a:miter/>
            </a:ln>
          </p:spPr>
          <p:txBody>
            <a:bodyPr rtlCol="0" anchor="ctr"/>
            <a:lstStyle/>
            <a:p>
              <a:endParaRPr lang="en-GB" noProof="0"/>
            </a:p>
          </p:txBody>
        </p:sp>
        <p:sp>
          <p:nvSpPr>
            <p:cNvPr id="22" name="Frihandsfigur 21">
              <a:extLst>
                <a:ext uri="{FF2B5EF4-FFF2-40B4-BE49-F238E27FC236}">
                  <a16:creationId xmlns:a16="http://schemas.microsoft.com/office/drawing/2014/main" id="{FEBDF823-A994-7046-B9A0-22F15D3F33C3}"/>
                </a:ext>
              </a:extLst>
            </p:cNvPr>
            <p:cNvSpPr/>
            <p:nvPr/>
          </p:nvSpPr>
          <p:spPr>
            <a:xfrm>
              <a:off x="4085649" y="4951310"/>
              <a:ext cx="781273" cy="84934"/>
            </a:xfrm>
            <a:custGeom>
              <a:avLst/>
              <a:gdLst>
                <a:gd name="connsiteX0" fmla="*/ 595123 w 781273"/>
                <a:gd name="connsiteY0" fmla="*/ 23454 h 84934"/>
                <a:gd name="connsiteX1" fmla="*/ 583493 w 781273"/>
                <a:gd name="connsiteY1" fmla="*/ 52452 h 84934"/>
                <a:gd name="connsiteX2" fmla="*/ 606935 w 781273"/>
                <a:gd name="connsiteY2" fmla="*/ 52442 h 84934"/>
                <a:gd name="connsiteX3" fmla="*/ 595267 w 781273"/>
                <a:gd name="connsiteY3" fmla="*/ 23454 h 84934"/>
                <a:gd name="connsiteX4" fmla="*/ 123589 w 781273"/>
                <a:gd name="connsiteY4" fmla="*/ 23454 h 84934"/>
                <a:gd name="connsiteX5" fmla="*/ 111959 w 781273"/>
                <a:gd name="connsiteY5" fmla="*/ 52452 h 84934"/>
                <a:gd name="connsiteX6" fmla="*/ 135363 w 781273"/>
                <a:gd name="connsiteY6" fmla="*/ 52442 h 84934"/>
                <a:gd name="connsiteX7" fmla="*/ 123734 w 781273"/>
                <a:gd name="connsiteY7" fmla="*/ 23454 h 84934"/>
                <a:gd name="connsiteX8" fmla="*/ 584293 w 781273"/>
                <a:gd name="connsiteY8" fmla="*/ 48 h 84934"/>
                <a:gd name="connsiteX9" fmla="*/ 606136 w 781273"/>
                <a:gd name="connsiteY9" fmla="*/ 48 h 84934"/>
                <a:gd name="connsiteX10" fmla="*/ 641516 w 781273"/>
                <a:gd name="connsiteY10" fmla="*/ 84886 h 84934"/>
                <a:gd name="connsiteX11" fmla="*/ 620001 w 781273"/>
                <a:gd name="connsiteY11" fmla="*/ 84886 h 84934"/>
                <a:gd name="connsiteX12" fmla="*/ 613892 w 781273"/>
                <a:gd name="connsiteY12" fmla="*/ 69775 h 84934"/>
                <a:gd name="connsiteX13" fmla="*/ 576488 w 781273"/>
                <a:gd name="connsiteY13" fmla="*/ 69775 h 84934"/>
                <a:gd name="connsiteX14" fmla="*/ 570389 w 781273"/>
                <a:gd name="connsiteY14" fmla="*/ 84934 h 84934"/>
                <a:gd name="connsiteX15" fmla="*/ 548864 w 781273"/>
                <a:gd name="connsiteY15" fmla="*/ 84934 h 84934"/>
                <a:gd name="connsiteX16" fmla="*/ 112712 w 781273"/>
                <a:gd name="connsiteY16" fmla="*/ 48 h 84934"/>
                <a:gd name="connsiteX17" fmla="*/ 134515 w 781273"/>
                <a:gd name="connsiteY17" fmla="*/ 48 h 84934"/>
                <a:gd name="connsiteX18" fmla="*/ 169992 w 781273"/>
                <a:gd name="connsiteY18" fmla="*/ 84886 h 84934"/>
                <a:gd name="connsiteX19" fmla="*/ 148467 w 781273"/>
                <a:gd name="connsiteY19" fmla="*/ 84886 h 84934"/>
                <a:gd name="connsiteX20" fmla="*/ 142320 w 781273"/>
                <a:gd name="connsiteY20" fmla="*/ 69775 h 84934"/>
                <a:gd name="connsiteX21" fmla="*/ 104917 w 781273"/>
                <a:gd name="connsiteY21" fmla="*/ 69775 h 84934"/>
                <a:gd name="connsiteX22" fmla="*/ 98808 w 781273"/>
                <a:gd name="connsiteY22" fmla="*/ 84934 h 84934"/>
                <a:gd name="connsiteX23" fmla="*/ 77293 w 781273"/>
                <a:gd name="connsiteY23" fmla="*/ 84934 h 84934"/>
                <a:gd name="connsiteX24" fmla="*/ 719820 w 781273"/>
                <a:gd name="connsiteY24" fmla="*/ 0 h 84934"/>
                <a:gd name="connsiteX25" fmla="*/ 742077 w 781273"/>
                <a:gd name="connsiteY25" fmla="*/ 0 h 84934"/>
                <a:gd name="connsiteX26" fmla="*/ 742077 w 781273"/>
                <a:gd name="connsiteY26" fmla="*/ 66042 h 84934"/>
                <a:gd name="connsiteX27" fmla="*/ 781273 w 781273"/>
                <a:gd name="connsiteY27" fmla="*/ 66042 h 84934"/>
                <a:gd name="connsiteX28" fmla="*/ 781273 w 781273"/>
                <a:gd name="connsiteY28" fmla="*/ 84886 h 84934"/>
                <a:gd name="connsiteX29" fmla="*/ 719820 w 781273"/>
                <a:gd name="connsiteY29" fmla="*/ 84886 h 84934"/>
                <a:gd name="connsiteX30" fmla="*/ 648751 w 781273"/>
                <a:gd name="connsiteY30" fmla="*/ 0 h 84934"/>
                <a:gd name="connsiteX31" fmla="*/ 671018 w 781273"/>
                <a:gd name="connsiteY31" fmla="*/ 0 h 84934"/>
                <a:gd name="connsiteX32" fmla="*/ 671018 w 781273"/>
                <a:gd name="connsiteY32" fmla="*/ 66042 h 84934"/>
                <a:gd name="connsiteX33" fmla="*/ 710214 w 781273"/>
                <a:gd name="connsiteY33" fmla="*/ 66042 h 84934"/>
                <a:gd name="connsiteX34" fmla="*/ 710214 w 781273"/>
                <a:gd name="connsiteY34" fmla="*/ 84886 h 84934"/>
                <a:gd name="connsiteX35" fmla="*/ 648751 w 781273"/>
                <a:gd name="connsiteY35" fmla="*/ 84886 h 84934"/>
                <a:gd name="connsiteX36" fmla="*/ 491429 w 781273"/>
                <a:gd name="connsiteY36" fmla="*/ 0 h 84934"/>
                <a:gd name="connsiteX37" fmla="*/ 556293 w 781273"/>
                <a:gd name="connsiteY37" fmla="*/ 0 h 84934"/>
                <a:gd name="connsiteX38" fmla="*/ 556293 w 781273"/>
                <a:gd name="connsiteY38" fmla="*/ 18190 h 84934"/>
                <a:gd name="connsiteX39" fmla="*/ 513686 w 781273"/>
                <a:gd name="connsiteY39" fmla="*/ 18190 h 84934"/>
                <a:gd name="connsiteX40" fmla="*/ 513686 w 781273"/>
                <a:gd name="connsiteY40" fmla="*/ 32338 h 84934"/>
                <a:gd name="connsiteX41" fmla="*/ 549616 w 781273"/>
                <a:gd name="connsiteY41" fmla="*/ 32338 h 84934"/>
                <a:gd name="connsiteX42" fmla="*/ 549616 w 781273"/>
                <a:gd name="connsiteY42" fmla="*/ 50527 h 84934"/>
                <a:gd name="connsiteX43" fmla="*/ 513686 w 781273"/>
                <a:gd name="connsiteY43" fmla="*/ 50527 h 84934"/>
                <a:gd name="connsiteX44" fmla="*/ 513686 w 781273"/>
                <a:gd name="connsiteY44" fmla="*/ 84886 h 84934"/>
                <a:gd name="connsiteX45" fmla="*/ 491429 w 781273"/>
                <a:gd name="connsiteY45" fmla="*/ 84886 h 84934"/>
                <a:gd name="connsiteX46" fmla="*/ 394124 w 781273"/>
                <a:gd name="connsiteY46" fmla="*/ 0 h 84934"/>
                <a:gd name="connsiteX47" fmla="*/ 415380 w 781273"/>
                <a:gd name="connsiteY47" fmla="*/ 0 h 84934"/>
                <a:gd name="connsiteX48" fmla="*/ 453246 w 781273"/>
                <a:gd name="connsiteY48" fmla="*/ 50797 h 84934"/>
                <a:gd name="connsiteX49" fmla="*/ 453246 w 781273"/>
                <a:gd name="connsiteY49" fmla="*/ 0 h 84934"/>
                <a:gd name="connsiteX50" fmla="*/ 474500 w 781273"/>
                <a:gd name="connsiteY50" fmla="*/ 0 h 84934"/>
                <a:gd name="connsiteX51" fmla="*/ 474500 w 781273"/>
                <a:gd name="connsiteY51" fmla="*/ 84886 h 84934"/>
                <a:gd name="connsiteX52" fmla="*/ 453246 w 781273"/>
                <a:gd name="connsiteY52" fmla="*/ 84886 h 84934"/>
                <a:gd name="connsiteX53" fmla="*/ 415380 w 781273"/>
                <a:gd name="connsiteY53" fmla="*/ 34705 h 84934"/>
                <a:gd name="connsiteX54" fmla="*/ 415380 w 781273"/>
                <a:gd name="connsiteY54" fmla="*/ 84886 h 84934"/>
                <a:gd name="connsiteX55" fmla="*/ 394124 w 781273"/>
                <a:gd name="connsiteY55" fmla="*/ 84886 h 84934"/>
                <a:gd name="connsiteX56" fmla="*/ 315887 w 781273"/>
                <a:gd name="connsiteY56" fmla="*/ 0 h 84934"/>
                <a:gd name="connsiteX57" fmla="*/ 378728 w 781273"/>
                <a:gd name="connsiteY57" fmla="*/ 0 h 84934"/>
                <a:gd name="connsiteX58" fmla="*/ 378728 w 781273"/>
                <a:gd name="connsiteY58" fmla="*/ 18190 h 84934"/>
                <a:gd name="connsiteX59" fmla="*/ 338144 w 781273"/>
                <a:gd name="connsiteY59" fmla="*/ 18190 h 84934"/>
                <a:gd name="connsiteX60" fmla="*/ 338144 w 781273"/>
                <a:gd name="connsiteY60" fmla="*/ 31799 h 84934"/>
                <a:gd name="connsiteX61" fmla="*/ 372542 w 781273"/>
                <a:gd name="connsiteY61" fmla="*/ 31799 h 84934"/>
                <a:gd name="connsiteX62" fmla="*/ 372542 w 781273"/>
                <a:gd name="connsiteY62" fmla="*/ 49988 h 84934"/>
                <a:gd name="connsiteX63" fmla="*/ 338144 w 781273"/>
                <a:gd name="connsiteY63" fmla="*/ 49988 h 84934"/>
                <a:gd name="connsiteX64" fmla="*/ 338144 w 781273"/>
                <a:gd name="connsiteY64" fmla="*/ 66696 h 84934"/>
                <a:gd name="connsiteX65" fmla="*/ 378728 w 781273"/>
                <a:gd name="connsiteY65" fmla="*/ 66696 h 84934"/>
                <a:gd name="connsiteX66" fmla="*/ 378728 w 781273"/>
                <a:gd name="connsiteY66" fmla="*/ 84886 h 84934"/>
                <a:gd name="connsiteX67" fmla="*/ 338144 w 781273"/>
                <a:gd name="connsiteY67" fmla="*/ 84886 h 84934"/>
                <a:gd name="connsiteX68" fmla="*/ 315887 w 781273"/>
                <a:gd name="connsiteY68" fmla="*/ 84886 h 84934"/>
                <a:gd name="connsiteX69" fmla="*/ 235954 w 781273"/>
                <a:gd name="connsiteY69" fmla="*/ 0 h 84934"/>
                <a:gd name="connsiteX70" fmla="*/ 305096 w 781273"/>
                <a:gd name="connsiteY70" fmla="*/ 0 h 84934"/>
                <a:gd name="connsiteX71" fmla="*/ 305096 w 781273"/>
                <a:gd name="connsiteY71" fmla="*/ 18190 h 84934"/>
                <a:gd name="connsiteX72" fmla="*/ 280468 w 781273"/>
                <a:gd name="connsiteY72" fmla="*/ 18190 h 84934"/>
                <a:gd name="connsiteX73" fmla="*/ 280468 w 781273"/>
                <a:gd name="connsiteY73" fmla="*/ 84886 h 84934"/>
                <a:gd name="connsiteX74" fmla="*/ 258211 w 781273"/>
                <a:gd name="connsiteY74" fmla="*/ 84886 h 84934"/>
                <a:gd name="connsiteX75" fmla="*/ 258211 w 781273"/>
                <a:gd name="connsiteY75" fmla="*/ 18190 h 84934"/>
                <a:gd name="connsiteX76" fmla="*/ 235954 w 781273"/>
                <a:gd name="connsiteY76" fmla="*/ 18190 h 84934"/>
                <a:gd name="connsiteX77" fmla="*/ 159066 w 781273"/>
                <a:gd name="connsiteY77" fmla="*/ 0 h 84934"/>
                <a:gd name="connsiteX78" fmla="*/ 228198 w 781273"/>
                <a:gd name="connsiteY78" fmla="*/ 0 h 84934"/>
                <a:gd name="connsiteX79" fmla="*/ 228198 w 781273"/>
                <a:gd name="connsiteY79" fmla="*/ 18190 h 84934"/>
                <a:gd name="connsiteX80" fmla="*/ 205941 w 781273"/>
                <a:gd name="connsiteY80" fmla="*/ 18190 h 84934"/>
                <a:gd name="connsiteX81" fmla="*/ 205941 w 781273"/>
                <a:gd name="connsiteY81" fmla="*/ 84886 h 84934"/>
                <a:gd name="connsiteX82" fmla="*/ 183684 w 781273"/>
                <a:gd name="connsiteY82" fmla="*/ 84886 h 84934"/>
                <a:gd name="connsiteX83" fmla="*/ 183684 w 781273"/>
                <a:gd name="connsiteY83" fmla="*/ 18190 h 84934"/>
                <a:gd name="connsiteX84" fmla="*/ 159066 w 781273"/>
                <a:gd name="connsiteY84" fmla="*/ 18190 h 84934"/>
                <a:gd name="connsiteX85" fmla="*/ 0 w 781273"/>
                <a:gd name="connsiteY85" fmla="*/ 0 h 84934"/>
                <a:gd name="connsiteX86" fmla="*/ 21525 w 781273"/>
                <a:gd name="connsiteY86" fmla="*/ 0 h 84934"/>
                <a:gd name="connsiteX87" fmla="*/ 45728 w 781273"/>
                <a:gd name="connsiteY87" fmla="*/ 59680 h 84934"/>
                <a:gd name="connsiteX88" fmla="*/ 45911 w 781273"/>
                <a:gd name="connsiteY88" fmla="*/ 59680 h 84934"/>
                <a:gd name="connsiteX89" fmla="*/ 70124 w 781273"/>
                <a:gd name="connsiteY89" fmla="*/ 0 h 84934"/>
                <a:gd name="connsiteX90" fmla="*/ 91639 w 781273"/>
                <a:gd name="connsiteY90" fmla="*/ 0 h 84934"/>
                <a:gd name="connsiteX91" fmla="*/ 56780 w 781273"/>
                <a:gd name="connsiteY91" fmla="*/ 84886 h 84934"/>
                <a:gd name="connsiteX92" fmla="*/ 34859 w 781273"/>
                <a:gd name="connsiteY92" fmla="*/ 84886 h 84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781273" h="84934">
                  <a:moveTo>
                    <a:pt x="595123" y="23454"/>
                  </a:moveTo>
                  <a:lnTo>
                    <a:pt x="583493" y="52452"/>
                  </a:lnTo>
                  <a:lnTo>
                    <a:pt x="606935" y="52442"/>
                  </a:lnTo>
                  <a:lnTo>
                    <a:pt x="595267" y="23454"/>
                  </a:lnTo>
                  <a:close/>
                  <a:moveTo>
                    <a:pt x="123589" y="23454"/>
                  </a:moveTo>
                  <a:lnTo>
                    <a:pt x="111959" y="52452"/>
                  </a:lnTo>
                  <a:lnTo>
                    <a:pt x="135363" y="52442"/>
                  </a:lnTo>
                  <a:lnTo>
                    <a:pt x="123734" y="23454"/>
                  </a:lnTo>
                  <a:close/>
                  <a:moveTo>
                    <a:pt x="584293" y="48"/>
                  </a:moveTo>
                  <a:lnTo>
                    <a:pt x="606136" y="48"/>
                  </a:lnTo>
                  <a:lnTo>
                    <a:pt x="641516" y="84886"/>
                  </a:lnTo>
                  <a:lnTo>
                    <a:pt x="620001" y="84886"/>
                  </a:lnTo>
                  <a:lnTo>
                    <a:pt x="613892" y="69775"/>
                  </a:lnTo>
                  <a:lnTo>
                    <a:pt x="576488" y="69775"/>
                  </a:lnTo>
                  <a:lnTo>
                    <a:pt x="570389" y="84934"/>
                  </a:lnTo>
                  <a:lnTo>
                    <a:pt x="548864" y="84934"/>
                  </a:lnTo>
                  <a:close/>
                  <a:moveTo>
                    <a:pt x="112712" y="48"/>
                  </a:moveTo>
                  <a:lnTo>
                    <a:pt x="134515" y="48"/>
                  </a:lnTo>
                  <a:lnTo>
                    <a:pt x="169992" y="84886"/>
                  </a:lnTo>
                  <a:lnTo>
                    <a:pt x="148467" y="84886"/>
                  </a:lnTo>
                  <a:lnTo>
                    <a:pt x="142320" y="69775"/>
                  </a:lnTo>
                  <a:lnTo>
                    <a:pt x="104917" y="69775"/>
                  </a:lnTo>
                  <a:lnTo>
                    <a:pt x="98808" y="84934"/>
                  </a:lnTo>
                  <a:lnTo>
                    <a:pt x="77293" y="84934"/>
                  </a:lnTo>
                  <a:close/>
                  <a:moveTo>
                    <a:pt x="719820" y="0"/>
                  </a:moveTo>
                  <a:lnTo>
                    <a:pt x="742077" y="0"/>
                  </a:lnTo>
                  <a:lnTo>
                    <a:pt x="742077" y="66042"/>
                  </a:lnTo>
                  <a:lnTo>
                    <a:pt x="781273" y="66042"/>
                  </a:lnTo>
                  <a:lnTo>
                    <a:pt x="781273" y="84886"/>
                  </a:lnTo>
                  <a:lnTo>
                    <a:pt x="719820" y="84886"/>
                  </a:lnTo>
                  <a:close/>
                  <a:moveTo>
                    <a:pt x="648751" y="0"/>
                  </a:moveTo>
                  <a:lnTo>
                    <a:pt x="671018" y="0"/>
                  </a:lnTo>
                  <a:lnTo>
                    <a:pt x="671018" y="66042"/>
                  </a:lnTo>
                  <a:lnTo>
                    <a:pt x="710214" y="66042"/>
                  </a:lnTo>
                  <a:lnTo>
                    <a:pt x="710214" y="84886"/>
                  </a:lnTo>
                  <a:lnTo>
                    <a:pt x="648751" y="84886"/>
                  </a:lnTo>
                  <a:close/>
                  <a:moveTo>
                    <a:pt x="491429" y="0"/>
                  </a:moveTo>
                  <a:lnTo>
                    <a:pt x="556293" y="0"/>
                  </a:lnTo>
                  <a:lnTo>
                    <a:pt x="556293" y="18190"/>
                  </a:lnTo>
                  <a:lnTo>
                    <a:pt x="513686" y="18190"/>
                  </a:lnTo>
                  <a:lnTo>
                    <a:pt x="513686" y="32338"/>
                  </a:lnTo>
                  <a:lnTo>
                    <a:pt x="549616" y="32338"/>
                  </a:lnTo>
                  <a:lnTo>
                    <a:pt x="549616" y="50527"/>
                  </a:lnTo>
                  <a:lnTo>
                    <a:pt x="513686" y="50527"/>
                  </a:lnTo>
                  <a:lnTo>
                    <a:pt x="513686" y="84886"/>
                  </a:lnTo>
                  <a:lnTo>
                    <a:pt x="491429" y="84886"/>
                  </a:lnTo>
                  <a:close/>
                  <a:moveTo>
                    <a:pt x="394124" y="0"/>
                  </a:moveTo>
                  <a:lnTo>
                    <a:pt x="415380" y="0"/>
                  </a:lnTo>
                  <a:lnTo>
                    <a:pt x="453246" y="50797"/>
                  </a:lnTo>
                  <a:lnTo>
                    <a:pt x="453246" y="0"/>
                  </a:lnTo>
                  <a:lnTo>
                    <a:pt x="474500" y="0"/>
                  </a:lnTo>
                  <a:lnTo>
                    <a:pt x="474500" y="84886"/>
                  </a:lnTo>
                  <a:lnTo>
                    <a:pt x="453246" y="84886"/>
                  </a:lnTo>
                  <a:lnTo>
                    <a:pt x="415380" y="34705"/>
                  </a:lnTo>
                  <a:lnTo>
                    <a:pt x="415380" y="84886"/>
                  </a:lnTo>
                  <a:lnTo>
                    <a:pt x="394124" y="84886"/>
                  </a:lnTo>
                  <a:close/>
                  <a:moveTo>
                    <a:pt x="315887" y="0"/>
                  </a:moveTo>
                  <a:lnTo>
                    <a:pt x="378728" y="0"/>
                  </a:lnTo>
                  <a:lnTo>
                    <a:pt x="378728" y="18190"/>
                  </a:lnTo>
                  <a:lnTo>
                    <a:pt x="338144" y="18190"/>
                  </a:lnTo>
                  <a:lnTo>
                    <a:pt x="338144" y="31799"/>
                  </a:lnTo>
                  <a:lnTo>
                    <a:pt x="372542" y="31799"/>
                  </a:lnTo>
                  <a:lnTo>
                    <a:pt x="372542" y="49988"/>
                  </a:lnTo>
                  <a:lnTo>
                    <a:pt x="338144" y="49988"/>
                  </a:lnTo>
                  <a:lnTo>
                    <a:pt x="338144" y="66696"/>
                  </a:lnTo>
                  <a:lnTo>
                    <a:pt x="378728" y="66696"/>
                  </a:lnTo>
                  <a:lnTo>
                    <a:pt x="378728" y="84886"/>
                  </a:lnTo>
                  <a:lnTo>
                    <a:pt x="338144" y="84886"/>
                  </a:lnTo>
                  <a:lnTo>
                    <a:pt x="315887" y="84886"/>
                  </a:lnTo>
                  <a:close/>
                  <a:moveTo>
                    <a:pt x="235954" y="0"/>
                  </a:moveTo>
                  <a:lnTo>
                    <a:pt x="305096" y="0"/>
                  </a:lnTo>
                  <a:lnTo>
                    <a:pt x="305096" y="18190"/>
                  </a:lnTo>
                  <a:lnTo>
                    <a:pt x="280468" y="18190"/>
                  </a:lnTo>
                  <a:lnTo>
                    <a:pt x="280468" y="84886"/>
                  </a:lnTo>
                  <a:lnTo>
                    <a:pt x="258211" y="84886"/>
                  </a:lnTo>
                  <a:lnTo>
                    <a:pt x="258211" y="18190"/>
                  </a:lnTo>
                  <a:lnTo>
                    <a:pt x="235954" y="18190"/>
                  </a:lnTo>
                  <a:close/>
                  <a:moveTo>
                    <a:pt x="159066" y="0"/>
                  </a:moveTo>
                  <a:lnTo>
                    <a:pt x="228198" y="0"/>
                  </a:lnTo>
                  <a:lnTo>
                    <a:pt x="228198" y="18190"/>
                  </a:lnTo>
                  <a:lnTo>
                    <a:pt x="205941" y="18190"/>
                  </a:lnTo>
                  <a:lnTo>
                    <a:pt x="205941" y="84886"/>
                  </a:lnTo>
                  <a:lnTo>
                    <a:pt x="183684" y="84886"/>
                  </a:lnTo>
                  <a:lnTo>
                    <a:pt x="183684" y="18190"/>
                  </a:lnTo>
                  <a:lnTo>
                    <a:pt x="159066" y="18190"/>
                  </a:lnTo>
                  <a:close/>
                  <a:moveTo>
                    <a:pt x="0" y="0"/>
                  </a:moveTo>
                  <a:lnTo>
                    <a:pt x="21525" y="0"/>
                  </a:lnTo>
                  <a:lnTo>
                    <a:pt x="45728" y="59680"/>
                  </a:lnTo>
                  <a:lnTo>
                    <a:pt x="45911" y="59680"/>
                  </a:lnTo>
                  <a:lnTo>
                    <a:pt x="70124" y="0"/>
                  </a:lnTo>
                  <a:lnTo>
                    <a:pt x="91639" y="0"/>
                  </a:lnTo>
                  <a:lnTo>
                    <a:pt x="56780" y="84886"/>
                  </a:lnTo>
                  <a:lnTo>
                    <a:pt x="34859" y="84886"/>
                  </a:lnTo>
                  <a:close/>
                </a:path>
              </a:pathLst>
            </a:custGeom>
            <a:solidFill>
              <a:srgbClr val="4E4B48"/>
            </a:solidFill>
            <a:ln w="1400" cap="flat">
              <a:noFill/>
              <a:prstDash val="solid"/>
              <a:miter/>
            </a:ln>
          </p:spPr>
          <p:txBody>
            <a:bodyPr wrap="square" rtlCol="0" anchor="ctr">
              <a:noAutofit/>
            </a:bodyPr>
            <a:lstStyle/>
            <a:p>
              <a:endParaRPr lang="en-GB" noProof="0"/>
            </a:p>
          </p:txBody>
        </p:sp>
      </p:grpSp>
      <p:sp>
        <p:nvSpPr>
          <p:cNvPr id="4" name="Date"/>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F7108E22-FA8B-483E-8A05-76281E453078}" type="datetime1">
              <a:rPr lang="sv-SE" noProof="0" smtClean="0"/>
              <a:t>2025-09-04</a:t>
            </a:fld>
            <a:endParaRPr lang="en-GB" noProof="0"/>
          </a:p>
        </p:txBody>
      </p:sp>
      <p:sp>
        <p:nvSpPr>
          <p:cNvPr id="23" name="Number">
            <a:extLst>
              <a:ext uri="{FF2B5EF4-FFF2-40B4-BE49-F238E27FC236}">
                <a16:creationId xmlns:a16="http://schemas.microsoft.com/office/drawing/2014/main" id="{AD23396C-F419-E04B-8B2D-18295DF77462}"/>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7" name="Footer">
            <a:extLst>
              <a:ext uri="{FF2B5EF4-FFF2-40B4-BE49-F238E27FC236}">
                <a16:creationId xmlns:a16="http://schemas.microsoft.com/office/drawing/2014/main" id="{8793D5AD-B13B-5B45-8FD0-9E8A3F8D760D}"/>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p:txBody>
      </p:sp>
      <p:sp>
        <p:nvSpPr>
          <p:cNvPr id="8" name="TextBox 7">
            <a:extLst>
              <a:ext uri="{FF2B5EF4-FFF2-40B4-BE49-F238E27FC236}">
                <a16:creationId xmlns:a16="http://schemas.microsoft.com/office/drawing/2014/main" id="{7786AC5F-5EF6-64B4-0911-2350A9109ADA}"/>
              </a:ext>
            </a:extLst>
          </p:cNvPr>
          <p:cNvSpPr txBox="1"/>
          <p:nvPr userDrawn="1">
            <p:extLst>
              <p:ext uri="{1162E1C5-73C7-4A58-AE30-91384D911F3F}">
                <p184:classification xmlns:p184="http://schemas.microsoft.com/office/powerpoint/2018/4/main" val="ftr"/>
              </p:ext>
            </p:extLst>
          </p:nvPr>
        </p:nvSpPr>
        <p:spPr>
          <a:xfrm>
            <a:off x="190500" y="4861560"/>
            <a:ext cx="965200" cy="91440"/>
          </a:xfrm>
          <a:prstGeom prst="rect">
            <a:avLst/>
          </a:prstGeom>
        </p:spPr>
        <p:txBody>
          <a:bodyPr horzOverflow="overflow" lIns="0" tIns="0" rIns="0" bIns="0">
            <a:spAutoFit/>
          </a:bodyPr>
          <a:lstStyle/>
          <a:p>
            <a:pPr algn="l"/>
            <a:r>
              <a:rPr lang="en-DE" sz="600">
                <a:solidFill>
                  <a:srgbClr val="737373"/>
                </a:solidFill>
                <a:latin typeface="Arial" panose="020B0604020202020204" pitchFamily="34" charset="0"/>
                <a:cs typeface="Arial" panose="020B0604020202020204" pitchFamily="34" charset="0"/>
              </a:rPr>
              <a:t>Confidentiality: C2 - Internal</a:t>
            </a:r>
          </a:p>
        </p:txBody>
      </p:sp>
    </p:spTree>
    <p:extLst>
      <p:ext uri="{BB962C8B-B14F-4D97-AF65-F5344CB8AC3E}">
        <p14:creationId xmlns:p14="http://schemas.microsoft.com/office/powerpoint/2010/main" val="1004503937"/>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 id="2147483797" r:id="rId24"/>
    <p:sldLayoutId id="2147483798" r:id="rId25"/>
    <p:sldLayoutId id="2147483799" r:id="rId26"/>
    <p:sldLayoutId id="2147483800" r:id="rId27"/>
    <p:sldLayoutId id="2147483801" r:id="rId28"/>
    <p:sldLayoutId id="2147483802" r:id="rId29"/>
    <p:sldLayoutId id="2147483803" r:id="rId30"/>
    <p:sldLayoutId id="2147483804" r:id="rId31"/>
    <p:sldLayoutId id="2147483805" r:id="rId32"/>
    <p:sldLayoutId id="2147483806" r:id="rId33"/>
    <p:sldLayoutId id="2147483807" r:id="rId34"/>
    <p:sldLayoutId id="2147483808" r:id="rId35"/>
    <p:sldLayoutId id="2147483809" r:id="rId36"/>
    <p:sldLayoutId id="2147483810" r:id="rId37"/>
    <p:sldLayoutId id="2147483811" r:id="rId38"/>
  </p:sldLayoutIdLst>
  <p:hf hdr="0" ftr="0" dt="0"/>
  <p:txStyles>
    <p:titleStyle>
      <a:lvl1pPr algn="l" defTabSz="685800" rtl="0" eaLnBrk="1" latinLnBrk="0" hangingPunct="1">
        <a:lnSpc>
          <a:spcPct val="95000"/>
        </a:lnSpc>
        <a:spcBef>
          <a:spcPct val="0"/>
        </a:spcBef>
        <a:buNone/>
        <a:defRPr sz="3000" b="1" kern="1200" spc="-50" baseline="0">
          <a:solidFill>
            <a:schemeClr val="tx1"/>
          </a:solidFill>
          <a:latin typeface="+mj-lt"/>
          <a:ea typeface="+mj-ea"/>
          <a:cs typeface="+mj-cs"/>
        </a:defRPr>
      </a:lvl1pPr>
    </p:titleStyle>
    <p:bodyStyle>
      <a:lvl1pPr marL="171450" indent="-171450" algn="l" defTabSz="685800" rtl="0" eaLnBrk="1" latinLnBrk="0" hangingPunct="1">
        <a:lnSpc>
          <a:spcPct val="100000"/>
        </a:lnSpc>
        <a:spcBef>
          <a:spcPts val="750"/>
        </a:spcBef>
        <a:buFont typeface="Arial" panose="020B0604020202020204" pitchFamily="34" charset="0"/>
        <a:buChar char="•"/>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375"/>
        </a:spcBef>
        <a:buFont typeface="Arial" panose="020B0604020202020204" pitchFamily="34" charset="0"/>
        <a:buChar char="•"/>
        <a:tabLst/>
        <a:defRPr sz="1200" kern="1200">
          <a:solidFill>
            <a:schemeClr val="tx1"/>
          </a:solidFill>
          <a:latin typeface="+mn-lt"/>
          <a:ea typeface="+mn-ea"/>
          <a:cs typeface="+mn-cs"/>
        </a:defRPr>
      </a:lvl2pPr>
      <a:lvl3pPr marL="534988" indent="-176213" algn="l" defTabSz="685800" rtl="0" eaLnBrk="1" latinLnBrk="0" hangingPunct="1">
        <a:lnSpc>
          <a:spcPct val="100000"/>
        </a:lnSpc>
        <a:spcBef>
          <a:spcPts val="375"/>
        </a:spcBef>
        <a:buFont typeface="Arial" panose="020B0604020202020204" pitchFamily="34" charset="0"/>
        <a:buChar char="•"/>
        <a:tabLst/>
        <a:defRPr sz="1200" kern="1200">
          <a:solidFill>
            <a:schemeClr val="tx1"/>
          </a:solidFill>
          <a:latin typeface="+mn-lt"/>
          <a:ea typeface="+mn-ea"/>
          <a:cs typeface="+mn-cs"/>
        </a:defRPr>
      </a:lvl3pPr>
      <a:lvl4pPr marL="714375" indent="-179388" algn="l" defTabSz="685800" rtl="0" eaLnBrk="1" latinLnBrk="0" hangingPunct="1">
        <a:lnSpc>
          <a:spcPct val="100000"/>
        </a:lnSpc>
        <a:spcBef>
          <a:spcPts val="375"/>
        </a:spcBef>
        <a:buFont typeface="Arial" panose="020B0604020202020204" pitchFamily="34" charset="0"/>
        <a:buChar char="•"/>
        <a:tabLst/>
        <a:defRPr sz="1200" kern="1200">
          <a:solidFill>
            <a:schemeClr val="tx1"/>
          </a:solidFill>
          <a:latin typeface="+mn-lt"/>
          <a:ea typeface="+mn-ea"/>
          <a:cs typeface="+mn-cs"/>
        </a:defRPr>
      </a:lvl4pPr>
      <a:lvl5pPr marL="889000" indent="-174625" algn="l" defTabSz="685800" rtl="0" eaLnBrk="1" latinLnBrk="0" hangingPunct="1">
        <a:lnSpc>
          <a:spcPct val="100000"/>
        </a:lnSpc>
        <a:spcBef>
          <a:spcPts val="375"/>
        </a:spcBef>
        <a:buFont typeface="Arial" panose="020B0604020202020204" pitchFamily="34" charset="0"/>
        <a:buChar char="•"/>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13">
          <p15:clr>
            <a:srgbClr val="F26B43"/>
          </p15:clr>
        </p15:guide>
        <p15:guide id="4" pos="5647">
          <p15:clr>
            <a:srgbClr val="F26B43"/>
          </p15:clr>
        </p15:guide>
        <p15:guide id="5" orient="horz" pos="100">
          <p15:clr>
            <a:srgbClr val="F26B43"/>
          </p15:clr>
        </p15:guide>
        <p15:guide id="6" orient="horz" pos="3049">
          <p15:clr>
            <a:srgbClr val="F26B43"/>
          </p15:clr>
        </p15:guide>
        <p15:guide id="7" pos="2925">
          <p15:clr>
            <a:srgbClr val="547EBF"/>
          </p15:clr>
        </p15:guide>
        <p15:guide id="8" pos="2835">
          <p15:clr>
            <a:srgbClr val="547EBF"/>
          </p15:clr>
        </p15:guide>
        <p15:guide id="9" pos="204">
          <p15:clr>
            <a:srgbClr val="547EBF"/>
          </p15:clr>
        </p15:guide>
        <p15:guide id="10" pos="5556">
          <p15:clr>
            <a:srgbClr val="547EBF"/>
          </p15:clr>
        </p15:guide>
        <p15:guide id="11" orient="horz" pos="169">
          <p15:clr>
            <a:srgbClr val="547EBF"/>
          </p15:clr>
        </p15:guide>
        <p15:guide id="12" orient="horz" pos="2958">
          <p15:clr>
            <a:srgbClr val="547EBF"/>
          </p15:clr>
        </p15:guide>
        <p15:guide id="16" pos="1111">
          <p15:clr>
            <a:srgbClr val="547EBF"/>
          </p15:clr>
        </p15:guide>
        <p15:guide id="17" pos="1927">
          <p15:clr>
            <a:srgbClr val="547EBF"/>
          </p15:clr>
        </p15:guide>
        <p15:guide id="18" pos="2018">
          <p15:clr>
            <a:srgbClr val="547EBF"/>
          </p15:clr>
        </p15:guide>
        <p15:guide id="19" pos="3742">
          <p15:clr>
            <a:srgbClr val="547EBF"/>
          </p15:clr>
        </p15:guide>
        <p15:guide id="20" pos="3833">
          <p15:clr>
            <a:srgbClr val="547EBF"/>
          </p15:clr>
        </p15:guide>
        <p15:guide id="21" pos="4649">
          <p15:clr>
            <a:srgbClr val="547EBF"/>
          </p15:clr>
        </p15:guide>
        <p15:guide id="22" pos="4740">
          <p15:clr>
            <a:srgbClr val="547EBF"/>
          </p15:clr>
        </p15:guide>
        <p15:guide id="24" pos="1020">
          <p15:clr>
            <a:srgbClr val="547EBF"/>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pic>
        <p:nvPicPr>
          <p:cNvPr id="14" name="Gartner Logo"/>
          <p:cNvPicPr>
            <a:picLocks noChangeAspect="1"/>
          </p:cNvPicPr>
          <p:nvPr userDrawn="1"/>
        </p:nvPicPr>
        <p:blipFill>
          <a:blip r:embed="rId35"/>
          <a:srcRect/>
          <a:stretch/>
        </p:blipFill>
        <p:spPr>
          <a:xfrm>
            <a:off x="7839745" y="4681294"/>
            <a:ext cx="960164" cy="219237"/>
          </a:xfrm>
          <a:prstGeom prst="rect">
            <a:avLst/>
          </a:prstGeom>
        </p:spPr>
      </p:pic>
      <p:sp>
        <p:nvSpPr>
          <p:cNvPr id="2" name="Title Placeholder 1"/>
          <p:cNvSpPr>
            <a:spLocks noGrp="1"/>
          </p:cNvSpPr>
          <p:nvPr>
            <p:ph type="title"/>
          </p:nvPr>
        </p:nvSpPr>
        <p:spPr>
          <a:xfrm>
            <a:off x="342900" y="275034"/>
            <a:ext cx="8457010" cy="332399"/>
          </a:xfrm>
          <a:prstGeom prst="rect">
            <a:avLst/>
          </a:prstGeom>
        </p:spPr>
        <p:txBody>
          <a:bodyPr vert="horz" wrap="square"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342900" y="1145381"/>
            <a:ext cx="8457010" cy="334565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pyright and Pg Num"/>
          <p:cNvSpPr txBox="1"/>
          <p:nvPr userDrawn="1"/>
        </p:nvSpPr>
        <p:spPr>
          <a:xfrm>
            <a:off x="342901" y="4806381"/>
            <a:ext cx="5386387" cy="103875"/>
          </a:xfrm>
          <a:prstGeom prst="rect">
            <a:avLst/>
          </a:prstGeom>
          <a:noFill/>
        </p:spPr>
        <p:txBody>
          <a:bodyPr wrap="square" lIns="0" tIns="0" rIns="0" bIns="0" rtlCol="0" anchor="b" anchorCtr="0">
            <a:spAutoFit/>
          </a:bodyPr>
          <a:lstStyle/>
          <a:p>
            <a:pPr marL="205740" marR="0" lvl="0" indent="-205740" algn="l" defTabSz="685800" rtl="0" eaLnBrk="1" fontAlgn="auto" latinLnBrk="0" hangingPunct="1">
              <a:lnSpc>
                <a:spcPct val="100000"/>
              </a:lnSpc>
              <a:spcBef>
                <a:spcPts val="0"/>
              </a:spcBef>
              <a:spcAft>
                <a:spcPts val="0"/>
              </a:spcAft>
              <a:buClrTx/>
              <a:buSzTx/>
              <a:buFontTx/>
              <a:buNone/>
              <a:tabLst>
                <a:tab pos="216694" algn="l"/>
              </a:tabLst>
              <a:defRPr/>
            </a:pPr>
            <a:fld id="{1CE9EA8B-DBE7-492B-893F-AD13AC039ED7}" type="slidenum">
              <a:rPr lang="en-US" sz="675" smtClean="0">
                <a:solidFill>
                  <a:srgbClr val="000000"/>
                </a:solidFill>
              </a:rPr>
              <a:pPr marL="205740" marR="0" lvl="0" indent="-205740" algn="l" defTabSz="685800" rtl="0" eaLnBrk="1" fontAlgn="auto" latinLnBrk="0" hangingPunct="1">
                <a:lnSpc>
                  <a:spcPct val="100000"/>
                </a:lnSpc>
                <a:spcBef>
                  <a:spcPts val="0"/>
                </a:spcBef>
                <a:spcAft>
                  <a:spcPts val="0"/>
                </a:spcAft>
                <a:buClrTx/>
                <a:buSzTx/>
                <a:buFontTx/>
                <a:buNone/>
                <a:tabLst>
                  <a:tab pos="216694" algn="l"/>
                </a:tabLst>
                <a:defRPr/>
              </a:pPr>
              <a:t>‹nr.›</a:t>
            </a:fld>
            <a:r>
              <a:rPr lang="en-US" sz="525" dirty="0">
                <a:solidFill>
                  <a:srgbClr val="6F7878"/>
                </a:solidFill>
              </a:rPr>
              <a:t>	© 2024 Gartner, Inc. and/or its affiliates. All rights reserved. Gartner is a registered trademark of Gartner, Inc. and its affiliates.</a:t>
            </a:r>
          </a:p>
        </p:txBody>
      </p:sp>
    </p:spTree>
    <p:extLst>
      <p:ext uri="{BB962C8B-B14F-4D97-AF65-F5344CB8AC3E}">
        <p14:creationId xmlns:p14="http://schemas.microsoft.com/office/powerpoint/2010/main" val="1347493676"/>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 id="2147483823" r:id="rId11"/>
    <p:sldLayoutId id="2147483824" r:id="rId12"/>
    <p:sldLayoutId id="2147483825" r:id="rId13"/>
    <p:sldLayoutId id="2147483826" r:id="rId14"/>
    <p:sldLayoutId id="2147483827" r:id="rId15"/>
    <p:sldLayoutId id="2147483828" r:id="rId16"/>
    <p:sldLayoutId id="2147483829" r:id="rId17"/>
    <p:sldLayoutId id="2147483830" r:id="rId18"/>
    <p:sldLayoutId id="2147483831" r:id="rId19"/>
    <p:sldLayoutId id="2147483832" r:id="rId20"/>
    <p:sldLayoutId id="2147483833" r:id="rId21"/>
    <p:sldLayoutId id="2147483834" r:id="rId22"/>
    <p:sldLayoutId id="2147483835" r:id="rId23"/>
    <p:sldLayoutId id="2147483836" r:id="rId24"/>
    <p:sldLayoutId id="2147483837" r:id="rId25"/>
    <p:sldLayoutId id="2147483838" r:id="rId26"/>
    <p:sldLayoutId id="2147483839" r:id="rId27"/>
    <p:sldLayoutId id="2147483840" r:id="rId28"/>
    <p:sldLayoutId id="2147483841" r:id="rId29"/>
    <p:sldLayoutId id="2147483842" r:id="rId30"/>
    <p:sldLayoutId id="2147483843" r:id="rId31"/>
    <p:sldLayoutId id="2147483844" r:id="rId32"/>
    <p:sldLayoutId id="2147483845" r:id="rId33"/>
  </p:sldLayoutIdLst>
  <p:hf hdr="0" ftr="0" dt="0"/>
  <p:txStyles>
    <p:titleStyle>
      <a:lvl1pPr algn="l" defTabSz="685800" rtl="0" eaLnBrk="1" latinLnBrk="0" hangingPunct="1">
        <a:lnSpc>
          <a:spcPct val="90000"/>
        </a:lnSpc>
        <a:spcBef>
          <a:spcPts val="900"/>
        </a:spcBef>
        <a:spcAft>
          <a:spcPts val="0"/>
        </a:spcAft>
        <a:buNone/>
        <a:defRPr sz="2400" b="0" kern="1200">
          <a:solidFill>
            <a:schemeClr val="tx2"/>
          </a:solidFill>
          <a:latin typeface="+mj-lt"/>
          <a:ea typeface="+mj-ea"/>
          <a:cs typeface="+mj-cs"/>
        </a:defRPr>
      </a:lvl1pPr>
    </p:titleStyle>
    <p:bodyStyle>
      <a:lvl1pPr marL="185166" indent="-185166" algn="l" defTabSz="685800" rtl="0" eaLnBrk="1" latinLnBrk="0" hangingPunct="1">
        <a:lnSpc>
          <a:spcPct val="90000"/>
        </a:lnSpc>
        <a:spcBef>
          <a:spcPts val="900"/>
        </a:spcBef>
        <a:spcAft>
          <a:spcPts val="0"/>
        </a:spcAft>
        <a:buClrTx/>
        <a:buSzPct val="100000"/>
        <a:buFont typeface="Arial" panose="020B0604020202020204" pitchFamily="34" charset="0"/>
        <a:buChar char="•"/>
        <a:defRPr sz="2100" kern="1200">
          <a:solidFill>
            <a:schemeClr val="tx1"/>
          </a:solidFill>
          <a:latin typeface="+mn-lt"/>
          <a:ea typeface="+mn-ea"/>
          <a:cs typeface="+mn-cs"/>
        </a:defRPr>
      </a:lvl1pPr>
      <a:lvl2pPr marL="555498" indent="-233172" algn="l" defTabSz="685800" rtl="0" eaLnBrk="1" latinLnBrk="0" hangingPunct="1">
        <a:lnSpc>
          <a:spcPct val="90000"/>
        </a:lnSpc>
        <a:spcBef>
          <a:spcPts val="900"/>
        </a:spcBef>
        <a:spcAft>
          <a:spcPts val="0"/>
        </a:spcAft>
        <a:buSzPct val="100000"/>
        <a:buFont typeface="Arial" panose="020B0604020202020204" pitchFamily="34" charset="0"/>
        <a:buChar char="–"/>
        <a:defRPr sz="1800" kern="1200">
          <a:solidFill>
            <a:schemeClr val="tx1"/>
          </a:solidFill>
          <a:latin typeface="+mn-lt"/>
          <a:ea typeface="+mn-ea"/>
          <a:cs typeface="+mn-cs"/>
        </a:defRPr>
      </a:lvl2pPr>
      <a:lvl3pPr marL="884682" indent="-185166" algn="l" defTabSz="685800" rtl="0" eaLnBrk="1" latinLnBrk="0" hangingPunct="1">
        <a:lnSpc>
          <a:spcPct val="90000"/>
        </a:lnSpc>
        <a:spcBef>
          <a:spcPts val="900"/>
        </a:spcBef>
        <a:spcAft>
          <a:spcPts val="0"/>
        </a:spcAft>
        <a:buSzPct val="100000"/>
        <a:buFont typeface="Arial" panose="020B0604020202020204" pitchFamily="34" charset="0"/>
        <a:buChar char="•"/>
        <a:defRPr sz="1800" kern="1200">
          <a:solidFill>
            <a:schemeClr val="tx1"/>
          </a:solidFill>
          <a:latin typeface="+mn-lt"/>
          <a:ea typeface="+mn-ea"/>
          <a:cs typeface="+mn-cs"/>
        </a:defRPr>
      </a:lvl3pPr>
      <a:lvl4pPr marL="1255014" indent="-240030" algn="l" defTabSz="685800" rtl="0" eaLnBrk="1" latinLnBrk="0" hangingPunct="1">
        <a:lnSpc>
          <a:spcPct val="90000"/>
        </a:lnSpc>
        <a:spcBef>
          <a:spcPts val="900"/>
        </a:spcBef>
        <a:spcAft>
          <a:spcPts val="0"/>
        </a:spcAft>
        <a:buSzPct val="100000"/>
        <a:buFont typeface="Arial" panose="020B0604020202020204" pitchFamily="34" charset="0"/>
        <a:buChar char="–"/>
        <a:defRPr sz="1800" kern="1200">
          <a:solidFill>
            <a:schemeClr val="tx1"/>
          </a:solidFill>
          <a:latin typeface="+mn-lt"/>
          <a:ea typeface="+mn-ea"/>
          <a:cs typeface="+mn-cs"/>
        </a:defRPr>
      </a:lvl4pPr>
      <a:lvl5pPr marL="1584198" indent="-185166" algn="l" defTabSz="685800" rtl="0" eaLnBrk="1" latinLnBrk="0" hangingPunct="1">
        <a:lnSpc>
          <a:spcPct val="90000"/>
        </a:lnSpc>
        <a:spcBef>
          <a:spcPts val="900"/>
        </a:spcBef>
        <a:spcAft>
          <a:spcPts val="0"/>
        </a:spcAft>
        <a:buSzPct val="100000"/>
        <a:buFont typeface="Arial" panose="020B0604020202020204" pitchFamily="34" charset="0"/>
        <a:buChar char="•"/>
        <a:defRPr sz="18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3" pos="288">
          <p15:clr>
            <a:srgbClr val="5ACBF0"/>
          </p15:clr>
        </p15:guide>
        <p15:guide id="4" orient="horz" pos="2160">
          <p15:clr>
            <a:srgbClr val="A4A3A4"/>
          </p15:clr>
        </p15:guide>
        <p15:guide id="5" orient="horz" pos="231">
          <p15:clr>
            <a:srgbClr val="5ACBF0"/>
          </p15:clr>
        </p15:guide>
        <p15:guide id="6" pos="7391">
          <p15:clr>
            <a:srgbClr val="5ACBF0"/>
          </p15:clr>
        </p15:guide>
        <p15:guide id="7" orient="horz" pos="3772">
          <p15:clr>
            <a:srgbClr val="FBAE40"/>
          </p15:clr>
        </p15:guide>
        <p15:guide id="9" orient="horz" pos="4110">
          <p15:clr>
            <a:srgbClr val="5ACBF0"/>
          </p15:clr>
        </p15:guide>
        <p15:guide id="10" orient="horz" pos="537">
          <p15:clr>
            <a:srgbClr val="FDE53C"/>
          </p15:clr>
        </p15:guide>
        <p15:guide id="11" orient="horz" pos="867">
          <p15:clr>
            <a:srgbClr val="FDE53C"/>
          </p15:clr>
        </p15:guide>
        <p15:guide id="12" orient="horz" pos="958">
          <p15:clr>
            <a:srgbClr val="5ACBF0"/>
          </p15:clr>
        </p15:guide>
        <p15:guide id="13" orient="horz" pos="4002">
          <p15:clr>
            <a:srgbClr val="5ACBF0"/>
          </p15:clr>
        </p15:guide>
        <p15:guide id="14" pos="3752">
          <p15:clr>
            <a:srgbClr val="5ACBF0"/>
          </p15:clr>
        </p15:guide>
        <p15:guide id="15" pos="3927">
          <p15:clr>
            <a:srgbClr val="5ACBF0"/>
          </p15:clr>
        </p15:guide>
        <p15:guide id="16" pos="2655">
          <p15:clr>
            <a:srgbClr val="5ACBF0"/>
          </p15:clr>
        </p15:guide>
        <p15:guide id="17" pos="5024">
          <p15:clr>
            <a:srgbClr val="5ACBF0"/>
          </p15:clr>
        </p15:guide>
        <p15:guide id="18" orient="horz" pos="3969">
          <p15:clr>
            <a:srgbClr val="9FCC3B"/>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2900" y="275034"/>
            <a:ext cx="8457010" cy="332399"/>
          </a:xfrm>
          <a:prstGeom prst="rect">
            <a:avLst/>
          </a:prstGeom>
        </p:spPr>
        <p:txBody>
          <a:bodyPr vert="horz" wrap="square"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342900" y="1145381"/>
            <a:ext cx="8457010" cy="3345655"/>
          </a:xfrm>
          <a:prstGeom prst="rect">
            <a:avLst/>
          </a:prstGeom>
        </p:spPr>
        <p:txBody>
          <a:bodyPr vert="horz" lIns="0" tIns="0" rIns="0" bIns="0" rtlCol="0">
            <a:noAutofit/>
          </a:bodyPr>
          <a:lstStyle/>
          <a:p>
            <a:pPr marL="185166" lvl="0" indent="-185166"/>
            <a:r>
              <a:rPr lang="en-US"/>
              <a:t>Edit Master text styles</a:t>
            </a:r>
          </a:p>
          <a:p>
            <a:pPr marL="555498" lvl="1" indent="-233172">
              <a:buSzPct val="100000"/>
            </a:pPr>
            <a:r>
              <a:rPr lang="en-US"/>
              <a:t>Second level</a:t>
            </a:r>
          </a:p>
          <a:p>
            <a:pPr marL="884682" lvl="2" indent="-185166"/>
            <a:r>
              <a:rPr lang="en-US"/>
              <a:t>Third level</a:t>
            </a:r>
          </a:p>
          <a:p>
            <a:pPr marL="1255014" lvl="3" indent="-240030">
              <a:buSzPct val="100000"/>
            </a:pPr>
            <a:r>
              <a:rPr lang="en-US"/>
              <a:t>Fourth level</a:t>
            </a:r>
          </a:p>
          <a:p>
            <a:pPr marL="1584198" lvl="4" indent="-185166"/>
            <a:r>
              <a:rPr lang="en-US"/>
              <a:t>Fifth level</a:t>
            </a:r>
          </a:p>
        </p:txBody>
      </p:sp>
      <p:sp>
        <p:nvSpPr>
          <p:cNvPr id="10" name="Copyright and Pg Num"/>
          <p:cNvSpPr txBox="1"/>
          <p:nvPr userDrawn="1"/>
        </p:nvSpPr>
        <p:spPr>
          <a:xfrm>
            <a:off x="342901" y="4806381"/>
            <a:ext cx="5386387" cy="103875"/>
          </a:xfrm>
          <a:prstGeom prst="rect">
            <a:avLst/>
          </a:prstGeom>
          <a:noFill/>
        </p:spPr>
        <p:txBody>
          <a:bodyPr wrap="square" lIns="0" tIns="0" rIns="0" bIns="0" rtlCol="0" anchor="b" anchorCtr="0">
            <a:spAutoFit/>
          </a:bodyPr>
          <a:lstStyle/>
          <a:p>
            <a:pPr marL="171450" marR="0" lvl="0" indent="-171450" algn="l" defTabSz="685800" rtl="0" eaLnBrk="1" fontAlgn="auto" latinLnBrk="0" hangingPunct="1">
              <a:lnSpc>
                <a:spcPct val="100000"/>
              </a:lnSpc>
              <a:spcBef>
                <a:spcPts val="0"/>
              </a:spcBef>
              <a:spcAft>
                <a:spcPts val="0"/>
              </a:spcAft>
              <a:buClrTx/>
              <a:buSzTx/>
              <a:buFontTx/>
              <a:buNone/>
              <a:tabLst>
                <a:tab pos="171450" algn="l"/>
              </a:tabLst>
              <a:defRPr/>
            </a:pPr>
            <a:fld id="{1CE9EA8B-DBE7-492B-893F-AD13AC039ED7}" type="slidenum">
              <a:rPr lang="en-US" sz="675" smtClean="0">
                <a:solidFill>
                  <a:schemeClr val="tx1"/>
                </a:solidFill>
              </a:rPr>
              <a:pPr marL="171450" marR="0" lvl="0" indent="-171450" algn="l" defTabSz="685800" rtl="0" eaLnBrk="1" fontAlgn="auto" latinLnBrk="0" hangingPunct="1">
                <a:lnSpc>
                  <a:spcPct val="100000"/>
                </a:lnSpc>
                <a:spcBef>
                  <a:spcPts val="0"/>
                </a:spcBef>
                <a:spcAft>
                  <a:spcPts val="0"/>
                </a:spcAft>
                <a:buClrTx/>
                <a:buSzTx/>
                <a:buFontTx/>
                <a:buNone/>
                <a:tabLst>
                  <a:tab pos="171450" algn="l"/>
                </a:tabLst>
                <a:defRPr/>
              </a:pPr>
              <a:t>‹nr.›</a:t>
            </a:fld>
            <a:r>
              <a:rPr lang="en-US" sz="525" dirty="0">
                <a:solidFill>
                  <a:srgbClr val="BDBDBD"/>
                </a:solidFill>
              </a:rPr>
              <a:t>	© 2024 Gartner, Inc. and/or its affiliates. All rights reserved. Gartner is a registered trademark of Gartner, Inc. and its affiliates.</a:t>
            </a:r>
          </a:p>
        </p:txBody>
      </p:sp>
      <p:pic>
        <p:nvPicPr>
          <p:cNvPr id="6" name="Gartner Logo">
            <a:extLst>
              <a:ext uri="{FF2B5EF4-FFF2-40B4-BE49-F238E27FC236}">
                <a16:creationId xmlns:a16="http://schemas.microsoft.com/office/drawing/2014/main" id="{70D83CAB-033A-4776-AB08-6451D3DAE8B9}"/>
              </a:ext>
            </a:extLst>
          </p:cNvPr>
          <p:cNvPicPr>
            <a:picLocks noChangeAspect="1"/>
          </p:cNvPicPr>
          <p:nvPr userDrawn="1"/>
        </p:nvPicPr>
        <p:blipFill>
          <a:blip r:embed="rId35"/>
          <a:srcRect/>
          <a:stretch/>
        </p:blipFill>
        <p:spPr bwMode="black">
          <a:xfrm>
            <a:off x="7839746" y="4681294"/>
            <a:ext cx="960162" cy="219236"/>
          </a:xfrm>
          <a:prstGeom prst="rect">
            <a:avLst/>
          </a:prstGeom>
        </p:spPr>
      </p:pic>
    </p:spTree>
    <p:extLst>
      <p:ext uri="{BB962C8B-B14F-4D97-AF65-F5344CB8AC3E}">
        <p14:creationId xmlns:p14="http://schemas.microsoft.com/office/powerpoint/2010/main" val="461452206"/>
      </p:ext>
    </p:extLst>
  </p:cSld>
  <p:clrMap bg1="dk1" tx1="lt1" bg2="dk2" tx2="lt2" accent1="accent1" accent2="accent2" accent3="accent3" accent4="accent4" accent5="accent5" accent6="accent6" hlink="hlink" folHlink="folHlink"/>
  <p:sldLayoutIdLst>
    <p:sldLayoutId id="2147483847"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 id="2147483858" r:id="rId12"/>
    <p:sldLayoutId id="2147483859" r:id="rId13"/>
    <p:sldLayoutId id="2147483860" r:id="rId14"/>
    <p:sldLayoutId id="2147483861" r:id="rId15"/>
    <p:sldLayoutId id="2147483862" r:id="rId16"/>
    <p:sldLayoutId id="2147483863" r:id="rId17"/>
    <p:sldLayoutId id="2147483864" r:id="rId18"/>
    <p:sldLayoutId id="2147483865" r:id="rId19"/>
    <p:sldLayoutId id="2147483866" r:id="rId20"/>
    <p:sldLayoutId id="2147483867" r:id="rId21"/>
    <p:sldLayoutId id="2147483868" r:id="rId22"/>
    <p:sldLayoutId id="2147483869" r:id="rId23"/>
    <p:sldLayoutId id="2147483870" r:id="rId24"/>
    <p:sldLayoutId id="2147483871" r:id="rId25"/>
    <p:sldLayoutId id="2147483872" r:id="rId26"/>
    <p:sldLayoutId id="2147483873" r:id="rId27"/>
    <p:sldLayoutId id="2147483874" r:id="rId28"/>
    <p:sldLayoutId id="2147483875" r:id="rId29"/>
    <p:sldLayoutId id="2147483876" r:id="rId30"/>
    <p:sldLayoutId id="2147483877" r:id="rId31"/>
    <p:sldLayoutId id="2147483878" r:id="rId32"/>
    <p:sldLayoutId id="2147483879" r:id="rId33"/>
  </p:sldLayoutIdLst>
  <p:hf hdr="0" ftr="0" dt="0"/>
  <p:txStyles>
    <p:titleStyle>
      <a:lvl1pPr algn="l" defTabSz="685800" rtl="0" eaLnBrk="1" latinLnBrk="0" hangingPunct="1">
        <a:lnSpc>
          <a:spcPct val="90000"/>
        </a:lnSpc>
        <a:spcBef>
          <a:spcPts val="900"/>
        </a:spcBef>
        <a:spcAft>
          <a:spcPts val="0"/>
        </a:spcAft>
        <a:buNone/>
        <a:defRPr sz="2400" b="0" kern="1200">
          <a:solidFill>
            <a:schemeClr val="tx2"/>
          </a:solidFill>
          <a:latin typeface="+mj-lt"/>
          <a:ea typeface="+mj-ea"/>
          <a:cs typeface="+mj-cs"/>
        </a:defRPr>
      </a:lvl1pPr>
    </p:titleStyle>
    <p:bodyStyle>
      <a:lvl1pPr marL="205740" indent="-205740" algn="l" defTabSz="685800" rtl="0" eaLnBrk="1" latinLnBrk="0" hangingPunct="1">
        <a:lnSpc>
          <a:spcPct val="90000"/>
        </a:lnSpc>
        <a:spcBef>
          <a:spcPts val="900"/>
        </a:spcBef>
        <a:spcAft>
          <a:spcPts val="0"/>
        </a:spcAft>
        <a:buClrTx/>
        <a:buSzPct val="100000"/>
        <a:buFont typeface="Arial" panose="020B0604020202020204" pitchFamily="34" charset="0"/>
        <a:buChar char="•"/>
        <a:defRPr lang="en-US" sz="2100" kern="1200" dirty="0">
          <a:solidFill>
            <a:schemeClr val="tx1"/>
          </a:solidFill>
          <a:latin typeface="+mn-lt"/>
          <a:ea typeface="+mn-ea"/>
          <a:cs typeface="+mn-cs"/>
        </a:defRPr>
      </a:lvl1pPr>
      <a:lvl2pPr marL="480060" indent="-205740" algn="l" defTabSz="685800" rtl="0" eaLnBrk="1" latinLnBrk="0" hangingPunct="1">
        <a:lnSpc>
          <a:spcPct val="90000"/>
        </a:lnSpc>
        <a:spcBef>
          <a:spcPts val="900"/>
        </a:spcBef>
        <a:spcAft>
          <a:spcPts val="0"/>
        </a:spcAft>
        <a:buSzPct val="90000"/>
        <a:buFont typeface="Arial" panose="020B0604020202020204" pitchFamily="34" charset="0"/>
        <a:buChar char="–"/>
        <a:defRPr lang="en-US" sz="1800" kern="1200" dirty="0">
          <a:solidFill>
            <a:schemeClr val="tx1"/>
          </a:solidFill>
          <a:latin typeface="+mn-lt"/>
          <a:ea typeface="+mn-ea"/>
          <a:cs typeface="+mn-cs"/>
        </a:defRPr>
      </a:lvl2pPr>
      <a:lvl3pPr marL="685800" indent="-171450" algn="l" defTabSz="685800" rtl="0" eaLnBrk="1" latinLnBrk="0" hangingPunct="1">
        <a:lnSpc>
          <a:spcPct val="90000"/>
        </a:lnSpc>
        <a:spcBef>
          <a:spcPts val="900"/>
        </a:spcBef>
        <a:spcAft>
          <a:spcPts val="0"/>
        </a:spcAft>
        <a:buSzPct val="100000"/>
        <a:buFont typeface="Arial" panose="020B0604020202020204" pitchFamily="34" charset="0"/>
        <a:buChar char="•"/>
        <a:defRPr lang="en-US" sz="1800" kern="1200" dirty="0">
          <a:solidFill>
            <a:schemeClr val="tx1"/>
          </a:solidFill>
          <a:latin typeface="+mn-lt"/>
          <a:ea typeface="+mn-ea"/>
          <a:cs typeface="+mn-cs"/>
        </a:defRPr>
      </a:lvl3pPr>
      <a:lvl4pPr marL="960120" indent="-205740" algn="l" defTabSz="685800" rtl="0" eaLnBrk="1" latinLnBrk="0" hangingPunct="1">
        <a:lnSpc>
          <a:spcPct val="90000"/>
        </a:lnSpc>
        <a:spcBef>
          <a:spcPts val="900"/>
        </a:spcBef>
        <a:spcAft>
          <a:spcPts val="0"/>
        </a:spcAft>
        <a:buSzPct val="90000"/>
        <a:buFont typeface="Arial" panose="020B0604020202020204" pitchFamily="34" charset="0"/>
        <a:buChar char="–"/>
        <a:defRPr lang="en-US" sz="1800" kern="1200" dirty="0">
          <a:solidFill>
            <a:schemeClr val="tx1"/>
          </a:solidFill>
          <a:latin typeface="+mn-lt"/>
          <a:ea typeface="+mn-ea"/>
          <a:cs typeface="+mn-cs"/>
        </a:defRPr>
      </a:lvl4pPr>
      <a:lvl5pPr marL="1165860" indent="-171450" algn="l" defTabSz="685800" rtl="0" eaLnBrk="1" latinLnBrk="0" hangingPunct="1">
        <a:lnSpc>
          <a:spcPct val="90000"/>
        </a:lnSpc>
        <a:spcBef>
          <a:spcPts val="900"/>
        </a:spcBef>
        <a:spcAft>
          <a:spcPts val="0"/>
        </a:spcAft>
        <a:buSzPct val="100000"/>
        <a:buFont typeface="Arial" panose="020B0604020202020204" pitchFamily="34" charset="0"/>
        <a:buChar char="•"/>
        <a:defRPr lang="en-US" sz="1800" kern="1200" dirty="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3" pos="288">
          <p15:clr>
            <a:srgbClr val="5ACBF0"/>
          </p15:clr>
        </p15:guide>
        <p15:guide id="4" orient="horz" pos="2160">
          <p15:clr>
            <a:srgbClr val="A4A3A4"/>
          </p15:clr>
        </p15:guide>
        <p15:guide id="5" orient="horz" pos="231">
          <p15:clr>
            <a:srgbClr val="5ACBF0"/>
          </p15:clr>
        </p15:guide>
        <p15:guide id="6" pos="7391">
          <p15:clr>
            <a:srgbClr val="5ACBF0"/>
          </p15:clr>
        </p15:guide>
        <p15:guide id="7" orient="horz" pos="3772">
          <p15:clr>
            <a:srgbClr val="FBAE40"/>
          </p15:clr>
        </p15:guide>
        <p15:guide id="9" orient="horz" pos="4110">
          <p15:clr>
            <a:srgbClr val="5ACBF0"/>
          </p15:clr>
        </p15:guide>
        <p15:guide id="10" orient="horz" pos="537">
          <p15:clr>
            <a:srgbClr val="FDE53C"/>
          </p15:clr>
        </p15:guide>
        <p15:guide id="11" orient="horz" pos="846">
          <p15:clr>
            <a:srgbClr val="FDE53C"/>
          </p15:clr>
        </p15:guide>
        <p15:guide id="12" orient="horz" pos="962">
          <p15:clr>
            <a:srgbClr val="5ACBF0"/>
          </p15:clr>
        </p15:guide>
        <p15:guide id="13" orient="horz" pos="4002">
          <p15:clr>
            <a:srgbClr val="5ACBF0"/>
          </p15:clr>
        </p15:guide>
        <p15:guide id="14" pos="3752">
          <p15:clr>
            <a:srgbClr val="5ACBF0"/>
          </p15:clr>
        </p15:guide>
        <p15:guide id="15" pos="3927">
          <p15:clr>
            <a:srgbClr val="5ACBF0"/>
          </p15:clr>
        </p15:guide>
        <p15:guide id="16" pos="2655">
          <p15:clr>
            <a:srgbClr val="5ACBF0"/>
          </p15:clr>
        </p15:guide>
        <p15:guide id="17" pos="5024">
          <p15:clr>
            <a:srgbClr val="5ACBF0"/>
          </p15:clr>
        </p15:guide>
        <p15:guide id="18" orient="horz" pos="3969">
          <p15:clr>
            <a:srgbClr val="9FCC3B"/>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6EEB62BE-1CD1-B47F-87A7-CBA4EDF1707E}"/>
              </a:ext>
            </a:extLst>
          </p:cNvPr>
          <p:cNvGraphicFramePr>
            <a:graphicFrameLocks noChangeAspect="1"/>
          </p:cNvGraphicFramePr>
          <p:nvPr userDrawn="1">
            <p:custDataLst>
              <p:tags r:id="rId42"/>
            </p:custDataLst>
            <p:extLst>
              <p:ext uri="{D42A27DB-BD31-4B8C-83A1-F6EECF244321}">
                <p14:modId xmlns:p14="http://schemas.microsoft.com/office/powerpoint/2010/main" val="83303614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3" imgW="592" imgH="595" progId="TCLayout.ActiveDocument.1">
                  <p:embed/>
                </p:oleObj>
              </mc:Choice>
              <mc:Fallback>
                <p:oleObj name="think-cell Slide" r:id="rId43" imgW="592" imgH="595" progId="TCLayout.ActiveDocument.1">
                  <p:embed/>
                  <p:pic>
                    <p:nvPicPr>
                      <p:cNvPr id="9" name="think-cell data - do not delete" hidden="1">
                        <a:extLst>
                          <a:ext uri="{FF2B5EF4-FFF2-40B4-BE49-F238E27FC236}">
                            <a16:creationId xmlns:a16="http://schemas.microsoft.com/office/drawing/2014/main" id="{6EEB62BE-1CD1-B47F-87A7-CBA4EDF1707E}"/>
                          </a:ext>
                        </a:extLst>
                      </p:cNvPr>
                      <p:cNvPicPr/>
                      <p:nvPr/>
                    </p:nvPicPr>
                    <p:blipFill>
                      <a:blip r:embed="rId44"/>
                      <a:stretch>
                        <a:fillRect/>
                      </a:stretch>
                    </p:blipFill>
                    <p:spPr>
                      <a:xfrm>
                        <a:off x="1589" y="1589"/>
                        <a:ext cx="1588" cy="1588"/>
                      </a:xfrm>
                      <a:prstGeom prst="rect">
                        <a:avLst/>
                      </a:prstGeom>
                    </p:spPr>
                  </p:pic>
                </p:oleObj>
              </mc:Fallback>
            </mc:AlternateContent>
          </a:graphicData>
        </a:graphic>
      </p:graphicFrame>
      <p:sp>
        <p:nvSpPr>
          <p:cNvPr id="2" name="Title"/>
          <p:cNvSpPr>
            <a:spLocks noGrp="1"/>
          </p:cNvSpPr>
          <p:nvPr>
            <p:ph type="title"/>
          </p:nvPr>
        </p:nvSpPr>
        <p:spPr>
          <a:xfrm>
            <a:off x="323850" y="525600"/>
            <a:ext cx="8496300" cy="1560972"/>
          </a:xfrm>
          <a:prstGeom prst="rect">
            <a:avLst/>
          </a:prstGeom>
        </p:spPr>
        <p:txBody>
          <a:bodyPr vert="horz" lIns="91440" tIns="45720" rIns="91440" bIns="45720" rtlCol="0" anchor="t">
            <a:noAutofit/>
          </a:bodyPr>
          <a:lstStyle/>
          <a:p>
            <a:r>
              <a:rPr lang="en-GB" noProof="0"/>
              <a:t>Click to edit Master title slide</a:t>
            </a:r>
          </a:p>
        </p:txBody>
      </p:sp>
      <p:sp>
        <p:nvSpPr>
          <p:cNvPr id="3" name="Text"/>
          <p:cNvSpPr>
            <a:spLocks noGrp="1"/>
          </p:cNvSpPr>
          <p:nvPr>
            <p:ph type="body" idx="1"/>
          </p:nvPr>
        </p:nvSpPr>
        <p:spPr>
          <a:xfrm>
            <a:off x="323850" y="2103439"/>
            <a:ext cx="8496300" cy="2613680"/>
          </a:xfrm>
          <a:prstGeom prst="rect">
            <a:avLst/>
          </a:prstGeom>
        </p:spPr>
        <p:txBody>
          <a:bodyPr vert="horz" lIns="90000" tIns="45720" rIns="90000" bIns="45720" rtlCol="0">
            <a:noAutofit/>
          </a:bodyPr>
          <a:lstStyle/>
          <a:p>
            <a:pPr lvl="0"/>
            <a:r>
              <a:rPr lang="en-GB" noProof="0"/>
              <a:t>Click to edit Master text slid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9" name="Frihandsfigur 38">
            <a:extLst>
              <a:ext uri="{FF2B5EF4-FFF2-40B4-BE49-F238E27FC236}">
                <a16:creationId xmlns:a16="http://schemas.microsoft.com/office/drawing/2014/main" id="{E1BCAB34-53D3-7A48-9E69-B9D2FB9E2C35}"/>
              </a:ext>
            </a:extLst>
          </p:cNvPr>
          <p:cNvSpPr/>
          <p:nvPr userDrawn="1"/>
        </p:nvSpPr>
        <p:spPr>
          <a:xfrm rot="5400000">
            <a:off x="2000250" y="-2000250"/>
            <a:ext cx="5143500" cy="9144000"/>
          </a:xfrm>
          <a:custGeom>
            <a:avLst/>
            <a:gdLst>
              <a:gd name="connsiteX0" fmla="*/ 158750 w 5143500"/>
              <a:gd name="connsiteY0" fmla="*/ 8964612 h 9144000"/>
              <a:gd name="connsiteX1" fmla="*/ 4840289 w 5143500"/>
              <a:gd name="connsiteY1" fmla="*/ 8964612 h 9144000"/>
              <a:gd name="connsiteX2" fmla="*/ 4840289 w 5143500"/>
              <a:gd name="connsiteY2" fmla="*/ 179389 h 9144000"/>
              <a:gd name="connsiteX3" fmla="*/ 158750 w 5143500"/>
              <a:gd name="connsiteY3" fmla="*/ 179389 h 9144000"/>
              <a:gd name="connsiteX4" fmla="*/ 0 w 5143500"/>
              <a:gd name="connsiteY4" fmla="*/ 179389 h 9144000"/>
              <a:gd name="connsiteX5" fmla="*/ 0 w 5143500"/>
              <a:gd name="connsiteY5" fmla="*/ 0 h 9144000"/>
              <a:gd name="connsiteX6" fmla="*/ 5143500 w 5143500"/>
              <a:gd name="connsiteY6" fmla="*/ 0 h 9144000"/>
              <a:gd name="connsiteX7" fmla="*/ 5143500 w 5143500"/>
              <a:gd name="connsiteY7" fmla="*/ 25398 h 9144000"/>
              <a:gd name="connsiteX8" fmla="*/ 5143500 w 5143500"/>
              <a:gd name="connsiteY8" fmla="*/ 25398 h 9144000"/>
              <a:gd name="connsiteX9" fmla="*/ 5143500 w 5143500"/>
              <a:gd name="connsiteY9" fmla="*/ 9033715 h 9144000"/>
              <a:gd name="connsiteX10" fmla="*/ 5143499 w 5143500"/>
              <a:gd name="connsiteY10" fmla="*/ 9033715 h 9144000"/>
              <a:gd name="connsiteX11" fmla="*/ 5143499 w 5143500"/>
              <a:gd name="connsiteY11" fmla="*/ 9144000 h 9144000"/>
              <a:gd name="connsiteX12" fmla="*/ 0 w 5143500"/>
              <a:gd name="connsiteY12" fmla="*/ 9144000 h 9144000"/>
              <a:gd name="connsiteX13" fmla="*/ 0 w 5143500"/>
              <a:gd name="connsiteY13" fmla="*/ 9033714 h 9144000"/>
              <a:gd name="connsiteX14" fmla="*/ 0 w 5143500"/>
              <a:gd name="connsiteY14" fmla="*/ 9033714 h 9144000"/>
              <a:gd name="connsiteX15" fmla="*/ 0 w 5143500"/>
              <a:gd name="connsiteY15" fmla="*/ 179389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143500" h="9144000">
                <a:moveTo>
                  <a:pt x="158750" y="8964612"/>
                </a:moveTo>
                <a:lnTo>
                  <a:pt x="4840289" y="8964612"/>
                </a:lnTo>
                <a:lnTo>
                  <a:pt x="4840289" y="179389"/>
                </a:lnTo>
                <a:lnTo>
                  <a:pt x="158750" y="179389"/>
                </a:lnTo>
                <a:close/>
                <a:moveTo>
                  <a:pt x="0" y="179389"/>
                </a:moveTo>
                <a:lnTo>
                  <a:pt x="0" y="0"/>
                </a:lnTo>
                <a:lnTo>
                  <a:pt x="5143500" y="0"/>
                </a:lnTo>
                <a:lnTo>
                  <a:pt x="5143500" y="25398"/>
                </a:lnTo>
                <a:lnTo>
                  <a:pt x="5143500" y="25398"/>
                </a:lnTo>
                <a:lnTo>
                  <a:pt x="5143500" y="9033715"/>
                </a:lnTo>
                <a:lnTo>
                  <a:pt x="5143499" y="9033715"/>
                </a:lnTo>
                <a:lnTo>
                  <a:pt x="5143499" y="9144000"/>
                </a:lnTo>
                <a:lnTo>
                  <a:pt x="0" y="9144000"/>
                </a:lnTo>
                <a:lnTo>
                  <a:pt x="0" y="9033714"/>
                </a:lnTo>
                <a:lnTo>
                  <a:pt x="0" y="9033714"/>
                </a:lnTo>
                <a:lnTo>
                  <a:pt x="0" y="17938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800"/>
          </a:p>
        </p:txBody>
      </p:sp>
      <p:grpSp>
        <p:nvGrpSpPr>
          <p:cNvPr id="5" name="Logo">
            <a:extLst>
              <a:ext uri="{FF2B5EF4-FFF2-40B4-BE49-F238E27FC236}">
                <a16:creationId xmlns:a16="http://schemas.microsoft.com/office/drawing/2014/main" id="{133EFDB0-08D2-CA41-9A6F-D93000386FD2}"/>
              </a:ext>
            </a:extLst>
          </p:cNvPr>
          <p:cNvGrpSpPr/>
          <p:nvPr userDrawn="1"/>
        </p:nvGrpSpPr>
        <p:grpSpPr>
          <a:xfrm>
            <a:off x="4085649" y="4917137"/>
            <a:ext cx="972702" cy="148746"/>
            <a:chOff x="4085649" y="4917137"/>
            <a:chExt cx="972702" cy="148746"/>
          </a:xfrm>
        </p:grpSpPr>
        <p:sp>
          <p:nvSpPr>
            <p:cNvPr id="25" name="Frihandsfigur 24">
              <a:extLst>
                <a:ext uri="{FF2B5EF4-FFF2-40B4-BE49-F238E27FC236}">
                  <a16:creationId xmlns:a16="http://schemas.microsoft.com/office/drawing/2014/main" id="{D0B20966-557B-FD4C-AEFD-237DB58109CE}"/>
                </a:ext>
              </a:extLst>
            </p:cNvPr>
            <p:cNvSpPr/>
            <p:nvPr/>
          </p:nvSpPr>
          <p:spPr>
            <a:xfrm>
              <a:off x="4909411" y="4917137"/>
              <a:ext cx="148940" cy="74384"/>
            </a:xfrm>
            <a:custGeom>
              <a:avLst/>
              <a:gdLst>
                <a:gd name="connsiteX0" fmla="*/ 108621 w 217242"/>
                <a:gd name="connsiteY0" fmla="*/ 0 h 108497"/>
                <a:gd name="connsiteX1" fmla="*/ 0 w 217242"/>
                <a:gd name="connsiteY1" fmla="*/ 108498 h 108497"/>
                <a:gd name="connsiteX2" fmla="*/ 217243 w 217242"/>
                <a:gd name="connsiteY2" fmla="*/ 108498 h 108497"/>
                <a:gd name="connsiteX3" fmla="*/ 108650 w 217242"/>
                <a:gd name="connsiteY3" fmla="*/ 0 h 108497"/>
                <a:gd name="connsiteX4" fmla="*/ 108621 w 217242"/>
                <a:gd name="connsiteY4" fmla="*/ 0 h 108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242" h="108497">
                  <a:moveTo>
                    <a:pt x="108621" y="0"/>
                  </a:moveTo>
                  <a:cubicBezTo>
                    <a:pt x="48632" y="0"/>
                    <a:pt x="0" y="48576"/>
                    <a:pt x="0" y="108498"/>
                  </a:cubicBezTo>
                  <a:lnTo>
                    <a:pt x="217243" y="108498"/>
                  </a:lnTo>
                  <a:cubicBezTo>
                    <a:pt x="217257" y="48584"/>
                    <a:pt x="168632" y="8"/>
                    <a:pt x="108650" y="0"/>
                  </a:cubicBezTo>
                  <a:cubicBezTo>
                    <a:pt x="108640" y="0"/>
                    <a:pt x="108631" y="0"/>
                    <a:pt x="108621" y="0"/>
                  </a:cubicBezTo>
                  <a:close/>
                </a:path>
              </a:pathLst>
            </a:custGeom>
            <a:solidFill>
              <a:srgbClr val="FFDA00"/>
            </a:solidFill>
            <a:ln w="1400" cap="flat">
              <a:noFill/>
              <a:prstDash val="solid"/>
              <a:miter/>
            </a:ln>
          </p:spPr>
          <p:txBody>
            <a:bodyPr rtlCol="0" anchor="ctr"/>
            <a:lstStyle/>
            <a:p>
              <a:endParaRPr lang="en-GB" sz="1800" noProof="0"/>
            </a:p>
          </p:txBody>
        </p:sp>
        <p:sp>
          <p:nvSpPr>
            <p:cNvPr id="26" name="Frihandsfigur 25">
              <a:extLst>
                <a:ext uri="{FF2B5EF4-FFF2-40B4-BE49-F238E27FC236}">
                  <a16:creationId xmlns:a16="http://schemas.microsoft.com/office/drawing/2014/main" id="{971B17A3-E306-2242-BA24-C3FEA7450426}"/>
                </a:ext>
              </a:extLst>
            </p:cNvPr>
            <p:cNvSpPr/>
            <p:nvPr/>
          </p:nvSpPr>
          <p:spPr>
            <a:xfrm>
              <a:off x="4909411" y="4991508"/>
              <a:ext cx="148940" cy="74375"/>
            </a:xfrm>
            <a:custGeom>
              <a:avLst/>
              <a:gdLst>
                <a:gd name="connsiteX0" fmla="*/ 108621 w 217242"/>
                <a:gd name="connsiteY0" fmla="*/ 108484 h 108483"/>
                <a:gd name="connsiteX1" fmla="*/ 0 w 217242"/>
                <a:gd name="connsiteY1" fmla="*/ 0 h 108483"/>
                <a:gd name="connsiteX2" fmla="*/ 217243 w 217242"/>
                <a:gd name="connsiteY2" fmla="*/ 0 h 108483"/>
                <a:gd name="connsiteX3" fmla="*/ 108636 w 217242"/>
                <a:gd name="connsiteY3" fmla="*/ 108484 h 108483"/>
                <a:gd name="connsiteX4" fmla="*/ 108621 w 217242"/>
                <a:gd name="connsiteY4" fmla="*/ 108484 h 108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242" h="108483">
                  <a:moveTo>
                    <a:pt x="108621" y="108484"/>
                  </a:moveTo>
                  <a:cubicBezTo>
                    <a:pt x="48637" y="108484"/>
                    <a:pt x="7" y="59916"/>
                    <a:pt x="0" y="0"/>
                  </a:cubicBezTo>
                  <a:lnTo>
                    <a:pt x="217243" y="0"/>
                  </a:lnTo>
                  <a:cubicBezTo>
                    <a:pt x="217243" y="59914"/>
                    <a:pt x="168618" y="108484"/>
                    <a:pt x="108636" y="108484"/>
                  </a:cubicBezTo>
                  <a:cubicBezTo>
                    <a:pt x="108631" y="108484"/>
                    <a:pt x="108626" y="108484"/>
                    <a:pt x="108621" y="108484"/>
                  </a:cubicBezTo>
                  <a:close/>
                </a:path>
              </a:pathLst>
            </a:custGeom>
            <a:solidFill>
              <a:srgbClr val="2071B5"/>
            </a:solidFill>
            <a:ln w="1400" cap="flat">
              <a:noFill/>
              <a:prstDash val="solid"/>
              <a:miter/>
            </a:ln>
          </p:spPr>
          <p:txBody>
            <a:bodyPr rtlCol="0" anchor="ctr"/>
            <a:lstStyle/>
            <a:p>
              <a:endParaRPr lang="en-GB" sz="1800" noProof="0"/>
            </a:p>
          </p:txBody>
        </p:sp>
        <p:sp>
          <p:nvSpPr>
            <p:cNvPr id="22" name="Frihandsfigur 21">
              <a:extLst>
                <a:ext uri="{FF2B5EF4-FFF2-40B4-BE49-F238E27FC236}">
                  <a16:creationId xmlns:a16="http://schemas.microsoft.com/office/drawing/2014/main" id="{FEBDF823-A994-7046-B9A0-22F15D3F33C3}"/>
                </a:ext>
              </a:extLst>
            </p:cNvPr>
            <p:cNvSpPr/>
            <p:nvPr/>
          </p:nvSpPr>
          <p:spPr>
            <a:xfrm>
              <a:off x="4085649" y="4951310"/>
              <a:ext cx="781273" cy="84934"/>
            </a:xfrm>
            <a:custGeom>
              <a:avLst/>
              <a:gdLst>
                <a:gd name="connsiteX0" fmla="*/ 595123 w 781273"/>
                <a:gd name="connsiteY0" fmla="*/ 23454 h 84934"/>
                <a:gd name="connsiteX1" fmla="*/ 583493 w 781273"/>
                <a:gd name="connsiteY1" fmla="*/ 52452 h 84934"/>
                <a:gd name="connsiteX2" fmla="*/ 606935 w 781273"/>
                <a:gd name="connsiteY2" fmla="*/ 52442 h 84934"/>
                <a:gd name="connsiteX3" fmla="*/ 595267 w 781273"/>
                <a:gd name="connsiteY3" fmla="*/ 23454 h 84934"/>
                <a:gd name="connsiteX4" fmla="*/ 123589 w 781273"/>
                <a:gd name="connsiteY4" fmla="*/ 23454 h 84934"/>
                <a:gd name="connsiteX5" fmla="*/ 111959 w 781273"/>
                <a:gd name="connsiteY5" fmla="*/ 52452 h 84934"/>
                <a:gd name="connsiteX6" fmla="*/ 135363 w 781273"/>
                <a:gd name="connsiteY6" fmla="*/ 52442 h 84934"/>
                <a:gd name="connsiteX7" fmla="*/ 123734 w 781273"/>
                <a:gd name="connsiteY7" fmla="*/ 23454 h 84934"/>
                <a:gd name="connsiteX8" fmla="*/ 584293 w 781273"/>
                <a:gd name="connsiteY8" fmla="*/ 48 h 84934"/>
                <a:gd name="connsiteX9" fmla="*/ 606136 w 781273"/>
                <a:gd name="connsiteY9" fmla="*/ 48 h 84934"/>
                <a:gd name="connsiteX10" fmla="*/ 641516 w 781273"/>
                <a:gd name="connsiteY10" fmla="*/ 84886 h 84934"/>
                <a:gd name="connsiteX11" fmla="*/ 620001 w 781273"/>
                <a:gd name="connsiteY11" fmla="*/ 84886 h 84934"/>
                <a:gd name="connsiteX12" fmla="*/ 613892 w 781273"/>
                <a:gd name="connsiteY12" fmla="*/ 69775 h 84934"/>
                <a:gd name="connsiteX13" fmla="*/ 576488 w 781273"/>
                <a:gd name="connsiteY13" fmla="*/ 69775 h 84934"/>
                <a:gd name="connsiteX14" fmla="*/ 570389 w 781273"/>
                <a:gd name="connsiteY14" fmla="*/ 84934 h 84934"/>
                <a:gd name="connsiteX15" fmla="*/ 548864 w 781273"/>
                <a:gd name="connsiteY15" fmla="*/ 84934 h 84934"/>
                <a:gd name="connsiteX16" fmla="*/ 112712 w 781273"/>
                <a:gd name="connsiteY16" fmla="*/ 48 h 84934"/>
                <a:gd name="connsiteX17" fmla="*/ 134515 w 781273"/>
                <a:gd name="connsiteY17" fmla="*/ 48 h 84934"/>
                <a:gd name="connsiteX18" fmla="*/ 169992 w 781273"/>
                <a:gd name="connsiteY18" fmla="*/ 84886 h 84934"/>
                <a:gd name="connsiteX19" fmla="*/ 148467 w 781273"/>
                <a:gd name="connsiteY19" fmla="*/ 84886 h 84934"/>
                <a:gd name="connsiteX20" fmla="*/ 142320 w 781273"/>
                <a:gd name="connsiteY20" fmla="*/ 69775 h 84934"/>
                <a:gd name="connsiteX21" fmla="*/ 104917 w 781273"/>
                <a:gd name="connsiteY21" fmla="*/ 69775 h 84934"/>
                <a:gd name="connsiteX22" fmla="*/ 98808 w 781273"/>
                <a:gd name="connsiteY22" fmla="*/ 84934 h 84934"/>
                <a:gd name="connsiteX23" fmla="*/ 77293 w 781273"/>
                <a:gd name="connsiteY23" fmla="*/ 84934 h 84934"/>
                <a:gd name="connsiteX24" fmla="*/ 719820 w 781273"/>
                <a:gd name="connsiteY24" fmla="*/ 0 h 84934"/>
                <a:gd name="connsiteX25" fmla="*/ 742077 w 781273"/>
                <a:gd name="connsiteY25" fmla="*/ 0 h 84934"/>
                <a:gd name="connsiteX26" fmla="*/ 742077 w 781273"/>
                <a:gd name="connsiteY26" fmla="*/ 66042 h 84934"/>
                <a:gd name="connsiteX27" fmla="*/ 781273 w 781273"/>
                <a:gd name="connsiteY27" fmla="*/ 66042 h 84934"/>
                <a:gd name="connsiteX28" fmla="*/ 781273 w 781273"/>
                <a:gd name="connsiteY28" fmla="*/ 84886 h 84934"/>
                <a:gd name="connsiteX29" fmla="*/ 719820 w 781273"/>
                <a:gd name="connsiteY29" fmla="*/ 84886 h 84934"/>
                <a:gd name="connsiteX30" fmla="*/ 648751 w 781273"/>
                <a:gd name="connsiteY30" fmla="*/ 0 h 84934"/>
                <a:gd name="connsiteX31" fmla="*/ 671018 w 781273"/>
                <a:gd name="connsiteY31" fmla="*/ 0 h 84934"/>
                <a:gd name="connsiteX32" fmla="*/ 671018 w 781273"/>
                <a:gd name="connsiteY32" fmla="*/ 66042 h 84934"/>
                <a:gd name="connsiteX33" fmla="*/ 710214 w 781273"/>
                <a:gd name="connsiteY33" fmla="*/ 66042 h 84934"/>
                <a:gd name="connsiteX34" fmla="*/ 710214 w 781273"/>
                <a:gd name="connsiteY34" fmla="*/ 84886 h 84934"/>
                <a:gd name="connsiteX35" fmla="*/ 648751 w 781273"/>
                <a:gd name="connsiteY35" fmla="*/ 84886 h 84934"/>
                <a:gd name="connsiteX36" fmla="*/ 491429 w 781273"/>
                <a:gd name="connsiteY36" fmla="*/ 0 h 84934"/>
                <a:gd name="connsiteX37" fmla="*/ 556293 w 781273"/>
                <a:gd name="connsiteY37" fmla="*/ 0 h 84934"/>
                <a:gd name="connsiteX38" fmla="*/ 556293 w 781273"/>
                <a:gd name="connsiteY38" fmla="*/ 18190 h 84934"/>
                <a:gd name="connsiteX39" fmla="*/ 513686 w 781273"/>
                <a:gd name="connsiteY39" fmla="*/ 18190 h 84934"/>
                <a:gd name="connsiteX40" fmla="*/ 513686 w 781273"/>
                <a:gd name="connsiteY40" fmla="*/ 32338 h 84934"/>
                <a:gd name="connsiteX41" fmla="*/ 549616 w 781273"/>
                <a:gd name="connsiteY41" fmla="*/ 32338 h 84934"/>
                <a:gd name="connsiteX42" fmla="*/ 549616 w 781273"/>
                <a:gd name="connsiteY42" fmla="*/ 50527 h 84934"/>
                <a:gd name="connsiteX43" fmla="*/ 513686 w 781273"/>
                <a:gd name="connsiteY43" fmla="*/ 50527 h 84934"/>
                <a:gd name="connsiteX44" fmla="*/ 513686 w 781273"/>
                <a:gd name="connsiteY44" fmla="*/ 84886 h 84934"/>
                <a:gd name="connsiteX45" fmla="*/ 491429 w 781273"/>
                <a:gd name="connsiteY45" fmla="*/ 84886 h 84934"/>
                <a:gd name="connsiteX46" fmla="*/ 394124 w 781273"/>
                <a:gd name="connsiteY46" fmla="*/ 0 h 84934"/>
                <a:gd name="connsiteX47" fmla="*/ 415380 w 781273"/>
                <a:gd name="connsiteY47" fmla="*/ 0 h 84934"/>
                <a:gd name="connsiteX48" fmla="*/ 453246 w 781273"/>
                <a:gd name="connsiteY48" fmla="*/ 50797 h 84934"/>
                <a:gd name="connsiteX49" fmla="*/ 453246 w 781273"/>
                <a:gd name="connsiteY49" fmla="*/ 0 h 84934"/>
                <a:gd name="connsiteX50" fmla="*/ 474500 w 781273"/>
                <a:gd name="connsiteY50" fmla="*/ 0 h 84934"/>
                <a:gd name="connsiteX51" fmla="*/ 474500 w 781273"/>
                <a:gd name="connsiteY51" fmla="*/ 84886 h 84934"/>
                <a:gd name="connsiteX52" fmla="*/ 453246 w 781273"/>
                <a:gd name="connsiteY52" fmla="*/ 84886 h 84934"/>
                <a:gd name="connsiteX53" fmla="*/ 415380 w 781273"/>
                <a:gd name="connsiteY53" fmla="*/ 34705 h 84934"/>
                <a:gd name="connsiteX54" fmla="*/ 415380 w 781273"/>
                <a:gd name="connsiteY54" fmla="*/ 84886 h 84934"/>
                <a:gd name="connsiteX55" fmla="*/ 394124 w 781273"/>
                <a:gd name="connsiteY55" fmla="*/ 84886 h 84934"/>
                <a:gd name="connsiteX56" fmla="*/ 315887 w 781273"/>
                <a:gd name="connsiteY56" fmla="*/ 0 h 84934"/>
                <a:gd name="connsiteX57" fmla="*/ 378728 w 781273"/>
                <a:gd name="connsiteY57" fmla="*/ 0 h 84934"/>
                <a:gd name="connsiteX58" fmla="*/ 378728 w 781273"/>
                <a:gd name="connsiteY58" fmla="*/ 18190 h 84934"/>
                <a:gd name="connsiteX59" fmla="*/ 338144 w 781273"/>
                <a:gd name="connsiteY59" fmla="*/ 18190 h 84934"/>
                <a:gd name="connsiteX60" fmla="*/ 338144 w 781273"/>
                <a:gd name="connsiteY60" fmla="*/ 31799 h 84934"/>
                <a:gd name="connsiteX61" fmla="*/ 372542 w 781273"/>
                <a:gd name="connsiteY61" fmla="*/ 31799 h 84934"/>
                <a:gd name="connsiteX62" fmla="*/ 372542 w 781273"/>
                <a:gd name="connsiteY62" fmla="*/ 49988 h 84934"/>
                <a:gd name="connsiteX63" fmla="*/ 338144 w 781273"/>
                <a:gd name="connsiteY63" fmla="*/ 49988 h 84934"/>
                <a:gd name="connsiteX64" fmla="*/ 338144 w 781273"/>
                <a:gd name="connsiteY64" fmla="*/ 66696 h 84934"/>
                <a:gd name="connsiteX65" fmla="*/ 378728 w 781273"/>
                <a:gd name="connsiteY65" fmla="*/ 66696 h 84934"/>
                <a:gd name="connsiteX66" fmla="*/ 378728 w 781273"/>
                <a:gd name="connsiteY66" fmla="*/ 84886 h 84934"/>
                <a:gd name="connsiteX67" fmla="*/ 338144 w 781273"/>
                <a:gd name="connsiteY67" fmla="*/ 84886 h 84934"/>
                <a:gd name="connsiteX68" fmla="*/ 315887 w 781273"/>
                <a:gd name="connsiteY68" fmla="*/ 84886 h 84934"/>
                <a:gd name="connsiteX69" fmla="*/ 235954 w 781273"/>
                <a:gd name="connsiteY69" fmla="*/ 0 h 84934"/>
                <a:gd name="connsiteX70" fmla="*/ 305096 w 781273"/>
                <a:gd name="connsiteY70" fmla="*/ 0 h 84934"/>
                <a:gd name="connsiteX71" fmla="*/ 305096 w 781273"/>
                <a:gd name="connsiteY71" fmla="*/ 18190 h 84934"/>
                <a:gd name="connsiteX72" fmla="*/ 280468 w 781273"/>
                <a:gd name="connsiteY72" fmla="*/ 18190 h 84934"/>
                <a:gd name="connsiteX73" fmla="*/ 280468 w 781273"/>
                <a:gd name="connsiteY73" fmla="*/ 84886 h 84934"/>
                <a:gd name="connsiteX74" fmla="*/ 258211 w 781273"/>
                <a:gd name="connsiteY74" fmla="*/ 84886 h 84934"/>
                <a:gd name="connsiteX75" fmla="*/ 258211 w 781273"/>
                <a:gd name="connsiteY75" fmla="*/ 18190 h 84934"/>
                <a:gd name="connsiteX76" fmla="*/ 235954 w 781273"/>
                <a:gd name="connsiteY76" fmla="*/ 18190 h 84934"/>
                <a:gd name="connsiteX77" fmla="*/ 159066 w 781273"/>
                <a:gd name="connsiteY77" fmla="*/ 0 h 84934"/>
                <a:gd name="connsiteX78" fmla="*/ 228198 w 781273"/>
                <a:gd name="connsiteY78" fmla="*/ 0 h 84934"/>
                <a:gd name="connsiteX79" fmla="*/ 228198 w 781273"/>
                <a:gd name="connsiteY79" fmla="*/ 18190 h 84934"/>
                <a:gd name="connsiteX80" fmla="*/ 205941 w 781273"/>
                <a:gd name="connsiteY80" fmla="*/ 18190 h 84934"/>
                <a:gd name="connsiteX81" fmla="*/ 205941 w 781273"/>
                <a:gd name="connsiteY81" fmla="*/ 84886 h 84934"/>
                <a:gd name="connsiteX82" fmla="*/ 183684 w 781273"/>
                <a:gd name="connsiteY82" fmla="*/ 84886 h 84934"/>
                <a:gd name="connsiteX83" fmla="*/ 183684 w 781273"/>
                <a:gd name="connsiteY83" fmla="*/ 18190 h 84934"/>
                <a:gd name="connsiteX84" fmla="*/ 159066 w 781273"/>
                <a:gd name="connsiteY84" fmla="*/ 18190 h 84934"/>
                <a:gd name="connsiteX85" fmla="*/ 0 w 781273"/>
                <a:gd name="connsiteY85" fmla="*/ 0 h 84934"/>
                <a:gd name="connsiteX86" fmla="*/ 21525 w 781273"/>
                <a:gd name="connsiteY86" fmla="*/ 0 h 84934"/>
                <a:gd name="connsiteX87" fmla="*/ 45728 w 781273"/>
                <a:gd name="connsiteY87" fmla="*/ 59680 h 84934"/>
                <a:gd name="connsiteX88" fmla="*/ 45911 w 781273"/>
                <a:gd name="connsiteY88" fmla="*/ 59680 h 84934"/>
                <a:gd name="connsiteX89" fmla="*/ 70124 w 781273"/>
                <a:gd name="connsiteY89" fmla="*/ 0 h 84934"/>
                <a:gd name="connsiteX90" fmla="*/ 91639 w 781273"/>
                <a:gd name="connsiteY90" fmla="*/ 0 h 84934"/>
                <a:gd name="connsiteX91" fmla="*/ 56780 w 781273"/>
                <a:gd name="connsiteY91" fmla="*/ 84886 h 84934"/>
                <a:gd name="connsiteX92" fmla="*/ 34859 w 781273"/>
                <a:gd name="connsiteY92" fmla="*/ 84886 h 84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781273" h="84934">
                  <a:moveTo>
                    <a:pt x="595123" y="23454"/>
                  </a:moveTo>
                  <a:lnTo>
                    <a:pt x="583493" y="52452"/>
                  </a:lnTo>
                  <a:lnTo>
                    <a:pt x="606935" y="52442"/>
                  </a:lnTo>
                  <a:lnTo>
                    <a:pt x="595267" y="23454"/>
                  </a:lnTo>
                  <a:close/>
                  <a:moveTo>
                    <a:pt x="123589" y="23454"/>
                  </a:moveTo>
                  <a:lnTo>
                    <a:pt x="111959" y="52452"/>
                  </a:lnTo>
                  <a:lnTo>
                    <a:pt x="135363" y="52442"/>
                  </a:lnTo>
                  <a:lnTo>
                    <a:pt x="123734" y="23454"/>
                  </a:lnTo>
                  <a:close/>
                  <a:moveTo>
                    <a:pt x="584293" y="48"/>
                  </a:moveTo>
                  <a:lnTo>
                    <a:pt x="606136" y="48"/>
                  </a:lnTo>
                  <a:lnTo>
                    <a:pt x="641516" y="84886"/>
                  </a:lnTo>
                  <a:lnTo>
                    <a:pt x="620001" y="84886"/>
                  </a:lnTo>
                  <a:lnTo>
                    <a:pt x="613892" y="69775"/>
                  </a:lnTo>
                  <a:lnTo>
                    <a:pt x="576488" y="69775"/>
                  </a:lnTo>
                  <a:lnTo>
                    <a:pt x="570389" y="84934"/>
                  </a:lnTo>
                  <a:lnTo>
                    <a:pt x="548864" y="84934"/>
                  </a:lnTo>
                  <a:close/>
                  <a:moveTo>
                    <a:pt x="112712" y="48"/>
                  </a:moveTo>
                  <a:lnTo>
                    <a:pt x="134515" y="48"/>
                  </a:lnTo>
                  <a:lnTo>
                    <a:pt x="169992" y="84886"/>
                  </a:lnTo>
                  <a:lnTo>
                    <a:pt x="148467" y="84886"/>
                  </a:lnTo>
                  <a:lnTo>
                    <a:pt x="142320" y="69775"/>
                  </a:lnTo>
                  <a:lnTo>
                    <a:pt x="104917" y="69775"/>
                  </a:lnTo>
                  <a:lnTo>
                    <a:pt x="98808" y="84934"/>
                  </a:lnTo>
                  <a:lnTo>
                    <a:pt x="77293" y="84934"/>
                  </a:lnTo>
                  <a:close/>
                  <a:moveTo>
                    <a:pt x="719820" y="0"/>
                  </a:moveTo>
                  <a:lnTo>
                    <a:pt x="742077" y="0"/>
                  </a:lnTo>
                  <a:lnTo>
                    <a:pt x="742077" y="66042"/>
                  </a:lnTo>
                  <a:lnTo>
                    <a:pt x="781273" y="66042"/>
                  </a:lnTo>
                  <a:lnTo>
                    <a:pt x="781273" y="84886"/>
                  </a:lnTo>
                  <a:lnTo>
                    <a:pt x="719820" y="84886"/>
                  </a:lnTo>
                  <a:close/>
                  <a:moveTo>
                    <a:pt x="648751" y="0"/>
                  </a:moveTo>
                  <a:lnTo>
                    <a:pt x="671018" y="0"/>
                  </a:lnTo>
                  <a:lnTo>
                    <a:pt x="671018" y="66042"/>
                  </a:lnTo>
                  <a:lnTo>
                    <a:pt x="710214" y="66042"/>
                  </a:lnTo>
                  <a:lnTo>
                    <a:pt x="710214" y="84886"/>
                  </a:lnTo>
                  <a:lnTo>
                    <a:pt x="648751" y="84886"/>
                  </a:lnTo>
                  <a:close/>
                  <a:moveTo>
                    <a:pt x="491429" y="0"/>
                  </a:moveTo>
                  <a:lnTo>
                    <a:pt x="556293" y="0"/>
                  </a:lnTo>
                  <a:lnTo>
                    <a:pt x="556293" y="18190"/>
                  </a:lnTo>
                  <a:lnTo>
                    <a:pt x="513686" y="18190"/>
                  </a:lnTo>
                  <a:lnTo>
                    <a:pt x="513686" y="32338"/>
                  </a:lnTo>
                  <a:lnTo>
                    <a:pt x="549616" y="32338"/>
                  </a:lnTo>
                  <a:lnTo>
                    <a:pt x="549616" y="50527"/>
                  </a:lnTo>
                  <a:lnTo>
                    <a:pt x="513686" y="50527"/>
                  </a:lnTo>
                  <a:lnTo>
                    <a:pt x="513686" y="84886"/>
                  </a:lnTo>
                  <a:lnTo>
                    <a:pt x="491429" y="84886"/>
                  </a:lnTo>
                  <a:close/>
                  <a:moveTo>
                    <a:pt x="394124" y="0"/>
                  </a:moveTo>
                  <a:lnTo>
                    <a:pt x="415380" y="0"/>
                  </a:lnTo>
                  <a:lnTo>
                    <a:pt x="453246" y="50797"/>
                  </a:lnTo>
                  <a:lnTo>
                    <a:pt x="453246" y="0"/>
                  </a:lnTo>
                  <a:lnTo>
                    <a:pt x="474500" y="0"/>
                  </a:lnTo>
                  <a:lnTo>
                    <a:pt x="474500" y="84886"/>
                  </a:lnTo>
                  <a:lnTo>
                    <a:pt x="453246" y="84886"/>
                  </a:lnTo>
                  <a:lnTo>
                    <a:pt x="415380" y="34705"/>
                  </a:lnTo>
                  <a:lnTo>
                    <a:pt x="415380" y="84886"/>
                  </a:lnTo>
                  <a:lnTo>
                    <a:pt x="394124" y="84886"/>
                  </a:lnTo>
                  <a:close/>
                  <a:moveTo>
                    <a:pt x="315887" y="0"/>
                  </a:moveTo>
                  <a:lnTo>
                    <a:pt x="378728" y="0"/>
                  </a:lnTo>
                  <a:lnTo>
                    <a:pt x="378728" y="18190"/>
                  </a:lnTo>
                  <a:lnTo>
                    <a:pt x="338144" y="18190"/>
                  </a:lnTo>
                  <a:lnTo>
                    <a:pt x="338144" y="31799"/>
                  </a:lnTo>
                  <a:lnTo>
                    <a:pt x="372542" y="31799"/>
                  </a:lnTo>
                  <a:lnTo>
                    <a:pt x="372542" y="49988"/>
                  </a:lnTo>
                  <a:lnTo>
                    <a:pt x="338144" y="49988"/>
                  </a:lnTo>
                  <a:lnTo>
                    <a:pt x="338144" y="66696"/>
                  </a:lnTo>
                  <a:lnTo>
                    <a:pt x="378728" y="66696"/>
                  </a:lnTo>
                  <a:lnTo>
                    <a:pt x="378728" y="84886"/>
                  </a:lnTo>
                  <a:lnTo>
                    <a:pt x="338144" y="84886"/>
                  </a:lnTo>
                  <a:lnTo>
                    <a:pt x="315887" y="84886"/>
                  </a:lnTo>
                  <a:close/>
                  <a:moveTo>
                    <a:pt x="235954" y="0"/>
                  </a:moveTo>
                  <a:lnTo>
                    <a:pt x="305096" y="0"/>
                  </a:lnTo>
                  <a:lnTo>
                    <a:pt x="305096" y="18190"/>
                  </a:lnTo>
                  <a:lnTo>
                    <a:pt x="280468" y="18190"/>
                  </a:lnTo>
                  <a:lnTo>
                    <a:pt x="280468" y="84886"/>
                  </a:lnTo>
                  <a:lnTo>
                    <a:pt x="258211" y="84886"/>
                  </a:lnTo>
                  <a:lnTo>
                    <a:pt x="258211" y="18190"/>
                  </a:lnTo>
                  <a:lnTo>
                    <a:pt x="235954" y="18190"/>
                  </a:lnTo>
                  <a:close/>
                  <a:moveTo>
                    <a:pt x="159066" y="0"/>
                  </a:moveTo>
                  <a:lnTo>
                    <a:pt x="228198" y="0"/>
                  </a:lnTo>
                  <a:lnTo>
                    <a:pt x="228198" y="18190"/>
                  </a:lnTo>
                  <a:lnTo>
                    <a:pt x="205941" y="18190"/>
                  </a:lnTo>
                  <a:lnTo>
                    <a:pt x="205941" y="84886"/>
                  </a:lnTo>
                  <a:lnTo>
                    <a:pt x="183684" y="84886"/>
                  </a:lnTo>
                  <a:lnTo>
                    <a:pt x="183684" y="18190"/>
                  </a:lnTo>
                  <a:lnTo>
                    <a:pt x="159066" y="18190"/>
                  </a:lnTo>
                  <a:close/>
                  <a:moveTo>
                    <a:pt x="0" y="0"/>
                  </a:moveTo>
                  <a:lnTo>
                    <a:pt x="21525" y="0"/>
                  </a:lnTo>
                  <a:lnTo>
                    <a:pt x="45728" y="59680"/>
                  </a:lnTo>
                  <a:lnTo>
                    <a:pt x="45911" y="59680"/>
                  </a:lnTo>
                  <a:lnTo>
                    <a:pt x="70124" y="0"/>
                  </a:lnTo>
                  <a:lnTo>
                    <a:pt x="91639" y="0"/>
                  </a:lnTo>
                  <a:lnTo>
                    <a:pt x="56780" y="84886"/>
                  </a:lnTo>
                  <a:lnTo>
                    <a:pt x="34859" y="84886"/>
                  </a:lnTo>
                  <a:close/>
                </a:path>
              </a:pathLst>
            </a:custGeom>
            <a:solidFill>
              <a:srgbClr val="4E4B48"/>
            </a:solidFill>
            <a:ln w="1400" cap="flat">
              <a:noFill/>
              <a:prstDash val="solid"/>
              <a:miter/>
            </a:ln>
          </p:spPr>
          <p:txBody>
            <a:bodyPr wrap="square" rtlCol="0" anchor="ctr">
              <a:noAutofit/>
            </a:bodyPr>
            <a:lstStyle/>
            <a:p>
              <a:endParaRPr lang="en-GB" sz="1800" noProof="0"/>
            </a:p>
          </p:txBody>
        </p:sp>
      </p:grpSp>
      <p:sp>
        <p:nvSpPr>
          <p:cNvPr id="4" name="Date"/>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256701CD-3D1E-4636-8892-605D54E1567B}" type="datetime1">
              <a:rPr lang="sv-SE" noProof="0" smtClean="0"/>
              <a:t>2025-09-04</a:t>
            </a:fld>
            <a:endParaRPr lang="en-GB" noProof="0"/>
          </a:p>
        </p:txBody>
      </p:sp>
      <p:sp>
        <p:nvSpPr>
          <p:cNvPr id="23" name="Number">
            <a:extLst>
              <a:ext uri="{FF2B5EF4-FFF2-40B4-BE49-F238E27FC236}">
                <a16:creationId xmlns:a16="http://schemas.microsoft.com/office/drawing/2014/main" id="{AD23396C-F419-E04B-8B2D-18295DF77462}"/>
              </a:ext>
            </a:extLst>
          </p:cNvPr>
          <p:cNvSpPr>
            <a:spLocks noGrp="1"/>
          </p:cNvSpPr>
          <p:nvPr>
            <p:ph type="sldNum" sz="quarter" idx="4"/>
          </p:nvPr>
        </p:nvSpPr>
        <p:spPr>
          <a:xfrm>
            <a:off x="8640418" y="5003475"/>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nr.›</a:t>
            </a:fld>
            <a:endParaRPr lang="en-GB" noProof="0"/>
          </a:p>
        </p:txBody>
      </p:sp>
      <p:sp>
        <p:nvSpPr>
          <p:cNvPr id="7" name="Footer">
            <a:extLst>
              <a:ext uri="{FF2B5EF4-FFF2-40B4-BE49-F238E27FC236}">
                <a16:creationId xmlns:a16="http://schemas.microsoft.com/office/drawing/2014/main" id="{8793D5AD-B13B-5B45-8FD0-9E8A3F8D760D}"/>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p:txBody>
      </p:sp>
      <p:sp>
        <p:nvSpPr>
          <p:cNvPr id="6" name="textruta 7">
            <a:extLst>
              <a:ext uri="{FF2B5EF4-FFF2-40B4-BE49-F238E27FC236}">
                <a16:creationId xmlns:a16="http://schemas.microsoft.com/office/drawing/2014/main" id="{AF31F163-204F-A706-1381-6B2C7333C350}"/>
              </a:ext>
            </a:extLst>
          </p:cNvPr>
          <p:cNvSpPr txBox="1"/>
          <p:nvPr userDrawn="1">
            <p:extLst>
              <p:ext uri="{1162E1C5-73C7-4A58-AE30-91384D911F3F}">
                <p184:classification xmlns:p184="http://schemas.microsoft.com/office/powerpoint/2018/4/main" val="ftr"/>
              </p:ext>
            </p:extLst>
          </p:nvPr>
        </p:nvSpPr>
        <p:spPr>
          <a:xfrm>
            <a:off x="190500" y="4861561"/>
            <a:ext cx="965200" cy="92333"/>
          </a:xfrm>
          <a:prstGeom prst="rect">
            <a:avLst/>
          </a:prstGeom>
        </p:spPr>
        <p:txBody>
          <a:bodyPr horzOverflow="overflow" lIns="0" tIns="0" rIns="0" bIns="0">
            <a:spAutoFit/>
          </a:bodyPr>
          <a:lstStyle/>
          <a:p>
            <a:pPr algn="l"/>
            <a:r>
              <a:rPr lang="sv-SE" sz="600">
                <a:solidFill>
                  <a:srgbClr val="737373"/>
                </a:solidFill>
                <a:latin typeface="Arial" panose="020B0604020202020204" pitchFamily="34" charset="0"/>
                <a:cs typeface="Arial" panose="020B0604020202020204" pitchFamily="34" charset="0"/>
              </a:rPr>
              <a:t>Confidentiality: C2 - Internal</a:t>
            </a:r>
          </a:p>
        </p:txBody>
      </p:sp>
    </p:spTree>
    <p:extLst>
      <p:ext uri="{BB962C8B-B14F-4D97-AF65-F5344CB8AC3E}">
        <p14:creationId xmlns:p14="http://schemas.microsoft.com/office/powerpoint/2010/main" val="1884509228"/>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890" r:id="rId10"/>
    <p:sldLayoutId id="2147483891" r:id="rId11"/>
    <p:sldLayoutId id="2147483892" r:id="rId12"/>
    <p:sldLayoutId id="2147483893" r:id="rId13"/>
    <p:sldLayoutId id="2147483894" r:id="rId14"/>
    <p:sldLayoutId id="2147483895" r:id="rId15"/>
    <p:sldLayoutId id="2147483896" r:id="rId16"/>
    <p:sldLayoutId id="2147483897" r:id="rId17"/>
    <p:sldLayoutId id="2147483898" r:id="rId18"/>
    <p:sldLayoutId id="2147483899" r:id="rId19"/>
    <p:sldLayoutId id="2147483900" r:id="rId20"/>
    <p:sldLayoutId id="2147483901" r:id="rId21"/>
    <p:sldLayoutId id="2147483902" r:id="rId22"/>
    <p:sldLayoutId id="2147483903" r:id="rId23"/>
    <p:sldLayoutId id="2147483904" r:id="rId24"/>
    <p:sldLayoutId id="2147483905" r:id="rId25"/>
    <p:sldLayoutId id="2147483906" r:id="rId26"/>
    <p:sldLayoutId id="2147483907" r:id="rId27"/>
    <p:sldLayoutId id="2147483908" r:id="rId28"/>
    <p:sldLayoutId id="2147483909" r:id="rId29"/>
    <p:sldLayoutId id="2147483910" r:id="rId30"/>
    <p:sldLayoutId id="2147483911" r:id="rId31"/>
    <p:sldLayoutId id="2147483912" r:id="rId32"/>
    <p:sldLayoutId id="2147483913" r:id="rId33"/>
    <p:sldLayoutId id="2147483914" r:id="rId34"/>
    <p:sldLayoutId id="2147483915" r:id="rId35"/>
    <p:sldLayoutId id="2147483916" r:id="rId36"/>
    <p:sldLayoutId id="2147483917" r:id="rId37"/>
    <p:sldLayoutId id="2147483918" r:id="rId38"/>
    <p:sldLayoutId id="2147483919" r:id="rId39"/>
    <p:sldLayoutId id="2147483920" r:id="rId40"/>
  </p:sldLayoutIdLst>
  <p:hf hdr="0" ftr="0" dt="0"/>
  <p:txStyles>
    <p:titleStyle>
      <a:lvl1pPr algn="l" defTabSz="685783" rtl="0" eaLnBrk="1" latinLnBrk="0" hangingPunct="1">
        <a:lnSpc>
          <a:spcPct val="95000"/>
        </a:lnSpc>
        <a:spcBef>
          <a:spcPct val="0"/>
        </a:spcBef>
        <a:buNone/>
        <a:defRPr sz="3000" b="1" kern="1200" spc="-70" baseline="0">
          <a:solidFill>
            <a:schemeClr val="tx1"/>
          </a:solidFill>
          <a:latin typeface="+mj-lt"/>
          <a:ea typeface="+mj-ea"/>
          <a:cs typeface="+mj-cs"/>
        </a:defRPr>
      </a:lvl1pPr>
    </p:titleStyle>
    <p:bodyStyle>
      <a:lvl1pPr marL="171446" indent="-171446" algn="l" defTabSz="685783" rtl="0" eaLnBrk="1" latinLnBrk="0" hangingPunct="1">
        <a:lnSpc>
          <a:spcPct val="100000"/>
        </a:lnSpc>
        <a:spcBef>
          <a:spcPts val="750"/>
        </a:spcBef>
        <a:buFont typeface="Arial" panose="020B0604020202020204" pitchFamily="34" charset="0"/>
        <a:buChar char="•"/>
        <a:defRPr sz="1400" kern="1200">
          <a:solidFill>
            <a:schemeClr val="tx1"/>
          </a:solidFill>
          <a:latin typeface="+mn-lt"/>
          <a:ea typeface="+mn-ea"/>
          <a:cs typeface="+mn-cs"/>
        </a:defRPr>
      </a:lvl1pPr>
      <a:lvl2pPr marL="358766" indent="-179384" algn="l" defTabSz="685783" rtl="0" eaLnBrk="1" latinLnBrk="0" hangingPunct="1">
        <a:lnSpc>
          <a:spcPct val="100000"/>
        </a:lnSpc>
        <a:spcBef>
          <a:spcPts val="375"/>
        </a:spcBef>
        <a:buFont typeface="Arial" panose="020B0604020202020204" pitchFamily="34" charset="0"/>
        <a:buChar char="•"/>
        <a:tabLst/>
        <a:defRPr sz="1200" kern="1200">
          <a:solidFill>
            <a:schemeClr val="tx1"/>
          </a:solidFill>
          <a:latin typeface="+mn-lt"/>
          <a:ea typeface="+mn-ea"/>
          <a:cs typeface="+mn-cs"/>
        </a:defRPr>
      </a:lvl2pPr>
      <a:lvl3pPr marL="534975" indent="-176209" algn="l" defTabSz="685783" rtl="0" eaLnBrk="1" latinLnBrk="0" hangingPunct="1">
        <a:lnSpc>
          <a:spcPct val="100000"/>
        </a:lnSpc>
        <a:spcBef>
          <a:spcPts val="375"/>
        </a:spcBef>
        <a:buFont typeface="Arial" panose="020B0604020202020204" pitchFamily="34" charset="0"/>
        <a:buChar char="•"/>
        <a:tabLst/>
        <a:defRPr sz="1200" kern="1200">
          <a:solidFill>
            <a:schemeClr val="tx1"/>
          </a:solidFill>
          <a:latin typeface="+mn-lt"/>
          <a:ea typeface="+mn-ea"/>
          <a:cs typeface="+mn-cs"/>
        </a:defRPr>
      </a:lvl3pPr>
      <a:lvl4pPr marL="714357" indent="-179384" algn="l" defTabSz="685783" rtl="0" eaLnBrk="1" latinLnBrk="0" hangingPunct="1">
        <a:lnSpc>
          <a:spcPct val="100000"/>
        </a:lnSpc>
        <a:spcBef>
          <a:spcPts val="375"/>
        </a:spcBef>
        <a:buFont typeface="Arial" panose="020B0604020202020204" pitchFamily="34" charset="0"/>
        <a:buChar char="•"/>
        <a:tabLst/>
        <a:defRPr sz="1200" kern="1200">
          <a:solidFill>
            <a:schemeClr val="tx1"/>
          </a:solidFill>
          <a:latin typeface="+mn-lt"/>
          <a:ea typeface="+mn-ea"/>
          <a:cs typeface="+mn-cs"/>
        </a:defRPr>
      </a:lvl4pPr>
      <a:lvl5pPr marL="888978" indent="-174621" algn="l" defTabSz="685783" rtl="0" eaLnBrk="1" latinLnBrk="0" hangingPunct="1">
        <a:lnSpc>
          <a:spcPct val="100000"/>
        </a:lnSpc>
        <a:spcBef>
          <a:spcPts val="375"/>
        </a:spcBef>
        <a:buFont typeface="Arial" panose="020B0604020202020204" pitchFamily="34" charset="0"/>
        <a:buChar char="•"/>
        <a:tabLst/>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13">
          <p15:clr>
            <a:srgbClr val="F26B43"/>
          </p15:clr>
        </p15:guide>
        <p15:guide id="4" pos="5647">
          <p15:clr>
            <a:srgbClr val="F26B43"/>
          </p15:clr>
        </p15:guide>
        <p15:guide id="5" orient="horz" pos="100">
          <p15:clr>
            <a:srgbClr val="F26B43"/>
          </p15:clr>
        </p15:guide>
        <p15:guide id="6" orient="horz" pos="3049">
          <p15:clr>
            <a:srgbClr val="F26B43"/>
          </p15:clr>
        </p15:guide>
        <p15:guide id="7" pos="2925">
          <p15:clr>
            <a:srgbClr val="547EBF"/>
          </p15:clr>
        </p15:guide>
        <p15:guide id="8" pos="2835">
          <p15:clr>
            <a:srgbClr val="547EBF"/>
          </p15:clr>
        </p15:guide>
        <p15:guide id="9" pos="204">
          <p15:clr>
            <a:srgbClr val="547EBF"/>
          </p15:clr>
        </p15:guide>
        <p15:guide id="10" pos="5556">
          <p15:clr>
            <a:srgbClr val="547EBF"/>
          </p15:clr>
        </p15:guide>
        <p15:guide id="11" orient="horz" pos="169">
          <p15:clr>
            <a:srgbClr val="547EBF"/>
          </p15:clr>
        </p15:guide>
        <p15:guide id="12" orient="horz" pos="2958">
          <p15:clr>
            <a:srgbClr val="547EBF"/>
          </p15:clr>
        </p15:guide>
        <p15:guide id="16" pos="1111">
          <p15:clr>
            <a:srgbClr val="547EBF"/>
          </p15:clr>
        </p15:guide>
        <p15:guide id="17" pos="1927">
          <p15:clr>
            <a:srgbClr val="547EBF"/>
          </p15:clr>
        </p15:guide>
        <p15:guide id="18" pos="2018">
          <p15:clr>
            <a:srgbClr val="547EBF"/>
          </p15:clr>
        </p15:guide>
        <p15:guide id="19" pos="3742">
          <p15:clr>
            <a:srgbClr val="547EBF"/>
          </p15:clr>
        </p15:guide>
        <p15:guide id="20" pos="3833">
          <p15:clr>
            <a:srgbClr val="547EBF"/>
          </p15:clr>
        </p15:guide>
        <p15:guide id="21" pos="4649">
          <p15:clr>
            <a:srgbClr val="547EBF"/>
          </p15:clr>
        </p15:guide>
        <p15:guide id="22" pos="4740">
          <p15:clr>
            <a:srgbClr val="547EBF"/>
          </p15:clr>
        </p15:guide>
        <p15:guide id="24" pos="1020">
          <p15:clr>
            <a:srgbClr val="547EBF"/>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12" Type="http://schemas.openxmlformats.org/officeDocument/2006/relationships/image" Target="../media/image32.png"/><Relationship Id="rId2" Type="http://schemas.openxmlformats.org/officeDocument/2006/relationships/image" Target="../media/image22.png"/><Relationship Id="rId1" Type="http://schemas.openxmlformats.org/officeDocument/2006/relationships/slideLayout" Target="../slideLayouts/slideLayout83.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83.xml"/><Relationship Id="rId1" Type="http://schemas.openxmlformats.org/officeDocument/2006/relationships/tags" Target="../tags/tag8.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0.emf"/></Relationships>
</file>

<file path=ppt/slides/_rels/slide4.xml.rels><?xml version="1.0" encoding="UTF-8" standalone="yes"?>
<Relationships xmlns="http://schemas.openxmlformats.org/package/2006/relationships"><Relationship Id="rId8" Type="http://schemas.openxmlformats.org/officeDocument/2006/relationships/image" Target="../media/image38.svg"/><Relationship Id="rId13" Type="http://schemas.openxmlformats.org/officeDocument/2006/relationships/image" Target="../media/image43.png"/><Relationship Id="rId3" Type="http://schemas.openxmlformats.org/officeDocument/2006/relationships/oleObject" Target="../embeddings/oleObject6.bin"/><Relationship Id="rId7" Type="http://schemas.openxmlformats.org/officeDocument/2006/relationships/image" Target="../media/image37.png"/><Relationship Id="rId12" Type="http://schemas.openxmlformats.org/officeDocument/2006/relationships/image" Target="../media/image42.svg"/><Relationship Id="rId2" Type="http://schemas.openxmlformats.org/officeDocument/2006/relationships/slideLayout" Target="../slideLayouts/slideLayout24.xml"/><Relationship Id="rId1" Type="http://schemas.openxmlformats.org/officeDocument/2006/relationships/tags" Target="../tags/tag9.xml"/><Relationship Id="rId6" Type="http://schemas.openxmlformats.org/officeDocument/2006/relationships/image" Target="../media/image36.svg"/><Relationship Id="rId11" Type="http://schemas.openxmlformats.org/officeDocument/2006/relationships/image" Target="../media/image41.png"/><Relationship Id="rId5" Type="http://schemas.openxmlformats.org/officeDocument/2006/relationships/image" Target="../media/image35.png"/><Relationship Id="rId10" Type="http://schemas.openxmlformats.org/officeDocument/2006/relationships/image" Target="../media/image40.svg"/><Relationship Id="rId4" Type="http://schemas.openxmlformats.org/officeDocument/2006/relationships/image" Target="../media/image20.emf"/><Relationship Id="rId9" Type="http://schemas.openxmlformats.org/officeDocument/2006/relationships/image" Target="../media/image39.png"/><Relationship Id="rId14" Type="http://schemas.openxmlformats.org/officeDocument/2006/relationships/image" Target="../media/image44.svg"/></Relationships>
</file>

<file path=ppt/slides/_rels/slide5.xml.rels><?xml version="1.0" encoding="UTF-8" standalone="yes"?>
<Relationships xmlns="http://schemas.openxmlformats.org/package/2006/relationships"><Relationship Id="rId8" Type="http://schemas.openxmlformats.org/officeDocument/2006/relationships/image" Target="../media/image48.svg"/><Relationship Id="rId13" Type="http://schemas.openxmlformats.org/officeDocument/2006/relationships/image" Target="../media/image53.png"/><Relationship Id="rId3" Type="http://schemas.openxmlformats.org/officeDocument/2006/relationships/oleObject" Target="../embeddings/oleObject7.bin"/><Relationship Id="rId7" Type="http://schemas.openxmlformats.org/officeDocument/2006/relationships/image" Target="../media/image47.png"/><Relationship Id="rId12" Type="http://schemas.openxmlformats.org/officeDocument/2006/relationships/image" Target="../media/image52.svg"/><Relationship Id="rId2" Type="http://schemas.openxmlformats.org/officeDocument/2006/relationships/slideLayout" Target="../slideLayouts/slideLayout24.xml"/><Relationship Id="rId1" Type="http://schemas.openxmlformats.org/officeDocument/2006/relationships/tags" Target="../tags/tag10.xml"/><Relationship Id="rId6" Type="http://schemas.openxmlformats.org/officeDocument/2006/relationships/image" Target="../media/image46.svg"/><Relationship Id="rId11" Type="http://schemas.openxmlformats.org/officeDocument/2006/relationships/image" Target="../media/image51.png"/><Relationship Id="rId5" Type="http://schemas.openxmlformats.org/officeDocument/2006/relationships/image" Target="../media/image45.png"/><Relationship Id="rId10" Type="http://schemas.openxmlformats.org/officeDocument/2006/relationships/image" Target="../media/image50.svg"/><Relationship Id="rId4" Type="http://schemas.openxmlformats.org/officeDocument/2006/relationships/image" Target="../media/image20.emf"/><Relationship Id="rId9" Type="http://schemas.openxmlformats.org/officeDocument/2006/relationships/image" Target="../media/image49.png"/><Relationship Id="rId14" Type="http://schemas.openxmlformats.org/officeDocument/2006/relationships/image" Target="../media/image54.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Placeholder 39" descr="Tip of turbine blade in front of large-scale offshore wind farm">
            <a:extLst>
              <a:ext uri="{FF2B5EF4-FFF2-40B4-BE49-F238E27FC236}">
                <a16:creationId xmlns:a16="http://schemas.microsoft.com/office/drawing/2014/main" id="{D8F32638-E68C-56B0-7B7A-4B6880B7252A}"/>
              </a:ext>
            </a:extLst>
          </p:cNvPr>
          <p:cNvPicPr>
            <a:picLocks noGrp="1" noChangeAspect="1"/>
          </p:cNvPicPr>
          <p:nvPr>
            <p:ph type="pic" sz="quarter" idx="10"/>
          </p:nvPr>
        </p:nvPicPr>
        <p:blipFill rotWithShape="1">
          <a:blip r:embed="rId2" cstate="screen">
            <a:extLst>
              <a:ext uri="{28A0092B-C50C-407E-A947-70E740481C1C}">
                <a14:useLocalDpi xmlns:a14="http://schemas.microsoft.com/office/drawing/2010/main"/>
              </a:ext>
            </a:extLst>
          </a:blip>
          <a:srcRect/>
          <a:stretch/>
        </p:blipFill>
        <p:spPr>
          <a:xfrm>
            <a:off x="179388" y="158750"/>
            <a:ext cx="8785322" cy="4681538"/>
          </a:xfrm>
        </p:spPr>
      </p:pic>
      <p:sp>
        <p:nvSpPr>
          <p:cNvPr id="3" name="Title">
            <a:extLst>
              <a:ext uri="{FF2B5EF4-FFF2-40B4-BE49-F238E27FC236}">
                <a16:creationId xmlns:a16="http://schemas.microsoft.com/office/drawing/2014/main" id="{F43D46F9-836B-A14F-9468-11EB4751A4B6}"/>
              </a:ext>
            </a:extLst>
          </p:cNvPr>
          <p:cNvSpPr>
            <a:spLocks noGrp="1"/>
          </p:cNvSpPr>
          <p:nvPr>
            <p:ph type="title"/>
          </p:nvPr>
        </p:nvSpPr>
        <p:spPr/>
        <p:txBody>
          <a:bodyPr/>
          <a:lstStyle/>
          <a:p>
            <a:r>
              <a:rPr lang="en-GB" dirty="0">
                <a:effectLst>
                  <a:outerShdw blurRad="101600" dir="2700000" algn="tl" rotWithShape="0">
                    <a:prstClr val="black">
                      <a:alpha val="10000"/>
                    </a:prstClr>
                  </a:outerShdw>
                </a:effectLst>
              </a:rPr>
              <a:t>Working for fossil freedom</a:t>
            </a:r>
          </a:p>
        </p:txBody>
      </p:sp>
      <p:sp>
        <p:nvSpPr>
          <p:cNvPr id="4" name="Text Placeholder 3">
            <a:extLst>
              <a:ext uri="{FF2B5EF4-FFF2-40B4-BE49-F238E27FC236}">
                <a16:creationId xmlns:a16="http://schemas.microsoft.com/office/drawing/2014/main" id="{5A83B324-5BDF-DA45-AD10-5A45E89E2331}"/>
              </a:ext>
            </a:extLst>
          </p:cNvPr>
          <p:cNvSpPr>
            <a:spLocks noGrp="1"/>
          </p:cNvSpPr>
          <p:nvPr>
            <p:ph type="body" sz="quarter" idx="11"/>
          </p:nvPr>
        </p:nvSpPr>
        <p:spPr>
          <a:xfrm>
            <a:off x="3203575" y="3307557"/>
            <a:ext cx="2806700" cy="715803"/>
          </a:xfrm>
        </p:spPr>
        <p:txBody>
          <a:bodyPr/>
          <a:lstStyle/>
          <a:p>
            <a:r>
              <a:rPr lang="en-GB" dirty="0">
                <a:effectLst>
                  <a:outerShdw blurRad="101600" dir="2700000" algn="tl" rotWithShape="0">
                    <a:prstClr val="black">
                      <a:alpha val="10000"/>
                    </a:prstClr>
                  </a:outerShdw>
                </a:effectLst>
              </a:rPr>
              <a:t>Our IT strategy &amp; targets for 2025</a:t>
            </a:r>
          </a:p>
        </p:txBody>
      </p:sp>
      <p:sp>
        <p:nvSpPr>
          <p:cNvPr id="9" name="Instructions">
            <a:extLst>
              <a:ext uri="{FF2B5EF4-FFF2-40B4-BE49-F238E27FC236}">
                <a16:creationId xmlns:a16="http://schemas.microsoft.com/office/drawing/2014/main" id="{94E2C346-4576-6043-ACE0-46B6EA6A9537}"/>
              </a:ext>
            </a:extLst>
          </p:cNvPr>
          <p:cNvSpPr txBox="1"/>
          <p:nvPr/>
        </p:nvSpPr>
        <p:spPr>
          <a:xfrm>
            <a:off x="9192124" y="0"/>
            <a:ext cx="1908000" cy="3624033"/>
          </a:xfrm>
          <a:prstGeom prst="rect">
            <a:avLst/>
          </a:prstGeom>
          <a:solidFill>
            <a:srgbClr val="FFFEE5"/>
          </a:solidFill>
        </p:spPr>
        <p:txBody>
          <a:bodyPr wrap="square" lIns="144000" tIns="144000" rIns="144000" bIns="144000" rtlCol="0">
            <a:spAutoFit/>
          </a:bodyPr>
          <a:lstStyle/>
          <a:p>
            <a:pPr algn="l">
              <a:lnSpc>
                <a:spcPct val="95000"/>
              </a:lnSpc>
            </a:pPr>
            <a:r>
              <a:rPr lang="en-GB" sz="1200" b="1" noProof="0" dirty="0"/>
              <a:t>Insert a new image</a:t>
            </a:r>
          </a:p>
          <a:p>
            <a:pPr marL="0" marR="0" lvl="0" indent="0" algn="l" defTabSz="685800" rtl="0" eaLnBrk="1" fontAlgn="auto" latinLnBrk="0" hangingPunct="1">
              <a:lnSpc>
                <a:spcPct val="95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mn-lt"/>
                <a:ea typeface="+mn-ea"/>
                <a:cs typeface="+mn-cs"/>
              </a:rPr>
              <a:t>If there is already an image in the image holder, you need to delete the existing one before inserting a new image. Failure to do so may change the format of the frame.</a:t>
            </a:r>
          </a:p>
          <a:p>
            <a:pPr marL="0" marR="0" lvl="0" indent="0" algn="l" defTabSz="685800" rtl="0" eaLnBrk="1" fontAlgn="auto" latinLnBrk="0" hangingPunct="1">
              <a:lnSpc>
                <a:spcPct val="95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mn-lt"/>
              <a:ea typeface="+mn-ea"/>
              <a:cs typeface="+mn-cs"/>
            </a:endParaRPr>
          </a:p>
          <a:p>
            <a:pPr marL="0" marR="0" lvl="0" indent="0" algn="l" defTabSz="685800" rtl="0" eaLnBrk="1" fontAlgn="auto" latinLnBrk="0" hangingPunct="1">
              <a:lnSpc>
                <a:spcPct val="95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mn-lt"/>
                <a:ea typeface="+mn-ea"/>
                <a:cs typeface="+mn-cs"/>
              </a:rPr>
              <a:t>Since the image icon is under the title text </a:t>
            </a:r>
            <a:r>
              <a:rPr kumimoji="0" lang="en-GB" sz="900" b="0" i="0" u="none" strike="noStrike" kern="1200" cap="none" spc="0" normalizeH="0" baseline="0" noProof="0" dirty="0">
                <a:ln>
                  <a:noFill/>
                </a:ln>
                <a:solidFill>
                  <a:srgbClr val="000000"/>
                </a:solidFill>
                <a:effectLst/>
                <a:uLnTx/>
                <a:uFillTx/>
                <a:latin typeface="+mn-lt"/>
                <a:ea typeface="+mn-ea"/>
                <a:cs typeface="+mn-cs"/>
              </a:rPr>
              <a:t>– </a:t>
            </a:r>
            <a:r>
              <a:rPr kumimoji="0" lang="en-GB" sz="900" b="1" i="0" u="none" strike="noStrike" kern="1200" cap="none" spc="0" normalizeH="0" baseline="0" noProof="0" dirty="0">
                <a:ln>
                  <a:noFill/>
                </a:ln>
                <a:solidFill>
                  <a:srgbClr val="000000"/>
                </a:solidFill>
                <a:effectLst/>
                <a:uLnTx/>
                <a:uFillTx/>
                <a:latin typeface="+mn-lt"/>
                <a:ea typeface="+mn-ea"/>
                <a:cs typeface="+mn-cs"/>
              </a:rPr>
              <a:t>select the image placeholder (click on the outer edge of the placeholder</a:t>
            </a:r>
            <a:r>
              <a:rPr kumimoji="0" lang="en-GB" sz="900" b="0" i="0" u="none" strike="noStrike" kern="1200" cap="none" spc="0" normalizeH="0" baseline="0" noProof="0" dirty="0">
                <a:ln>
                  <a:noFill/>
                </a:ln>
                <a:solidFill>
                  <a:srgbClr val="000000"/>
                </a:solidFill>
                <a:effectLst/>
                <a:uLnTx/>
                <a:uFillTx/>
                <a:latin typeface="+mn-lt"/>
                <a:ea typeface="+mn-ea"/>
                <a:cs typeface="+mn-cs"/>
              </a:rPr>
              <a:t>).</a:t>
            </a:r>
            <a:r>
              <a:rPr kumimoji="0" lang="en-US" sz="900" b="0" i="0" u="none" strike="noStrike" kern="1200" cap="none" spc="0" normalizeH="0" baseline="0" noProof="0" dirty="0">
                <a:ln>
                  <a:noFill/>
                </a:ln>
                <a:solidFill>
                  <a:srgbClr val="000000"/>
                </a:solidFill>
                <a:effectLst/>
                <a:uLnTx/>
                <a:uFillTx/>
                <a:latin typeface="+mn-lt"/>
                <a:ea typeface="+mn-ea"/>
                <a:cs typeface="+mn-cs"/>
              </a:rPr>
              <a:t> On the </a:t>
            </a:r>
            <a:r>
              <a:rPr kumimoji="0" lang="en-US" sz="900" b="1" i="0" u="none" strike="noStrike" kern="1200" cap="none" spc="0" normalizeH="0" baseline="0" noProof="0" dirty="0">
                <a:ln>
                  <a:noFill/>
                </a:ln>
                <a:solidFill>
                  <a:srgbClr val="000000"/>
                </a:solidFill>
                <a:effectLst/>
                <a:uLnTx/>
                <a:uFillTx/>
                <a:latin typeface="+mn-lt"/>
                <a:ea typeface="+mn-ea"/>
                <a:cs typeface="+mn-cs"/>
              </a:rPr>
              <a:t>Insert tab</a:t>
            </a:r>
            <a:r>
              <a:rPr kumimoji="0" lang="en-US" sz="900" b="0" i="0" u="none" strike="noStrike" kern="1200" cap="none" spc="0" normalizeH="0" baseline="0" noProof="0" dirty="0">
                <a:ln>
                  <a:noFill/>
                </a:ln>
                <a:solidFill>
                  <a:srgbClr val="000000"/>
                </a:solidFill>
                <a:effectLst/>
                <a:uLnTx/>
                <a:uFillTx/>
                <a:latin typeface="+mn-lt"/>
                <a:ea typeface="+mn-ea"/>
                <a:cs typeface="+mn-cs"/>
              </a:rPr>
              <a:t>, in the Images group, click </a:t>
            </a:r>
            <a:r>
              <a:rPr kumimoji="0" lang="en-US" sz="900" b="1" i="0" u="none" strike="noStrike" kern="1200" cap="none" spc="0" normalizeH="0" baseline="0" noProof="0" dirty="0">
                <a:ln>
                  <a:noFill/>
                </a:ln>
                <a:solidFill>
                  <a:srgbClr val="000000"/>
                </a:solidFill>
                <a:effectLst/>
                <a:uLnTx/>
                <a:uFillTx/>
                <a:latin typeface="+mn-lt"/>
                <a:ea typeface="+mn-ea"/>
                <a:cs typeface="+mn-cs"/>
              </a:rPr>
              <a:t>Pictures</a:t>
            </a:r>
            <a:r>
              <a:rPr kumimoji="0" lang="en-US" sz="900" b="0" i="0" u="none" strike="noStrike" kern="1200" cap="none" spc="0" normalizeH="0" baseline="0" noProof="0" dirty="0">
                <a:ln>
                  <a:noFill/>
                </a:ln>
                <a:solidFill>
                  <a:srgbClr val="000000"/>
                </a:solidFill>
                <a:effectLst/>
                <a:uLnTx/>
                <a:uFillTx/>
                <a:latin typeface="+mn-lt"/>
                <a:ea typeface="+mn-ea"/>
                <a:cs typeface="+mn-cs"/>
              </a:rPr>
              <a:t> and then click </a:t>
            </a:r>
            <a:r>
              <a:rPr kumimoji="0" lang="en-US" sz="900" b="1" i="0" u="none" strike="noStrike" kern="1200" cap="none" spc="0" normalizeH="0" baseline="0" noProof="0" dirty="0">
                <a:ln>
                  <a:noFill/>
                </a:ln>
                <a:solidFill>
                  <a:srgbClr val="000000"/>
                </a:solidFill>
                <a:effectLst/>
                <a:uLnTx/>
                <a:uFillTx/>
                <a:latin typeface="+mn-lt"/>
                <a:ea typeface="+mn-ea"/>
                <a:cs typeface="+mn-cs"/>
              </a:rPr>
              <a:t>This Device</a:t>
            </a:r>
            <a:r>
              <a:rPr kumimoji="0" lang="en-US" sz="900" b="0" i="0" u="none" strike="noStrike" kern="1200" cap="none" spc="0" normalizeH="0" baseline="0" noProof="0" dirty="0">
                <a:ln>
                  <a:noFill/>
                </a:ln>
                <a:solidFill>
                  <a:srgbClr val="000000"/>
                </a:solidFill>
                <a:effectLst/>
                <a:uLnTx/>
                <a:uFillTx/>
                <a:latin typeface="+mn-lt"/>
                <a:ea typeface="+mn-ea"/>
                <a:cs typeface="+mn-cs"/>
              </a:rPr>
              <a:t>. In the dialog box that opens, browse to the picture that you want to insert, click that picture, and then click </a:t>
            </a:r>
            <a:r>
              <a:rPr kumimoji="0" lang="en-US" sz="900" b="1" i="0" u="none" strike="noStrike" kern="1200" cap="none" spc="0" normalizeH="0" baseline="0" noProof="0" dirty="0">
                <a:ln>
                  <a:noFill/>
                </a:ln>
                <a:solidFill>
                  <a:srgbClr val="000000"/>
                </a:solidFill>
                <a:effectLst/>
                <a:uLnTx/>
                <a:uFillTx/>
                <a:latin typeface="+mn-lt"/>
                <a:ea typeface="+mn-ea"/>
                <a:cs typeface="+mn-cs"/>
              </a:rPr>
              <a:t>Insert.</a:t>
            </a:r>
            <a:endParaRPr kumimoji="0" lang="en-GB" sz="900" b="1" i="0" u="none" strike="noStrike" kern="1200" cap="none" spc="0" normalizeH="0" baseline="0" noProof="0" dirty="0">
              <a:ln>
                <a:noFill/>
              </a:ln>
              <a:solidFill>
                <a:srgbClr val="000000"/>
              </a:solidFill>
              <a:effectLst/>
              <a:uLnTx/>
              <a:uFillTx/>
              <a:latin typeface="+mn-lt"/>
              <a:ea typeface="+mn-ea"/>
              <a:cs typeface="+mn-cs"/>
            </a:endParaRPr>
          </a:p>
          <a:p>
            <a:pPr marL="0" marR="0" lvl="0" indent="0" algn="l" defTabSz="685800" rtl="0" eaLnBrk="1" fontAlgn="auto" latinLnBrk="0" hangingPunct="1">
              <a:lnSpc>
                <a:spcPct val="95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mn-lt"/>
              <a:ea typeface="+mn-ea"/>
              <a:cs typeface="+mn-cs"/>
            </a:endParaRPr>
          </a:p>
          <a:p>
            <a:pPr marL="0" marR="0" lvl="0" indent="0" algn="l" defTabSz="685800" rtl="0" eaLnBrk="1" fontAlgn="auto" latinLnBrk="0" hangingPunct="1">
              <a:lnSpc>
                <a:spcPct val="95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mn-lt"/>
                <a:ea typeface="+mn-ea"/>
                <a:cs typeface="+mn-cs"/>
              </a:rPr>
              <a:t>If the background image is placed over the text – </a:t>
            </a:r>
            <a:r>
              <a:rPr kumimoji="0" lang="en-US" sz="900" b="1" i="0" u="none" strike="noStrike" kern="1200" cap="none" spc="0" normalizeH="0" baseline="0" noProof="0" dirty="0">
                <a:ln>
                  <a:noFill/>
                </a:ln>
                <a:solidFill>
                  <a:srgbClr val="000000"/>
                </a:solidFill>
                <a:effectLst/>
                <a:uLnTx/>
                <a:uFillTx/>
                <a:latin typeface="+mn-lt"/>
                <a:ea typeface="+mn-ea"/>
                <a:cs typeface="+mn-cs"/>
              </a:rPr>
              <a:t>right-click the slide</a:t>
            </a:r>
            <a:r>
              <a:rPr kumimoji="0" lang="en-US" sz="900" b="0" i="0" u="none" strike="noStrike" kern="1200" cap="none" spc="0" normalizeH="0" baseline="0" noProof="0" dirty="0">
                <a:ln>
                  <a:noFill/>
                </a:ln>
                <a:solidFill>
                  <a:srgbClr val="000000"/>
                </a:solidFill>
                <a:effectLst/>
                <a:uLnTx/>
                <a:uFillTx/>
                <a:latin typeface="+mn-lt"/>
                <a:ea typeface="+mn-ea"/>
                <a:cs typeface="+mn-cs"/>
              </a:rPr>
              <a:t> and choose </a:t>
            </a:r>
            <a:r>
              <a:rPr kumimoji="0" lang="en-US" sz="900" b="1" i="0" u="none" strike="noStrike" kern="1200" cap="none" spc="0" normalizeH="0" baseline="0" noProof="0" dirty="0">
                <a:ln>
                  <a:noFill/>
                </a:ln>
                <a:solidFill>
                  <a:srgbClr val="000000"/>
                </a:solidFill>
                <a:effectLst/>
                <a:uLnTx/>
                <a:uFillTx/>
                <a:latin typeface="+mn-lt"/>
                <a:ea typeface="+mn-ea"/>
                <a:cs typeface="+mn-cs"/>
              </a:rPr>
              <a:t>Reset Slide</a:t>
            </a:r>
            <a:r>
              <a:rPr kumimoji="0" lang="en-US" sz="900" b="0" i="0" u="none" strike="noStrike" kern="1200" cap="none" spc="0" normalizeH="0" baseline="0" noProof="0" dirty="0">
                <a:ln>
                  <a:noFill/>
                </a:ln>
                <a:solidFill>
                  <a:srgbClr val="000000"/>
                </a:solidFill>
                <a:effectLst/>
                <a:uLnTx/>
                <a:uFillTx/>
                <a:latin typeface="+mn-lt"/>
                <a:ea typeface="+mn-ea"/>
                <a:cs typeface="+mn-cs"/>
              </a:rPr>
              <a:t>.</a:t>
            </a:r>
            <a:endParaRPr kumimoji="0" lang="en-GB" sz="900" b="0" i="0" u="none" strike="noStrike" kern="1200" cap="none" spc="0" normalizeH="0" baseline="0" noProof="0" dirty="0">
              <a:ln>
                <a:noFill/>
              </a:ln>
              <a:solidFill>
                <a:srgbClr val="000000"/>
              </a:solidFill>
              <a:effectLst/>
              <a:uLnTx/>
              <a:uFillTx/>
              <a:latin typeface="+mn-lt"/>
              <a:ea typeface="+mn-ea"/>
              <a:cs typeface="+mn-cs"/>
            </a:endParaRPr>
          </a:p>
        </p:txBody>
      </p:sp>
    </p:spTree>
    <p:extLst>
      <p:ext uri="{BB962C8B-B14F-4D97-AF65-F5344CB8AC3E}">
        <p14:creationId xmlns:p14="http://schemas.microsoft.com/office/powerpoint/2010/main" val="52979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 name="Rectangle 127">
            <a:extLst>
              <a:ext uri="{FF2B5EF4-FFF2-40B4-BE49-F238E27FC236}">
                <a16:creationId xmlns:a16="http://schemas.microsoft.com/office/drawing/2014/main" id="{44037D0F-C8C5-1A2F-51D6-EBA0B0E225C3}"/>
              </a:ext>
            </a:extLst>
          </p:cNvPr>
          <p:cNvSpPr/>
          <p:nvPr/>
        </p:nvSpPr>
        <p:spPr>
          <a:xfrm>
            <a:off x="1299189" y="4178287"/>
            <a:ext cx="1607071" cy="522094"/>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9" name="Rectangle 128">
            <a:extLst>
              <a:ext uri="{FF2B5EF4-FFF2-40B4-BE49-F238E27FC236}">
                <a16:creationId xmlns:a16="http://schemas.microsoft.com/office/drawing/2014/main" id="{F61F938E-AF13-73F9-24D6-97DAA857C8D3}"/>
              </a:ext>
            </a:extLst>
          </p:cNvPr>
          <p:cNvSpPr/>
          <p:nvPr/>
        </p:nvSpPr>
        <p:spPr>
          <a:xfrm>
            <a:off x="3076414" y="4178287"/>
            <a:ext cx="1607071" cy="522094"/>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0" name="Rectangle 129">
            <a:extLst>
              <a:ext uri="{FF2B5EF4-FFF2-40B4-BE49-F238E27FC236}">
                <a16:creationId xmlns:a16="http://schemas.microsoft.com/office/drawing/2014/main" id="{42105C25-F5FF-D2B6-9FF8-E0EE88B75BFE}"/>
              </a:ext>
            </a:extLst>
          </p:cNvPr>
          <p:cNvSpPr/>
          <p:nvPr/>
        </p:nvSpPr>
        <p:spPr>
          <a:xfrm>
            <a:off x="4853639" y="4178287"/>
            <a:ext cx="1607071" cy="522094"/>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1" name="Rectangle 130">
            <a:extLst>
              <a:ext uri="{FF2B5EF4-FFF2-40B4-BE49-F238E27FC236}">
                <a16:creationId xmlns:a16="http://schemas.microsoft.com/office/drawing/2014/main" id="{404769E9-762C-115F-1620-3B18F6F3F0F3}"/>
              </a:ext>
            </a:extLst>
          </p:cNvPr>
          <p:cNvSpPr/>
          <p:nvPr/>
        </p:nvSpPr>
        <p:spPr>
          <a:xfrm>
            <a:off x="6630865" y="4172606"/>
            <a:ext cx="1607071" cy="522094"/>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7" name="Rectangle 126">
            <a:extLst>
              <a:ext uri="{FF2B5EF4-FFF2-40B4-BE49-F238E27FC236}">
                <a16:creationId xmlns:a16="http://schemas.microsoft.com/office/drawing/2014/main" id="{19758C8E-7B3B-8C82-4DB0-8B6077517850}"/>
              </a:ext>
            </a:extLst>
          </p:cNvPr>
          <p:cNvSpPr/>
          <p:nvPr/>
        </p:nvSpPr>
        <p:spPr>
          <a:xfrm>
            <a:off x="250168" y="4148362"/>
            <a:ext cx="424042" cy="54633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DE"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5" name="Rectangle 124">
            <a:extLst>
              <a:ext uri="{FF2B5EF4-FFF2-40B4-BE49-F238E27FC236}">
                <a16:creationId xmlns:a16="http://schemas.microsoft.com/office/drawing/2014/main" id="{D0AD43E9-C611-3E31-D95A-AF0B890E13D6}"/>
              </a:ext>
            </a:extLst>
          </p:cNvPr>
          <p:cNvSpPr/>
          <p:nvPr/>
        </p:nvSpPr>
        <p:spPr>
          <a:xfrm>
            <a:off x="264275" y="3184368"/>
            <a:ext cx="424042" cy="83522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DE"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5" name="Rectangle 34">
            <a:extLst>
              <a:ext uri="{FF2B5EF4-FFF2-40B4-BE49-F238E27FC236}">
                <a16:creationId xmlns:a16="http://schemas.microsoft.com/office/drawing/2014/main" id="{C122ACA0-7312-E407-5CEE-37921EA930AE}"/>
              </a:ext>
            </a:extLst>
          </p:cNvPr>
          <p:cNvSpPr/>
          <p:nvPr/>
        </p:nvSpPr>
        <p:spPr>
          <a:xfrm>
            <a:off x="267017" y="2471125"/>
            <a:ext cx="427558" cy="591855"/>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DE"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C480F1B4-7508-D37E-67E6-D3A7D97C3F58}"/>
              </a:ext>
            </a:extLst>
          </p:cNvPr>
          <p:cNvSpPr/>
          <p:nvPr/>
        </p:nvSpPr>
        <p:spPr>
          <a:xfrm>
            <a:off x="270533" y="1125297"/>
            <a:ext cx="424042" cy="1184195"/>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DE"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Text Placeholder 2">
            <a:extLst>
              <a:ext uri="{FF2B5EF4-FFF2-40B4-BE49-F238E27FC236}">
                <a16:creationId xmlns:a16="http://schemas.microsoft.com/office/drawing/2014/main" id="{63334636-8D99-A265-48A2-B804523A30B2}"/>
              </a:ext>
            </a:extLst>
          </p:cNvPr>
          <p:cNvSpPr>
            <a:spLocks noGrp="1"/>
          </p:cNvSpPr>
          <p:nvPr>
            <p:ph type="body" sz="quarter" idx="14"/>
          </p:nvPr>
        </p:nvSpPr>
        <p:spPr>
          <a:xfrm>
            <a:off x="185228" y="176116"/>
            <a:ext cx="8756012" cy="613642"/>
          </a:xfrm>
        </p:spPr>
        <p:txBody>
          <a:bodyPr/>
          <a:lstStyle/>
          <a:p>
            <a:r>
              <a:rPr lang="en-GB" sz="1800" dirty="0"/>
              <a:t>Ensure IT value creation through defined PA and KPIs for 2025</a:t>
            </a:r>
            <a:br>
              <a:rPr lang="en-GB" sz="1800" dirty="0"/>
            </a:br>
            <a:r>
              <a:rPr lang="en-GB" sz="1800" dirty="0"/>
              <a:t>measuring execution of IT</a:t>
            </a:r>
            <a:endParaRPr lang="en-DE" sz="1800" dirty="0"/>
          </a:p>
        </p:txBody>
      </p:sp>
      <p:sp>
        <p:nvSpPr>
          <p:cNvPr id="5" name="TextBox 4">
            <a:extLst>
              <a:ext uri="{FF2B5EF4-FFF2-40B4-BE49-F238E27FC236}">
                <a16:creationId xmlns:a16="http://schemas.microsoft.com/office/drawing/2014/main" id="{BB47FDA0-9D7F-F987-9A42-D2FCD9FB2C30}"/>
              </a:ext>
            </a:extLst>
          </p:cNvPr>
          <p:cNvSpPr txBox="1"/>
          <p:nvPr/>
        </p:nvSpPr>
        <p:spPr>
          <a:xfrm>
            <a:off x="3776567" y="818837"/>
            <a:ext cx="2157380" cy="306460"/>
          </a:xfrm>
          <a:prstGeom prst="rect">
            <a:avLst/>
          </a:prstGeom>
          <a:noFill/>
        </p:spPr>
        <p:txBody>
          <a:bodyPr wrap="none" rtlCol="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rPr>
              <a:t>Maximize value in today’s business objectives</a:t>
            </a:r>
            <a:endParaRPr kumimoji="0" lang="en-US" sz="1000" b="0" i="0" u="none" strike="noStrike" kern="1200" cap="none" spc="0" normalizeH="0" baseline="0" noProof="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endParaRPr>
          </a:p>
        </p:txBody>
      </p:sp>
      <p:sp>
        <p:nvSpPr>
          <p:cNvPr id="11" name="Nawias zamykający 7221">
            <a:extLst>
              <a:ext uri="{FF2B5EF4-FFF2-40B4-BE49-F238E27FC236}">
                <a16:creationId xmlns:a16="http://schemas.microsoft.com/office/drawing/2014/main" id="{26B7AC3E-CE89-A2D8-8DE0-BA976D1813DD}"/>
              </a:ext>
            </a:extLst>
          </p:cNvPr>
          <p:cNvSpPr/>
          <p:nvPr/>
        </p:nvSpPr>
        <p:spPr>
          <a:xfrm rot="16200000">
            <a:off x="7604080" y="534195"/>
            <a:ext cx="99437" cy="1159207"/>
          </a:xfrm>
          <a:prstGeom prst="rightBracket">
            <a:avLst>
              <a:gd name="adj" fmla="val 77390"/>
            </a:avLst>
          </a:prstGeom>
          <a:ln w="9525">
            <a:solidFill>
              <a:schemeClr val="bg1">
                <a:lumMod val="65000"/>
              </a:schemeClr>
            </a:solidFill>
            <a:headEnd type="none"/>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12" name="Nawias zamykający 7222">
            <a:extLst>
              <a:ext uri="{FF2B5EF4-FFF2-40B4-BE49-F238E27FC236}">
                <a16:creationId xmlns:a16="http://schemas.microsoft.com/office/drawing/2014/main" id="{1F534964-6FA1-C21F-1240-B5F0201FA070}"/>
              </a:ext>
            </a:extLst>
          </p:cNvPr>
          <p:cNvSpPr/>
          <p:nvPr/>
        </p:nvSpPr>
        <p:spPr>
          <a:xfrm rot="16200000">
            <a:off x="4684301" y="-900406"/>
            <a:ext cx="128052" cy="4068212"/>
          </a:xfrm>
          <a:prstGeom prst="rightBracket">
            <a:avLst>
              <a:gd name="adj" fmla="val 85087"/>
            </a:avLst>
          </a:prstGeom>
          <a:ln w="9525">
            <a:solidFill>
              <a:schemeClr val="bg1">
                <a:lumMod val="65000"/>
              </a:schemeClr>
            </a:solidFill>
            <a:headEnd type="none"/>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grpSp>
        <p:nvGrpSpPr>
          <p:cNvPr id="112" name="Group 111">
            <a:extLst>
              <a:ext uri="{FF2B5EF4-FFF2-40B4-BE49-F238E27FC236}">
                <a16:creationId xmlns:a16="http://schemas.microsoft.com/office/drawing/2014/main" id="{52B25128-4A1F-8EDC-FA97-72B1E18D457D}"/>
              </a:ext>
            </a:extLst>
          </p:cNvPr>
          <p:cNvGrpSpPr/>
          <p:nvPr/>
        </p:nvGrpSpPr>
        <p:grpSpPr>
          <a:xfrm>
            <a:off x="7074193" y="1137990"/>
            <a:ext cx="1168279" cy="1113072"/>
            <a:chOff x="5751023" y="1363332"/>
            <a:chExt cx="913802" cy="1113072"/>
          </a:xfrm>
          <a:solidFill>
            <a:srgbClr val="FFDA03"/>
          </a:solidFill>
        </p:grpSpPr>
        <p:sp>
          <p:nvSpPr>
            <p:cNvPr id="13" name="Rectangle 42">
              <a:extLst>
                <a:ext uri="{FF2B5EF4-FFF2-40B4-BE49-F238E27FC236}">
                  <a16:creationId xmlns:a16="http://schemas.microsoft.com/office/drawing/2014/main" id="{B59C59C5-E52C-FE0B-CE22-C2B91AD9129A}"/>
                </a:ext>
              </a:extLst>
            </p:cNvPr>
            <p:cNvSpPr/>
            <p:nvPr/>
          </p:nvSpPr>
          <p:spPr>
            <a:xfrm>
              <a:off x="5751023" y="1725450"/>
              <a:ext cx="906705" cy="750954"/>
            </a:xfrm>
            <a:prstGeom prst="rect">
              <a:avLst/>
            </a:prstGeom>
            <a:solidFill>
              <a:srgbClr val="FFF0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lumMod val="50000"/>
                  </a:srgbClr>
                </a:solidFill>
                <a:effectLst/>
                <a:uLnTx/>
                <a:uFillTx/>
                <a:latin typeface="Segoe UI" panose="020B0502040204020203" pitchFamily="34" charset="0"/>
                <a:ea typeface="+mn-ea"/>
                <a:cs typeface="Segoe UI" panose="020B0502040204020203" pitchFamily="34" charset="0"/>
              </a:endParaRPr>
            </a:p>
          </p:txBody>
        </p:sp>
        <p:sp>
          <p:nvSpPr>
            <p:cNvPr id="14" name="Isosceles Triangle 43">
              <a:extLst>
                <a:ext uri="{FF2B5EF4-FFF2-40B4-BE49-F238E27FC236}">
                  <a16:creationId xmlns:a16="http://schemas.microsoft.com/office/drawing/2014/main" id="{78DDD724-82F7-A4F5-86C9-5D13C707DBD3}"/>
                </a:ext>
              </a:extLst>
            </p:cNvPr>
            <p:cNvSpPr/>
            <p:nvPr/>
          </p:nvSpPr>
          <p:spPr>
            <a:xfrm>
              <a:off x="5754509" y="1363332"/>
              <a:ext cx="910316" cy="369327"/>
            </a:xfrm>
            <a:prstGeom prst="triangle">
              <a:avLst/>
            </a:prstGeom>
            <a:solidFill>
              <a:srgbClr val="FFF0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lumMod val="50000"/>
                  </a:srgbClr>
                </a:solidFill>
                <a:effectLst/>
                <a:uLnTx/>
                <a:uFillTx/>
                <a:latin typeface="Segoe UI" panose="020B0502040204020203" pitchFamily="34" charset="0"/>
                <a:ea typeface="+mn-ea"/>
                <a:cs typeface="Segoe UI" panose="020B0502040204020203" pitchFamily="34" charset="0"/>
              </a:endParaRPr>
            </a:p>
          </p:txBody>
        </p:sp>
        <p:sp>
          <p:nvSpPr>
            <p:cNvPr id="15" name="TextBox 37">
              <a:extLst>
                <a:ext uri="{FF2B5EF4-FFF2-40B4-BE49-F238E27FC236}">
                  <a16:creationId xmlns:a16="http://schemas.microsoft.com/office/drawing/2014/main" id="{4E9CE377-2145-533C-AD15-905159A439F4}"/>
                </a:ext>
              </a:extLst>
            </p:cNvPr>
            <p:cNvSpPr txBox="1"/>
            <p:nvPr/>
          </p:nvSpPr>
          <p:spPr>
            <a:xfrm>
              <a:off x="5779289" y="1617536"/>
              <a:ext cx="881988" cy="495827"/>
            </a:xfrm>
            <a:prstGeom prst="rect">
              <a:avLst/>
            </a:prstGeom>
            <a:noFill/>
          </p:spPr>
          <p:txBody>
            <a:bodyPr wrap="square"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ptos" panose="020B0004020202020204" pitchFamily="34" charset="0"/>
                  <a:ea typeface="+mn-ea"/>
                  <a:cs typeface="Segoe UI" panose="020B0502040204020203" pitchFamily="34" charset="0"/>
                </a:rPr>
                <a:t>Connecting and optimizing the energy system³</a:t>
              </a:r>
            </a:p>
          </p:txBody>
        </p:sp>
      </p:grpSp>
      <p:grpSp>
        <p:nvGrpSpPr>
          <p:cNvPr id="116" name="Group 115">
            <a:extLst>
              <a:ext uri="{FF2B5EF4-FFF2-40B4-BE49-F238E27FC236}">
                <a16:creationId xmlns:a16="http://schemas.microsoft.com/office/drawing/2014/main" id="{DA75754D-EB41-A5DB-1F99-09DFA222E7BF}"/>
              </a:ext>
            </a:extLst>
          </p:cNvPr>
          <p:cNvGrpSpPr/>
          <p:nvPr/>
        </p:nvGrpSpPr>
        <p:grpSpPr>
          <a:xfrm>
            <a:off x="4186017" y="1184322"/>
            <a:ext cx="1219701" cy="1075730"/>
            <a:chOff x="2731433" y="1363178"/>
            <a:chExt cx="949101" cy="1075730"/>
          </a:xfrm>
          <a:solidFill>
            <a:srgbClr val="FFDA03"/>
          </a:solidFill>
        </p:grpSpPr>
        <p:sp>
          <p:nvSpPr>
            <p:cNvPr id="20" name="Rectangle 46">
              <a:extLst>
                <a:ext uri="{FF2B5EF4-FFF2-40B4-BE49-F238E27FC236}">
                  <a16:creationId xmlns:a16="http://schemas.microsoft.com/office/drawing/2014/main" id="{BEF3D205-FF98-3322-E6B8-E65E9785A9D8}"/>
                </a:ext>
              </a:extLst>
            </p:cNvPr>
            <p:cNvSpPr/>
            <p:nvPr/>
          </p:nvSpPr>
          <p:spPr>
            <a:xfrm>
              <a:off x="2737979" y="1732505"/>
              <a:ext cx="906705" cy="706403"/>
            </a:xfrm>
            <a:prstGeom prst="rect">
              <a:avLst/>
            </a:prstGeom>
            <a:solidFill>
              <a:srgbClr val="FFF8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lumMod val="50000"/>
                  </a:srgbClr>
                </a:solidFill>
                <a:effectLst/>
                <a:uLnTx/>
                <a:uFillTx/>
                <a:latin typeface="Segoe UI" panose="020B0502040204020203" pitchFamily="34" charset="0"/>
                <a:ea typeface="+mn-ea"/>
                <a:cs typeface="Segoe UI" panose="020B0502040204020203" pitchFamily="34" charset="0"/>
              </a:endParaRPr>
            </a:p>
          </p:txBody>
        </p:sp>
        <p:sp>
          <p:nvSpPr>
            <p:cNvPr id="21" name="Isosceles Triangle 47">
              <a:extLst>
                <a:ext uri="{FF2B5EF4-FFF2-40B4-BE49-F238E27FC236}">
                  <a16:creationId xmlns:a16="http://schemas.microsoft.com/office/drawing/2014/main" id="{54C78099-D0CC-7CD5-3C69-951346E459E5}"/>
                </a:ext>
              </a:extLst>
            </p:cNvPr>
            <p:cNvSpPr/>
            <p:nvPr/>
          </p:nvSpPr>
          <p:spPr>
            <a:xfrm>
              <a:off x="2734368" y="1363178"/>
              <a:ext cx="910316" cy="369327"/>
            </a:xfrm>
            <a:prstGeom prst="triangle">
              <a:avLst>
                <a:gd name="adj" fmla="val 49473"/>
              </a:avLst>
            </a:prstGeom>
            <a:solidFill>
              <a:srgbClr val="FFF8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lumMod val="50000"/>
                  </a:srgbClr>
                </a:solidFill>
                <a:effectLst/>
                <a:uLnTx/>
                <a:uFillTx/>
                <a:latin typeface="Segoe UI" panose="020B0502040204020203" pitchFamily="34" charset="0"/>
                <a:ea typeface="+mn-ea"/>
                <a:cs typeface="Segoe UI" panose="020B0502040204020203" pitchFamily="34" charset="0"/>
              </a:endParaRPr>
            </a:p>
          </p:txBody>
        </p:sp>
        <p:sp>
          <p:nvSpPr>
            <p:cNvPr id="22" name="TextBox 38">
              <a:extLst>
                <a:ext uri="{FF2B5EF4-FFF2-40B4-BE49-F238E27FC236}">
                  <a16:creationId xmlns:a16="http://schemas.microsoft.com/office/drawing/2014/main" id="{71E78EA8-7A97-F809-144E-8582B074149C}"/>
                </a:ext>
              </a:extLst>
            </p:cNvPr>
            <p:cNvSpPr txBox="1"/>
            <p:nvPr/>
          </p:nvSpPr>
          <p:spPr>
            <a:xfrm>
              <a:off x="2731433" y="1450926"/>
              <a:ext cx="949101" cy="548924"/>
            </a:xfrm>
            <a:prstGeom prst="rect">
              <a:avLst/>
            </a:prstGeom>
            <a:noFill/>
          </p:spPr>
          <p:txBody>
            <a:bodyPr wrap="square"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000000"/>
                  </a:solidFill>
                  <a:effectLst/>
                  <a:uLnTx/>
                  <a:uFillTx/>
                  <a:latin typeface="Aptos" panose="020B0004020202020204" pitchFamily="34" charset="0"/>
                  <a:ea typeface="+mn-ea"/>
                  <a:cs typeface="Segoe UI" panose="020B0502040204020203" pitchFamily="34" charset="0"/>
                </a:rPr>
                <a:t>Driving decarbonisation</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000000"/>
                  </a:solidFill>
                  <a:effectLst/>
                  <a:uLnTx/>
                  <a:uFillTx/>
                  <a:latin typeface="Aptos" panose="020B0004020202020204" pitchFamily="34" charset="0"/>
                  <a:ea typeface="+mn-ea"/>
                  <a:cs typeface="Segoe UI" panose="020B0502040204020203" pitchFamily="34" charset="0"/>
                </a:rPr>
                <a:t>with our customers &amp;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000000"/>
                  </a:solidFill>
                  <a:effectLst/>
                  <a:uLnTx/>
                  <a:uFillTx/>
                  <a:latin typeface="Aptos" panose="020B0004020202020204" pitchFamily="34" charset="0"/>
                  <a:ea typeface="+mn-ea"/>
                  <a:cs typeface="Segoe UI" panose="020B0502040204020203" pitchFamily="34" charset="0"/>
                </a:rPr>
                <a:t>partners</a:t>
              </a:r>
              <a:r>
                <a:rPr kumimoji="0" lang="en-GB" sz="105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¹</a:t>
              </a:r>
              <a:endParaRPr kumimoji="0" lang="en-US" sz="1050" b="1" i="0" u="none" strike="noStrike" kern="1200" cap="none" spc="0" normalizeH="0" baseline="0" noProof="0">
                <a:ln>
                  <a:noFill/>
                </a:ln>
                <a:solidFill>
                  <a:srgbClr val="000000"/>
                </a:solidFill>
                <a:effectLst/>
                <a:uLnTx/>
                <a:uFillTx/>
                <a:latin typeface="Aptos" panose="020B0004020202020204" pitchFamily="34" charset="0"/>
                <a:ea typeface="+mn-ea"/>
                <a:cs typeface="Segoe UI" panose="020B0502040204020203" pitchFamily="34" charset="0"/>
              </a:endParaRPr>
            </a:p>
          </p:txBody>
        </p:sp>
      </p:grpSp>
      <p:grpSp>
        <p:nvGrpSpPr>
          <p:cNvPr id="115" name="Group 114">
            <a:extLst>
              <a:ext uri="{FF2B5EF4-FFF2-40B4-BE49-F238E27FC236}">
                <a16:creationId xmlns:a16="http://schemas.microsoft.com/office/drawing/2014/main" id="{875CFC45-4DA8-2427-634A-D037235A8E00}"/>
              </a:ext>
            </a:extLst>
          </p:cNvPr>
          <p:cNvGrpSpPr/>
          <p:nvPr/>
        </p:nvGrpSpPr>
        <p:grpSpPr>
          <a:xfrm>
            <a:off x="2657879" y="1147527"/>
            <a:ext cx="1371548" cy="1100679"/>
            <a:chOff x="3683032" y="1363178"/>
            <a:chExt cx="1060287" cy="1100679"/>
          </a:xfrm>
          <a:solidFill>
            <a:srgbClr val="FFDA03"/>
          </a:solidFill>
        </p:grpSpPr>
        <p:grpSp>
          <p:nvGrpSpPr>
            <p:cNvPr id="114" name="Group 113">
              <a:extLst>
                <a:ext uri="{FF2B5EF4-FFF2-40B4-BE49-F238E27FC236}">
                  <a16:creationId xmlns:a16="http://schemas.microsoft.com/office/drawing/2014/main" id="{EADA516F-D8E7-C6DD-E158-3B7312AA2B38}"/>
                </a:ext>
              </a:extLst>
            </p:cNvPr>
            <p:cNvGrpSpPr/>
            <p:nvPr/>
          </p:nvGrpSpPr>
          <p:grpSpPr>
            <a:xfrm>
              <a:off x="3737037" y="1363178"/>
              <a:ext cx="910317" cy="1100679"/>
              <a:chOff x="3737037" y="1363178"/>
              <a:chExt cx="910317" cy="1100679"/>
            </a:xfrm>
            <a:grpFill/>
          </p:grpSpPr>
          <p:sp>
            <p:nvSpPr>
              <p:cNvPr id="18" name="Rectangle 49">
                <a:extLst>
                  <a:ext uri="{FF2B5EF4-FFF2-40B4-BE49-F238E27FC236}">
                    <a16:creationId xmlns:a16="http://schemas.microsoft.com/office/drawing/2014/main" id="{61F8E833-9545-B98B-0095-7ED9E55E2BE8}"/>
                  </a:ext>
                </a:extLst>
              </p:cNvPr>
              <p:cNvSpPr/>
              <p:nvPr/>
            </p:nvSpPr>
            <p:spPr>
              <a:xfrm>
                <a:off x="3740649" y="1732505"/>
                <a:ext cx="906705" cy="731352"/>
              </a:xfrm>
              <a:prstGeom prst="rect">
                <a:avLst/>
              </a:prstGeom>
              <a:solidFill>
                <a:srgbClr val="9AC6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lumMod val="50000"/>
                    </a:srgbClr>
                  </a:solidFill>
                  <a:effectLst/>
                  <a:uLnTx/>
                  <a:uFillTx/>
                  <a:latin typeface="Segoe UI" panose="020B0502040204020203" pitchFamily="34" charset="0"/>
                  <a:ea typeface="+mn-ea"/>
                  <a:cs typeface="Segoe UI" panose="020B0502040204020203" pitchFamily="34" charset="0"/>
                </a:endParaRPr>
              </a:p>
            </p:txBody>
          </p:sp>
          <p:sp>
            <p:nvSpPr>
              <p:cNvPr id="19" name="Isosceles Triangle 50">
                <a:extLst>
                  <a:ext uri="{FF2B5EF4-FFF2-40B4-BE49-F238E27FC236}">
                    <a16:creationId xmlns:a16="http://schemas.microsoft.com/office/drawing/2014/main" id="{4DEE665C-C38A-EFB3-6162-56B25A2658F1}"/>
                  </a:ext>
                </a:extLst>
              </p:cNvPr>
              <p:cNvSpPr/>
              <p:nvPr/>
            </p:nvSpPr>
            <p:spPr>
              <a:xfrm>
                <a:off x="3737037" y="1363178"/>
                <a:ext cx="910316" cy="369327"/>
              </a:xfrm>
              <a:prstGeom prst="triangle">
                <a:avLst/>
              </a:prstGeom>
              <a:solidFill>
                <a:srgbClr val="9AC6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lumMod val="50000"/>
                    </a:srgbClr>
                  </a:solidFill>
                  <a:effectLst/>
                  <a:uLnTx/>
                  <a:uFillTx/>
                  <a:latin typeface="Segoe UI" panose="020B0502040204020203" pitchFamily="34" charset="0"/>
                  <a:ea typeface="+mn-ea"/>
                  <a:cs typeface="Segoe UI" panose="020B0502040204020203" pitchFamily="34" charset="0"/>
                </a:endParaRPr>
              </a:p>
            </p:txBody>
          </p:sp>
        </p:grpSp>
        <p:sp>
          <p:nvSpPr>
            <p:cNvPr id="23" name="TextBox 39">
              <a:extLst>
                <a:ext uri="{FF2B5EF4-FFF2-40B4-BE49-F238E27FC236}">
                  <a16:creationId xmlns:a16="http://schemas.microsoft.com/office/drawing/2014/main" id="{DB40A798-AABA-F51D-FD61-D8FE09316830}"/>
                </a:ext>
              </a:extLst>
            </p:cNvPr>
            <p:cNvSpPr txBox="1"/>
            <p:nvPr/>
          </p:nvSpPr>
          <p:spPr>
            <a:xfrm>
              <a:off x="3683032" y="1674797"/>
              <a:ext cx="1060287" cy="548924"/>
            </a:xfrm>
            <a:prstGeom prst="rect">
              <a:avLst/>
            </a:prstGeom>
            <a:noFill/>
          </p:spPr>
          <p:txBody>
            <a:bodyPr wrap="square"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Aptos" panose="020B0004020202020204" pitchFamily="34" charset="0"/>
                  <a:ea typeface="+mn-ea"/>
                  <a:cs typeface="Segoe UI" panose="020B0502040204020203" pitchFamily="34" charset="0"/>
                </a:rPr>
                <a:t>Delivering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Aptos" panose="020B0004020202020204" pitchFamily="34" charset="0"/>
                  <a:ea typeface="+mn-ea"/>
                  <a:cs typeface="Segoe UI" panose="020B0502040204020203" pitchFamily="34" charset="0"/>
                </a:rPr>
                <a:t>high-performing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Aptos" panose="020B0004020202020204" pitchFamily="34" charset="0"/>
                  <a:ea typeface="+mn-ea"/>
                  <a:cs typeface="Segoe UI" panose="020B0502040204020203" pitchFamily="34" charset="0"/>
                </a:rPr>
                <a:t>operations</a:t>
              </a:r>
            </a:p>
          </p:txBody>
        </p:sp>
      </p:grpSp>
      <p:grpSp>
        <p:nvGrpSpPr>
          <p:cNvPr id="113" name="Group 112">
            <a:extLst>
              <a:ext uri="{FF2B5EF4-FFF2-40B4-BE49-F238E27FC236}">
                <a16:creationId xmlns:a16="http://schemas.microsoft.com/office/drawing/2014/main" id="{C3A058B3-357B-4C81-D0A4-C475CD2A5672}"/>
              </a:ext>
            </a:extLst>
          </p:cNvPr>
          <p:cNvGrpSpPr/>
          <p:nvPr/>
        </p:nvGrpSpPr>
        <p:grpSpPr>
          <a:xfrm>
            <a:off x="5602912" y="1129969"/>
            <a:ext cx="1187186" cy="1121093"/>
            <a:chOff x="4746931" y="1363177"/>
            <a:chExt cx="925336" cy="1121093"/>
          </a:xfrm>
          <a:solidFill>
            <a:srgbClr val="FFDA03"/>
          </a:solidFill>
        </p:grpSpPr>
        <p:sp>
          <p:nvSpPr>
            <p:cNvPr id="16" name="Rectangle 52">
              <a:extLst>
                <a:ext uri="{FF2B5EF4-FFF2-40B4-BE49-F238E27FC236}">
                  <a16:creationId xmlns:a16="http://schemas.microsoft.com/office/drawing/2014/main" id="{70AC43B7-3D62-99A9-400C-6D3E7170F9D7}"/>
                </a:ext>
              </a:extLst>
            </p:cNvPr>
            <p:cNvSpPr/>
            <p:nvPr/>
          </p:nvSpPr>
          <p:spPr>
            <a:xfrm>
              <a:off x="4746931" y="1732502"/>
              <a:ext cx="917826" cy="75176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lumMod val="50000"/>
                  </a:srgbClr>
                </a:solidFill>
                <a:effectLst/>
                <a:uLnTx/>
                <a:uFillTx/>
                <a:latin typeface="Segoe UI" panose="020B0502040204020203" pitchFamily="34" charset="0"/>
                <a:ea typeface="+mn-ea"/>
                <a:cs typeface="Segoe UI" panose="020B0502040204020203" pitchFamily="34" charset="0"/>
              </a:endParaRPr>
            </a:p>
          </p:txBody>
        </p:sp>
        <p:sp>
          <p:nvSpPr>
            <p:cNvPr id="17" name="Isosceles Triangle 53">
              <a:extLst>
                <a:ext uri="{FF2B5EF4-FFF2-40B4-BE49-F238E27FC236}">
                  <a16:creationId xmlns:a16="http://schemas.microsoft.com/office/drawing/2014/main" id="{C80BE9E3-22AA-415E-026A-AE6B8D3F2AE8}"/>
                </a:ext>
              </a:extLst>
            </p:cNvPr>
            <p:cNvSpPr/>
            <p:nvPr/>
          </p:nvSpPr>
          <p:spPr>
            <a:xfrm>
              <a:off x="4754441" y="1363177"/>
              <a:ext cx="910316" cy="369326"/>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lumMod val="50000"/>
                  </a:srgbClr>
                </a:solidFill>
                <a:effectLst/>
                <a:uLnTx/>
                <a:uFillTx/>
                <a:latin typeface="Segoe UI" panose="020B0502040204020203" pitchFamily="34" charset="0"/>
                <a:ea typeface="+mn-ea"/>
                <a:cs typeface="Segoe UI" panose="020B0502040204020203" pitchFamily="34" charset="0"/>
              </a:endParaRPr>
            </a:p>
          </p:txBody>
        </p:sp>
        <p:sp>
          <p:nvSpPr>
            <p:cNvPr id="24" name="TextBox 40">
              <a:extLst>
                <a:ext uri="{FF2B5EF4-FFF2-40B4-BE49-F238E27FC236}">
                  <a16:creationId xmlns:a16="http://schemas.microsoft.com/office/drawing/2014/main" id="{035D781B-9841-822F-9FA0-50DC701869E8}"/>
                </a:ext>
              </a:extLst>
            </p:cNvPr>
            <p:cNvSpPr txBox="1"/>
            <p:nvPr/>
          </p:nvSpPr>
          <p:spPr>
            <a:xfrm>
              <a:off x="4765563" y="1632718"/>
              <a:ext cx="906704" cy="548924"/>
            </a:xfrm>
            <a:prstGeom prst="rect">
              <a:avLst/>
            </a:prstGeom>
            <a:noFill/>
          </p:spPr>
          <p:txBody>
            <a:bodyPr wrap="square"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050" b="1" i="0" u="none" strike="noStrike" kern="1200" cap="none" spc="0" normalizeH="0" baseline="0" noProof="0" dirty="0">
                  <a:ln>
                    <a:noFill/>
                  </a:ln>
                  <a:solidFill>
                    <a:srgbClr val="000000"/>
                  </a:solidFill>
                  <a:effectLst/>
                  <a:uLnTx/>
                  <a:uFillTx/>
                  <a:latin typeface="Aptos" panose="020B0004020202020204" pitchFamily="34" charset="0"/>
                  <a:ea typeface="+mn-ea"/>
                  <a:cs typeface="Segoe UI" panose="020B0502040204020203" pitchFamily="34" charset="0"/>
                </a:rPr>
                <a:t>S</a:t>
              </a:r>
              <a:r>
                <a:rPr kumimoji="0" lang="en-GB" sz="1050" b="1" i="0" u="none" strike="noStrike" kern="1200" cap="none" spc="0" normalizeH="0" baseline="0" noProof="0" dirty="0">
                  <a:ln>
                    <a:noFill/>
                  </a:ln>
                  <a:solidFill>
                    <a:srgbClr val="000000"/>
                  </a:solidFill>
                  <a:effectLst/>
                  <a:uLnTx/>
                  <a:uFillTx/>
                  <a:latin typeface="Aptos" panose="020B0004020202020204" pitchFamily="34" charset="0"/>
                  <a:ea typeface="+mn-ea"/>
                  <a:cs typeface="Segoe UI" panose="020B0502040204020203" pitchFamily="34" charset="0"/>
                </a:rPr>
                <a:t>ecuring a fossil-free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00000"/>
                  </a:solidFill>
                  <a:effectLst/>
                  <a:uLnTx/>
                  <a:uFillTx/>
                  <a:latin typeface="Aptos" panose="020B0004020202020204" pitchFamily="34" charset="0"/>
                  <a:ea typeface="+mn-ea"/>
                  <a:cs typeface="Segoe UI" panose="020B0502040204020203" pitchFamily="34" charset="0"/>
                </a:rPr>
                <a:t>energy supply²</a:t>
              </a:r>
              <a:endParaRPr kumimoji="0" lang="en-US" sz="1050" b="1" i="0" u="none" strike="noStrike" kern="1200" cap="none" spc="0" normalizeH="0" baseline="0" noProof="0" dirty="0">
                <a:ln>
                  <a:noFill/>
                </a:ln>
                <a:solidFill>
                  <a:srgbClr val="000000"/>
                </a:solidFill>
                <a:effectLst/>
                <a:uLnTx/>
                <a:uFillTx/>
                <a:latin typeface="Aptos" panose="020B0004020202020204" pitchFamily="34" charset="0"/>
                <a:ea typeface="+mn-ea"/>
                <a:cs typeface="Segoe UI" panose="020B0502040204020203" pitchFamily="34" charset="0"/>
              </a:endParaRPr>
            </a:p>
          </p:txBody>
        </p:sp>
      </p:grpSp>
      <p:grpSp>
        <p:nvGrpSpPr>
          <p:cNvPr id="117" name="Group 116">
            <a:extLst>
              <a:ext uri="{FF2B5EF4-FFF2-40B4-BE49-F238E27FC236}">
                <a16:creationId xmlns:a16="http://schemas.microsoft.com/office/drawing/2014/main" id="{7C37A32D-7A00-7247-8762-793734563E0F}"/>
              </a:ext>
            </a:extLst>
          </p:cNvPr>
          <p:cNvGrpSpPr/>
          <p:nvPr/>
        </p:nvGrpSpPr>
        <p:grpSpPr>
          <a:xfrm>
            <a:off x="1185734" y="1153284"/>
            <a:ext cx="1384597" cy="1075730"/>
            <a:chOff x="1614558" y="1362799"/>
            <a:chExt cx="1089403" cy="1075730"/>
          </a:xfrm>
          <a:solidFill>
            <a:srgbClr val="FFDA03"/>
          </a:solidFill>
        </p:grpSpPr>
        <p:grpSp>
          <p:nvGrpSpPr>
            <p:cNvPr id="26" name="Group 54">
              <a:extLst>
                <a:ext uri="{FF2B5EF4-FFF2-40B4-BE49-F238E27FC236}">
                  <a16:creationId xmlns:a16="http://schemas.microsoft.com/office/drawing/2014/main" id="{FCD7BBA7-C35E-00FF-8E6F-5CFF7B9B91FB}"/>
                </a:ext>
              </a:extLst>
            </p:cNvPr>
            <p:cNvGrpSpPr/>
            <p:nvPr/>
          </p:nvGrpSpPr>
          <p:grpSpPr>
            <a:xfrm>
              <a:off x="1696067" y="1362799"/>
              <a:ext cx="910865" cy="1075730"/>
              <a:chOff x="-4051862" y="965176"/>
              <a:chExt cx="1301346" cy="975262"/>
            </a:xfrm>
            <a:grpFill/>
          </p:grpSpPr>
          <p:sp>
            <p:nvSpPr>
              <p:cNvPr id="59" name="Rectangle 55">
                <a:extLst>
                  <a:ext uri="{FF2B5EF4-FFF2-40B4-BE49-F238E27FC236}">
                    <a16:creationId xmlns:a16="http://schemas.microsoft.com/office/drawing/2014/main" id="{A750B8BD-6C11-75DA-6528-FD8FD41331E1}"/>
                  </a:ext>
                </a:extLst>
              </p:cNvPr>
              <p:cNvSpPr/>
              <p:nvPr/>
            </p:nvSpPr>
            <p:spPr>
              <a:xfrm>
                <a:off x="-4045916" y="1293957"/>
                <a:ext cx="1295400" cy="646481"/>
              </a:xfrm>
              <a:prstGeom prst="rect">
                <a:avLst/>
              </a:prstGeom>
              <a:solidFill>
                <a:srgbClr val="CDE2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lumMod val="50000"/>
                    </a:srgbClr>
                  </a:solidFill>
                  <a:effectLst/>
                  <a:uLnTx/>
                  <a:uFillTx/>
                  <a:latin typeface="Segoe UI" panose="020B0502040204020203" pitchFamily="34" charset="0"/>
                  <a:ea typeface="+mn-ea"/>
                  <a:cs typeface="Segoe UI" panose="020B0502040204020203" pitchFamily="34" charset="0"/>
                </a:endParaRPr>
              </a:p>
            </p:txBody>
          </p:sp>
          <p:sp>
            <p:nvSpPr>
              <p:cNvPr id="60" name="Isosceles Triangle 56">
                <a:extLst>
                  <a:ext uri="{FF2B5EF4-FFF2-40B4-BE49-F238E27FC236}">
                    <a16:creationId xmlns:a16="http://schemas.microsoft.com/office/drawing/2014/main" id="{328C4CB4-8FB3-9AE1-3950-E8EF40BF97A1}"/>
                  </a:ext>
                </a:extLst>
              </p:cNvPr>
              <p:cNvSpPr/>
              <p:nvPr/>
            </p:nvSpPr>
            <p:spPr>
              <a:xfrm>
                <a:off x="-4051862" y="965176"/>
                <a:ext cx="1300559" cy="334833"/>
              </a:xfrm>
              <a:prstGeom prst="triangle">
                <a:avLst/>
              </a:prstGeom>
              <a:solidFill>
                <a:srgbClr val="CDE2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lumMod val="50000"/>
                    </a:srgbClr>
                  </a:solidFill>
                  <a:effectLst/>
                  <a:uLnTx/>
                  <a:uFillTx/>
                  <a:latin typeface="Segoe UI" panose="020B0502040204020203" pitchFamily="34" charset="0"/>
                  <a:ea typeface="+mn-ea"/>
                  <a:cs typeface="Segoe UI" panose="020B0502040204020203" pitchFamily="34" charset="0"/>
                </a:endParaRPr>
              </a:p>
            </p:txBody>
          </p:sp>
        </p:grpSp>
        <p:sp>
          <p:nvSpPr>
            <p:cNvPr id="27" name="TextBox 41">
              <a:extLst>
                <a:ext uri="{FF2B5EF4-FFF2-40B4-BE49-F238E27FC236}">
                  <a16:creationId xmlns:a16="http://schemas.microsoft.com/office/drawing/2014/main" id="{6AB654E1-4753-8101-154E-CF3A31C15D18}"/>
                </a:ext>
              </a:extLst>
            </p:cNvPr>
            <p:cNvSpPr txBox="1"/>
            <p:nvPr/>
          </p:nvSpPr>
          <p:spPr>
            <a:xfrm>
              <a:off x="1614558" y="1781137"/>
              <a:ext cx="1089403" cy="548924"/>
            </a:xfrm>
            <a:prstGeom prst="rect">
              <a:avLst/>
            </a:prstGeom>
            <a:noFill/>
          </p:spPr>
          <p:txBody>
            <a:bodyPr wrap="square"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Aptos" panose="020B0004020202020204" pitchFamily="34" charset="0"/>
                  <a:ea typeface="+mn-ea"/>
                  <a:cs typeface="Segoe UI" panose="020B0502040204020203" pitchFamily="34" charset="0"/>
                </a:rPr>
                <a:t>Empowering</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Aptos" panose="020B0004020202020204" pitchFamily="34" charset="0"/>
                  <a:ea typeface="+mn-ea"/>
                  <a:cs typeface="Segoe UI" panose="020B0502040204020203" pitchFamily="34" charset="0"/>
                </a:rPr>
                <a:t>our people</a:t>
              </a:r>
            </a:p>
          </p:txBody>
        </p:sp>
      </p:grpSp>
      <p:sp>
        <p:nvSpPr>
          <p:cNvPr id="37" name="TextBox 5">
            <a:extLst>
              <a:ext uri="{FF2B5EF4-FFF2-40B4-BE49-F238E27FC236}">
                <a16:creationId xmlns:a16="http://schemas.microsoft.com/office/drawing/2014/main" id="{CB2A5C4D-88DC-94BE-A2FF-B58D5272884B}"/>
              </a:ext>
            </a:extLst>
          </p:cNvPr>
          <p:cNvSpPr txBox="1"/>
          <p:nvPr/>
        </p:nvSpPr>
        <p:spPr>
          <a:xfrm rot="16200000">
            <a:off x="84192" y="1737389"/>
            <a:ext cx="806698" cy="268695"/>
          </a:xfrm>
          <a:prstGeom prst="rect">
            <a:avLst/>
          </a:prstGeom>
          <a:noFill/>
        </p:spPr>
        <p:txBody>
          <a:bodyPr wrap="none" rtlCol="0">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ptos Display" panose="020B0004020202020204" pitchFamily="34" charset="0"/>
                <a:ea typeface="+mn-ea"/>
                <a:cs typeface="Segoe UI" panose="020B0502040204020203" pitchFamily="34" charset="0"/>
              </a:rPr>
              <a:t>Value</a:t>
            </a:r>
          </a:p>
        </p:txBody>
      </p:sp>
      <p:sp>
        <p:nvSpPr>
          <p:cNvPr id="39" name="TextBox 24">
            <a:extLst>
              <a:ext uri="{FF2B5EF4-FFF2-40B4-BE49-F238E27FC236}">
                <a16:creationId xmlns:a16="http://schemas.microsoft.com/office/drawing/2014/main" id="{E474EEFF-2526-F82E-2EAA-D26AAA20A2DE}"/>
              </a:ext>
            </a:extLst>
          </p:cNvPr>
          <p:cNvSpPr txBox="1"/>
          <p:nvPr/>
        </p:nvSpPr>
        <p:spPr>
          <a:xfrm rot="16200000">
            <a:off x="-4928" y="3385573"/>
            <a:ext cx="914312" cy="472178"/>
          </a:xfrm>
          <a:prstGeom prst="rect">
            <a:avLst/>
          </a:prstGeom>
          <a:noFill/>
        </p:spPr>
        <p:txBody>
          <a:bodyPr wrap="none"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ptos Display" panose="020B0004020202020204" pitchFamily="34" charset="0"/>
                <a:ea typeface="+mn-ea"/>
                <a:cs typeface="Segoe UI" panose="020B0502040204020203" pitchFamily="34" charset="0"/>
              </a:rPr>
              <a:t>Digital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ptos Display" panose="020B0004020202020204" pitchFamily="34" charset="0"/>
                <a:ea typeface="+mn-ea"/>
                <a:cs typeface="Segoe UI" panose="020B0502040204020203" pitchFamily="34" charset="0"/>
              </a:rPr>
              <a:t>Enablement </a:t>
            </a:r>
            <a:br>
              <a:rPr kumimoji="0" lang="en-US" sz="900" b="1" i="0" u="none" strike="noStrike" kern="1200" cap="none" spc="0" normalizeH="0" baseline="0" noProof="0" dirty="0">
                <a:ln>
                  <a:noFill/>
                </a:ln>
                <a:solidFill>
                  <a:srgbClr val="000000"/>
                </a:solidFill>
                <a:effectLst/>
                <a:uLnTx/>
                <a:uFillTx/>
                <a:latin typeface="Aptos Display" panose="020B0004020202020204" pitchFamily="34" charset="0"/>
                <a:ea typeface="+mn-ea"/>
                <a:cs typeface="Segoe UI" panose="020B0502040204020203" pitchFamily="34" charset="0"/>
              </a:rPr>
            </a:br>
            <a:r>
              <a:rPr kumimoji="0" lang="en-US" sz="900" b="1" i="0" u="none" strike="noStrike" kern="1200" cap="none" spc="0" normalizeH="0" baseline="0" noProof="0" dirty="0">
                <a:ln>
                  <a:noFill/>
                </a:ln>
                <a:solidFill>
                  <a:srgbClr val="000000"/>
                </a:solidFill>
                <a:effectLst/>
                <a:uLnTx/>
                <a:uFillTx/>
                <a:latin typeface="Aptos Display" panose="020B0004020202020204" pitchFamily="34" charset="0"/>
                <a:ea typeface="+mn-ea"/>
                <a:cs typeface="Segoe UI" panose="020B0502040204020203" pitchFamily="34" charset="0"/>
              </a:rPr>
              <a:t>/ Cost </a:t>
            </a:r>
            <a:r>
              <a:rPr kumimoji="0" lang="en-US" sz="900" b="1" i="0" u="none" strike="noStrike" kern="1200" cap="none" spc="0" normalizeH="0" baseline="0" noProof="0" dirty="0" err="1">
                <a:ln>
                  <a:noFill/>
                </a:ln>
                <a:solidFill>
                  <a:srgbClr val="000000"/>
                </a:solidFill>
                <a:effectLst/>
                <a:uLnTx/>
                <a:uFillTx/>
                <a:latin typeface="Aptos Display" panose="020B0004020202020204" pitchFamily="34" charset="0"/>
                <a:ea typeface="+mn-ea"/>
                <a:cs typeface="Segoe UI" panose="020B0502040204020203" pitchFamily="34" charset="0"/>
              </a:rPr>
              <a:t>Mgmt</a:t>
            </a:r>
            <a:endParaRPr kumimoji="0" lang="en-US" sz="700" b="1" i="0" u="none" strike="noStrike" kern="1200" cap="none" spc="0" normalizeH="0" baseline="0" noProof="0" dirty="0">
              <a:ln>
                <a:noFill/>
              </a:ln>
              <a:solidFill>
                <a:srgbClr val="000000"/>
              </a:solidFill>
              <a:effectLst/>
              <a:uLnTx/>
              <a:uFillTx/>
              <a:latin typeface="Aptos Display" panose="020B0004020202020204" pitchFamily="34" charset="0"/>
              <a:ea typeface="+mn-ea"/>
              <a:cs typeface="Segoe UI" panose="020B0502040204020203" pitchFamily="34" charset="0"/>
            </a:endParaRPr>
          </a:p>
        </p:txBody>
      </p:sp>
      <p:cxnSp>
        <p:nvCxnSpPr>
          <p:cNvPr id="40" name="Łącznik prosty 3076">
            <a:extLst>
              <a:ext uri="{FF2B5EF4-FFF2-40B4-BE49-F238E27FC236}">
                <a16:creationId xmlns:a16="http://schemas.microsoft.com/office/drawing/2014/main" id="{198EF5B2-418D-ED34-4EB4-4420DADD3804}"/>
              </a:ext>
            </a:extLst>
          </p:cNvPr>
          <p:cNvCxnSpPr>
            <a:cxnSpLocks/>
          </p:cNvCxnSpPr>
          <p:nvPr/>
        </p:nvCxnSpPr>
        <p:spPr>
          <a:xfrm flipH="1">
            <a:off x="263285" y="3116190"/>
            <a:ext cx="8526931" cy="0"/>
          </a:xfrm>
          <a:prstGeom prst="line">
            <a:avLst/>
          </a:prstGeom>
          <a:ln w="6350">
            <a:solidFill>
              <a:schemeClr val="tx1"/>
            </a:solidFill>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41" name="Łącznik prosty 3076">
            <a:extLst>
              <a:ext uri="{FF2B5EF4-FFF2-40B4-BE49-F238E27FC236}">
                <a16:creationId xmlns:a16="http://schemas.microsoft.com/office/drawing/2014/main" id="{CBF35491-CBFD-E90E-D5E9-9AB9F7BE1F96}"/>
              </a:ext>
            </a:extLst>
          </p:cNvPr>
          <p:cNvCxnSpPr>
            <a:cxnSpLocks/>
          </p:cNvCxnSpPr>
          <p:nvPr/>
        </p:nvCxnSpPr>
        <p:spPr>
          <a:xfrm flipH="1" flipV="1">
            <a:off x="270533" y="4061041"/>
            <a:ext cx="8522799" cy="35480"/>
          </a:xfrm>
          <a:prstGeom prst="line">
            <a:avLst/>
          </a:prstGeom>
          <a:ln w="3175">
            <a:solidFill>
              <a:schemeClr val="tx1"/>
            </a:solidFill>
            <a:headEnd type="none"/>
            <a:tailEnd type="none" w="lg" len="med"/>
          </a:ln>
        </p:spPr>
        <p:style>
          <a:lnRef idx="1">
            <a:schemeClr val="accent1"/>
          </a:lnRef>
          <a:fillRef idx="0">
            <a:schemeClr val="accent1"/>
          </a:fillRef>
          <a:effectRef idx="0">
            <a:schemeClr val="accent1"/>
          </a:effectRef>
          <a:fontRef idx="minor">
            <a:schemeClr val="tx1"/>
          </a:fontRef>
        </p:style>
      </p:cxnSp>
      <p:pic>
        <p:nvPicPr>
          <p:cNvPr id="84" name="Picture 83">
            <a:extLst>
              <a:ext uri="{FF2B5EF4-FFF2-40B4-BE49-F238E27FC236}">
                <a16:creationId xmlns:a16="http://schemas.microsoft.com/office/drawing/2014/main" id="{51869E64-EC5F-4C15-820A-EA632B0DCF65}"/>
              </a:ext>
            </a:extLst>
          </p:cNvPr>
          <p:cNvPicPr>
            <a:picLocks noChangeAspect="1"/>
          </p:cNvPicPr>
          <p:nvPr/>
        </p:nvPicPr>
        <p:blipFill>
          <a:blip r:embed="rId2"/>
          <a:stretch>
            <a:fillRect/>
          </a:stretch>
        </p:blipFill>
        <p:spPr>
          <a:xfrm>
            <a:off x="1223233" y="3164506"/>
            <a:ext cx="3546615" cy="728799"/>
          </a:xfrm>
          <a:prstGeom prst="rect">
            <a:avLst/>
          </a:prstGeom>
        </p:spPr>
      </p:pic>
      <p:sp>
        <p:nvSpPr>
          <p:cNvPr id="118" name="TextBox 117">
            <a:extLst>
              <a:ext uri="{FF2B5EF4-FFF2-40B4-BE49-F238E27FC236}">
                <a16:creationId xmlns:a16="http://schemas.microsoft.com/office/drawing/2014/main" id="{EB0A9DC5-9455-81FB-0624-4D9138AC4BBA}"/>
              </a:ext>
            </a:extLst>
          </p:cNvPr>
          <p:cNvSpPr txBox="1"/>
          <p:nvPr/>
        </p:nvSpPr>
        <p:spPr>
          <a:xfrm>
            <a:off x="6915656" y="699974"/>
            <a:ext cx="1585992" cy="396447"/>
          </a:xfrm>
          <a:prstGeom prst="rect">
            <a:avLst/>
          </a:prstGeom>
          <a:noFill/>
        </p:spPr>
        <p:txBody>
          <a:bodyPr wrap="square" rtlCol="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rPr>
              <a:t>Capturing Opportunities of a changing energy landscape</a:t>
            </a:r>
          </a:p>
        </p:txBody>
      </p:sp>
      <p:sp>
        <p:nvSpPr>
          <p:cNvPr id="163" name="TextBox 24">
            <a:extLst>
              <a:ext uri="{FF2B5EF4-FFF2-40B4-BE49-F238E27FC236}">
                <a16:creationId xmlns:a16="http://schemas.microsoft.com/office/drawing/2014/main" id="{79BCA28F-CB47-9A79-9BC6-8BC6A77E9384}"/>
              </a:ext>
            </a:extLst>
          </p:cNvPr>
          <p:cNvSpPr txBox="1"/>
          <p:nvPr/>
        </p:nvSpPr>
        <p:spPr>
          <a:xfrm rot="16200000">
            <a:off x="124628" y="4357397"/>
            <a:ext cx="613642" cy="336328"/>
          </a:xfrm>
          <a:prstGeom prst="rect">
            <a:avLst/>
          </a:prstGeom>
          <a:noFill/>
        </p:spPr>
        <p:txBody>
          <a:bodyPr wrap="none" rtlCol="0">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ptos Display" panose="020B0004020202020204" pitchFamily="34" charset="0"/>
                <a:ea typeface="+mn-ea"/>
                <a:cs typeface="Segoe UI" panose="020B0502040204020203" pitchFamily="34" charset="0"/>
              </a:rPr>
              <a:t>PA </a:t>
            </a:r>
            <a:br>
              <a:rPr kumimoji="0" lang="en-US" sz="1100" b="1" i="0" u="none" strike="noStrike" kern="1200" cap="none" spc="0" normalizeH="0" baseline="0" noProof="0">
                <a:ln>
                  <a:noFill/>
                </a:ln>
                <a:solidFill>
                  <a:srgbClr val="000000"/>
                </a:solidFill>
                <a:effectLst/>
                <a:uLnTx/>
                <a:uFillTx/>
                <a:latin typeface="Aptos Display" panose="020B0004020202020204" pitchFamily="34" charset="0"/>
                <a:ea typeface="+mn-ea"/>
                <a:cs typeface="Segoe UI" panose="020B0502040204020203" pitchFamily="34" charset="0"/>
              </a:rPr>
            </a:br>
            <a:r>
              <a:rPr kumimoji="0" lang="en-US" sz="1100" b="1" i="0" u="none" strike="noStrike" kern="1200" cap="none" spc="0" normalizeH="0" baseline="0" noProof="0">
                <a:ln>
                  <a:noFill/>
                </a:ln>
                <a:solidFill>
                  <a:srgbClr val="000000"/>
                </a:solidFill>
                <a:effectLst/>
                <a:uLnTx/>
                <a:uFillTx/>
                <a:latin typeface="Aptos Display" panose="020B0004020202020204" pitchFamily="34" charset="0"/>
                <a:ea typeface="+mn-ea"/>
                <a:cs typeface="Segoe UI" panose="020B0502040204020203" pitchFamily="34" charset="0"/>
              </a:rPr>
              <a:t>/ KPI</a:t>
            </a:r>
            <a:endParaRPr kumimoji="0" lang="en-US" sz="1000" b="1" i="0" u="none" strike="noStrike" kern="1200" cap="none" spc="0" normalizeH="0" baseline="0" noProof="0">
              <a:ln>
                <a:noFill/>
              </a:ln>
              <a:solidFill>
                <a:srgbClr val="000000"/>
              </a:solidFill>
              <a:effectLst/>
              <a:uLnTx/>
              <a:uFillTx/>
              <a:latin typeface="Aptos Display" panose="020B0004020202020204" pitchFamily="34" charset="0"/>
              <a:ea typeface="+mn-ea"/>
              <a:cs typeface="Segoe UI" panose="020B0502040204020203" pitchFamily="34" charset="0"/>
            </a:endParaRPr>
          </a:p>
        </p:txBody>
      </p:sp>
      <p:cxnSp>
        <p:nvCxnSpPr>
          <p:cNvPr id="169" name="Łącznik prosty 3076">
            <a:extLst>
              <a:ext uri="{FF2B5EF4-FFF2-40B4-BE49-F238E27FC236}">
                <a16:creationId xmlns:a16="http://schemas.microsoft.com/office/drawing/2014/main" id="{880C9D5F-6748-2EDE-5690-759A448EB663}"/>
              </a:ext>
            </a:extLst>
          </p:cNvPr>
          <p:cNvCxnSpPr>
            <a:cxnSpLocks/>
          </p:cNvCxnSpPr>
          <p:nvPr/>
        </p:nvCxnSpPr>
        <p:spPr>
          <a:xfrm flipH="1">
            <a:off x="270533" y="2383561"/>
            <a:ext cx="8519683" cy="0"/>
          </a:xfrm>
          <a:prstGeom prst="line">
            <a:avLst/>
          </a:prstGeom>
          <a:ln w="6350">
            <a:solidFill>
              <a:schemeClr val="tx1"/>
            </a:solidFill>
            <a:headEnd type="none"/>
            <a:tailEnd type="none" w="lg" len="med"/>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37777FCA-CDF5-368C-E6A2-6573018ECBA0}"/>
              </a:ext>
            </a:extLst>
          </p:cNvPr>
          <p:cNvSpPr txBox="1"/>
          <p:nvPr/>
        </p:nvSpPr>
        <p:spPr>
          <a:xfrm>
            <a:off x="4102485" y="2094818"/>
            <a:ext cx="1350032" cy="213213"/>
          </a:xfrm>
          <a:prstGeom prst="rect">
            <a:avLst/>
          </a:prstGeom>
          <a:noFill/>
        </p:spPr>
        <p:txBody>
          <a:bodyPr wrap="none"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Arial" panose="020B0604020202020204"/>
                <a:ea typeface="+mn-ea"/>
                <a:cs typeface="Segoe UI" panose="020B0502040204020203" pitchFamily="34" charset="0"/>
              </a:rPr>
              <a:t>1) Excel in Customer Experience</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a:ln>
                <a:noFill/>
              </a:ln>
              <a:solidFill>
                <a:srgbClr val="000000"/>
              </a:solidFill>
              <a:effectLst/>
              <a:uLnTx/>
              <a:uFillTx/>
              <a:latin typeface="Arial" panose="020B0604020202020204"/>
              <a:ea typeface="+mn-ea"/>
              <a:cs typeface="Segoe UI" panose="020B0502040204020203"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DE" sz="5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 name="TextBox 30">
            <a:extLst>
              <a:ext uri="{FF2B5EF4-FFF2-40B4-BE49-F238E27FC236}">
                <a16:creationId xmlns:a16="http://schemas.microsoft.com/office/drawing/2014/main" id="{544CFE43-095D-EFA0-F1B8-06FDD04F03E6}"/>
              </a:ext>
            </a:extLst>
          </p:cNvPr>
          <p:cNvSpPr txBox="1"/>
          <p:nvPr/>
        </p:nvSpPr>
        <p:spPr>
          <a:xfrm>
            <a:off x="5662318" y="2020834"/>
            <a:ext cx="1095574" cy="24622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Arial" panose="020B0604020202020204"/>
                <a:ea typeface="+mn-ea"/>
                <a:cs typeface="Segoe UI" panose="020B0502040204020203" pitchFamily="34" charset="0"/>
              </a:rPr>
              <a:t>2) Optimize Asset Utilization,      </a:t>
            </a:r>
            <a:br>
              <a:rPr kumimoji="0" lang="en-US" sz="500" b="0" i="0" u="none" strike="noStrike" kern="1200" cap="none" spc="0" normalizeH="0" baseline="0" noProof="0">
                <a:ln>
                  <a:noFill/>
                </a:ln>
                <a:solidFill>
                  <a:srgbClr val="000000"/>
                </a:solidFill>
                <a:effectLst/>
                <a:uLnTx/>
                <a:uFillTx/>
                <a:latin typeface="Arial" panose="020B0604020202020204"/>
                <a:ea typeface="+mn-ea"/>
                <a:cs typeface="Segoe UI" panose="020B0502040204020203" pitchFamily="34" charset="0"/>
              </a:rPr>
            </a:br>
            <a:r>
              <a:rPr kumimoji="0" lang="en-US" sz="500" b="0" i="0" u="none" strike="noStrike" kern="1200" cap="none" spc="0" normalizeH="0" baseline="0" noProof="0">
                <a:ln>
                  <a:noFill/>
                </a:ln>
                <a:solidFill>
                  <a:srgbClr val="000000"/>
                </a:solidFill>
                <a:effectLst/>
                <a:uLnTx/>
                <a:uFillTx/>
                <a:latin typeface="Arial" panose="020B0604020202020204"/>
                <a:ea typeface="+mn-ea"/>
                <a:cs typeface="Segoe UI" panose="020B0502040204020203" pitchFamily="34" charset="0"/>
              </a:rPr>
              <a:t>    Minimize Risks</a:t>
            </a:r>
          </a:p>
        </p:txBody>
      </p:sp>
      <p:sp>
        <p:nvSpPr>
          <p:cNvPr id="33" name="TextBox 32">
            <a:extLst>
              <a:ext uri="{FF2B5EF4-FFF2-40B4-BE49-F238E27FC236}">
                <a16:creationId xmlns:a16="http://schemas.microsoft.com/office/drawing/2014/main" id="{12BDC8B7-8C79-0EEE-BF99-AFC14B309288}"/>
              </a:ext>
            </a:extLst>
          </p:cNvPr>
          <p:cNvSpPr txBox="1"/>
          <p:nvPr/>
        </p:nvSpPr>
        <p:spPr>
          <a:xfrm>
            <a:off x="7134927" y="2048356"/>
            <a:ext cx="1457389" cy="169277"/>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000000"/>
                </a:solidFill>
                <a:effectLst/>
                <a:uLnTx/>
                <a:uFillTx/>
                <a:latin typeface="Arial" panose="020B0604020202020204"/>
                <a:ea typeface="+mn-ea"/>
                <a:cs typeface="Segoe UI" panose="020B0502040204020203" pitchFamily="34" charset="0"/>
              </a:rPr>
              <a:t>3) Generate New Digital Revenue</a:t>
            </a:r>
          </a:p>
        </p:txBody>
      </p:sp>
      <p:pic>
        <p:nvPicPr>
          <p:cNvPr id="4" name="Picture 3">
            <a:extLst>
              <a:ext uri="{FF2B5EF4-FFF2-40B4-BE49-F238E27FC236}">
                <a16:creationId xmlns:a16="http://schemas.microsoft.com/office/drawing/2014/main" id="{8ABECB4A-6A8F-56CB-11BB-56BDC4B3A8EC}"/>
              </a:ext>
            </a:extLst>
          </p:cNvPr>
          <p:cNvPicPr>
            <a:picLocks noChangeAspect="1"/>
          </p:cNvPicPr>
          <p:nvPr/>
        </p:nvPicPr>
        <p:blipFill>
          <a:blip r:embed="rId3"/>
          <a:stretch>
            <a:fillRect/>
          </a:stretch>
        </p:blipFill>
        <p:spPr>
          <a:xfrm>
            <a:off x="4878846" y="3209741"/>
            <a:ext cx="3546615" cy="638329"/>
          </a:xfrm>
          <a:prstGeom prst="rect">
            <a:avLst/>
          </a:prstGeom>
        </p:spPr>
      </p:pic>
      <p:sp>
        <p:nvSpPr>
          <p:cNvPr id="8" name="TextBox 24">
            <a:extLst>
              <a:ext uri="{FF2B5EF4-FFF2-40B4-BE49-F238E27FC236}">
                <a16:creationId xmlns:a16="http://schemas.microsoft.com/office/drawing/2014/main" id="{3265AB98-CDF2-1D61-708D-712103A9CD5A}"/>
              </a:ext>
            </a:extLst>
          </p:cNvPr>
          <p:cNvSpPr txBox="1"/>
          <p:nvPr/>
        </p:nvSpPr>
        <p:spPr>
          <a:xfrm rot="16200000">
            <a:off x="74687" y="2598888"/>
            <a:ext cx="806698" cy="336328"/>
          </a:xfrm>
          <a:prstGeom prst="rect">
            <a:avLst/>
          </a:prstGeom>
          <a:noFill/>
        </p:spPr>
        <p:txBody>
          <a:bodyPr wrap="none" rtlCol="0">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000000"/>
                </a:solidFill>
                <a:effectLst/>
                <a:uLnTx/>
                <a:uFillTx/>
                <a:latin typeface="Arial"/>
                <a:ea typeface="+mn-ea"/>
                <a:cs typeface="+mn-cs"/>
              </a:rPr>
              <a:t>IT Strategic </a:t>
            </a: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000000"/>
                </a:solidFill>
                <a:effectLst/>
                <a:uLnTx/>
                <a:uFillTx/>
                <a:latin typeface="Arial"/>
                <a:ea typeface="+mn-ea"/>
                <a:cs typeface="+mn-cs"/>
              </a:rPr>
              <a:t>Objectives</a:t>
            </a:r>
            <a:r>
              <a:rPr kumimoji="0" lang="en-US" sz="700" b="1" i="0" u="none" strike="noStrike" kern="1200" cap="none" spc="0" normalizeH="0" baseline="0" noProof="0">
                <a:ln>
                  <a:noFill/>
                </a:ln>
                <a:solidFill>
                  <a:srgbClr val="000000"/>
                </a:solidFill>
                <a:effectLst/>
                <a:uLnTx/>
                <a:uFillTx/>
                <a:latin typeface="Aptos Display" panose="020B0004020202020204" pitchFamily="34" charset="0"/>
                <a:ea typeface="+mn-ea"/>
                <a:cs typeface="Segoe UI" panose="020B0502040204020203" pitchFamily="34" charset="0"/>
              </a:rPr>
              <a:t> </a:t>
            </a:r>
            <a:endParaRPr kumimoji="0" lang="en-US" sz="500" b="1" i="0" u="none" strike="noStrike" kern="1200" cap="none" spc="0" normalizeH="0" baseline="0" noProof="0">
              <a:ln>
                <a:noFill/>
              </a:ln>
              <a:solidFill>
                <a:srgbClr val="000000"/>
              </a:solidFill>
              <a:effectLst/>
              <a:uLnTx/>
              <a:uFillTx/>
              <a:latin typeface="Aptos Display" panose="020B0004020202020204" pitchFamily="34" charset="0"/>
              <a:ea typeface="+mn-ea"/>
              <a:cs typeface="Segoe UI" panose="020B0502040204020203" pitchFamily="34" charset="0"/>
            </a:endParaRPr>
          </a:p>
        </p:txBody>
      </p:sp>
      <p:sp>
        <p:nvSpPr>
          <p:cNvPr id="42" name="TextBox 41">
            <a:extLst>
              <a:ext uri="{FF2B5EF4-FFF2-40B4-BE49-F238E27FC236}">
                <a16:creationId xmlns:a16="http://schemas.microsoft.com/office/drawing/2014/main" id="{951C74DC-DADE-3EA3-0F69-8D9D13BC0357}"/>
              </a:ext>
            </a:extLst>
          </p:cNvPr>
          <p:cNvSpPr txBox="1"/>
          <p:nvPr/>
        </p:nvSpPr>
        <p:spPr>
          <a:xfrm>
            <a:off x="2651935" y="2073970"/>
            <a:ext cx="1350032" cy="213213"/>
          </a:xfrm>
          <a:prstGeom prst="rect">
            <a:avLst/>
          </a:prstGeom>
          <a:noFill/>
        </p:spPr>
        <p:txBody>
          <a:bodyPr wrap="none"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Arial" panose="020B0604020202020204"/>
                <a:ea typeface="+mn-ea"/>
                <a:cs typeface="Segoe UI" panose="020B0502040204020203" pitchFamily="34" charset="0"/>
              </a:rPr>
              <a:t>0) Productivity</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a:ln>
                <a:noFill/>
              </a:ln>
              <a:solidFill>
                <a:srgbClr val="000000"/>
              </a:solidFill>
              <a:effectLst/>
              <a:uLnTx/>
              <a:uFillTx/>
              <a:latin typeface="Arial" panose="020B0604020202020204"/>
              <a:ea typeface="+mn-ea"/>
              <a:cs typeface="Segoe UI" panose="020B0502040204020203"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DE" sz="5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60611DBD-CF92-1D42-BC6A-03489D2809F0}"/>
              </a:ext>
            </a:extLst>
          </p:cNvPr>
          <p:cNvSpPr/>
          <p:nvPr/>
        </p:nvSpPr>
        <p:spPr>
          <a:xfrm>
            <a:off x="1298203" y="3902699"/>
            <a:ext cx="6944269" cy="116892"/>
          </a:xfrm>
          <a:prstGeom prst="rect">
            <a:avLst/>
          </a:prstGeom>
          <a:solidFill>
            <a:srgbClr val="1E324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a:ln>
                  <a:noFill/>
                </a:ln>
                <a:solidFill>
                  <a:srgbClr val="FFFFFF"/>
                </a:solidFill>
                <a:effectLst/>
                <a:uLnTx/>
                <a:uFillTx/>
                <a:latin typeface="Aptos ExtraBold" panose="020B0004020202020204" pitchFamily="34" charset="0"/>
                <a:ea typeface="+mn-ea"/>
                <a:cs typeface="+mn-cs"/>
              </a:rPr>
              <a:t>Change Management</a:t>
            </a:r>
            <a:endParaRPr kumimoji="0" lang="en-US" sz="800" b="0" i="0" u="none" strike="noStrike" kern="1200" cap="none" spc="0" normalizeH="0" baseline="0" noProof="0">
              <a:ln>
                <a:noFill/>
              </a:ln>
              <a:solidFill>
                <a:srgbClr val="FFFFFF"/>
              </a:solidFill>
              <a:effectLst/>
              <a:uLnTx/>
              <a:uFillTx/>
              <a:latin typeface="Aptos ExtraBold" panose="020B0004020202020204" pitchFamily="34" charset="0"/>
              <a:ea typeface="+mn-ea"/>
              <a:cs typeface="+mn-cs"/>
            </a:endParaRPr>
          </a:p>
        </p:txBody>
      </p:sp>
      <p:grpSp>
        <p:nvGrpSpPr>
          <p:cNvPr id="70" name="Group 10">
            <a:extLst>
              <a:ext uri="{FF2B5EF4-FFF2-40B4-BE49-F238E27FC236}">
                <a16:creationId xmlns:a16="http://schemas.microsoft.com/office/drawing/2014/main" id="{9842FDF3-3411-D7D7-2390-F336B3E4EF8D}"/>
              </a:ext>
            </a:extLst>
          </p:cNvPr>
          <p:cNvGrpSpPr/>
          <p:nvPr/>
        </p:nvGrpSpPr>
        <p:grpSpPr>
          <a:xfrm>
            <a:off x="3732158" y="2487965"/>
            <a:ext cx="1041494" cy="628225"/>
            <a:chOff x="4441822" y="2125139"/>
            <a:chExt cx="1041494" cy="628225"/>
          </a:xfrm>
          <a:effectLst>
            <a:outerShdw blurRad="50800" dist="38100" dir="2700000" algn="tl" rotWithShape="0">
              <a:prstClr val="black">
                <a:alpha val="40000"/>
              </a:prstClr>
            </a:outerShdw>
          </a:effectLst>
        </p:grpSpPr>
        <p:sp>
          <p:nvSpPr>
            <p:cNvPr id="71" name="Rectangle 44">
              <a:extLst>
                <a:ext uri="{FF2B5EF4-FFF2-40B4-BE49-F238E27FC236}">
                  <a16:creationId xmlns:a16="http://schemas.microsoft.com/office/drawing/2014/main" id="{3CFEEFBD-B543-F1C9-09E5-6BE2399BD625}"/>
                </a:ext>
              </a:extLst>
            </p:cNvPr>
            <p:cNvSpPr/>
            <p:nvPr/>
          </p:nvSpPr>
          <p:spPr>
            <a:xfrm>
              <a:off x="4441822" y="2125139"/>
              <a:ext cx="1041494" cy="489849"/>
            </a:xfrm>
            <a:prstGeom prst="rect">
              <a:avLst/>
            </a:prstGeom>
            <a:solidFill>
              <a:srgbClr val="DAEAF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72" name="Picture 67">
              <a:extLst>
                <a:ext uri="{FF2B5EF4-FFF2-40B4-BE49-F238E27FC236}">
                  <a16:creationId xmlns:a16="http://schemas.microsoft.com/office/drawing/2014/main" id="{31CE01C3-F382-BC5A-0748-C8107E6AEE90}"/>
                </a:ext>
              </a:extLst>
            </p:cNvPr>
            <p:cNvPicPr>
              <a:picLocks noChangeAspect="1"/>
            </p:cNvPicPr>
            <p:nvPr/>
          </p:nvPicPr>
          <p:blipFill>
            <a:blip r:embed="rId4"/>
            <a:stretch>
              <a:fillRect/>
            </a:stretch>
          </p:blipFill>
          <p:spPr>
            <a:xfrm>
              <a:off x="4520014" y="2245081"/>
              <a:ext cx="207781" cy="270814"/>
            </a:xfrm>
            <a:prstGeom prst="rect">
              <a:avLst/>
            </a:prstGeom>
            <a:ln>
              <a:noFill/>
            </a:ln>
          </p:spPr>
        </p:pic>
        <p:sp>
          <p:nvSpPr>
            <p:cNvPr id="73" name="Textfeld 123">
              <a:extLst>
                <a:ext uri="{FF2B5EF4-FFF2-40B4-BE49-F238E27FC236}">
                  <a16:creationId xmlns:a16="http://schemas.microsoft.com/office/drawing/2014/main" id="{CF11A296-02E7-6557-34F2-94E89724A557}"/>
                </a:ext>
              </a:extLst>
            </p:cNvPr>
            <p:cNvSpPr txBox="1"/>
            <p:nvPr/>
          </p:nvSpPr>
          <p:spPr>
            <a:xfrm>
              <a:off x="4774390" y="2214755"/>
              <a:ext cx="655949" cy="538609"/>
            </a:xfrm>
            <a:prstGeom prst="rect">
              <a:avLst/>
            </a:prstGeom>
            <a:noFill/>
            <a:ln>
              <a:noFill/>
            </a:ln>
          </p:spPr>
          <p:txBody>
            <a:bodyPr wrap="non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srgbClr val="000000"/>
                  </a:solidFill>
                  <a:effectLst/>
                  <a:uLnTx/>
                  <a:uFillTx/>
                  <a:latin typeface="Arial" panose="020B0604020202020204"/>
                  <a:ea typeface="+mn-ea"/>
                  <a:cs typeface="+mn-cs"/>
                </a:rPr>
                <a:t>Security </a:t>
              </a:r>
            </a:p>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srgbClr val="000000"/>
                  </a:solidFill>
                  <a:effectLst/>
                  <a:uLnTx/>
                  <a:uFillTx/>
                  <a:latin typeface="Arial" panose="020B0604020202020204"/>
                  <a:ea typeface="+mn-ea"/>
                  <a:cs typeface="+mn-cs"/>
                </a:rPr>
                <a:t>&amp; Stability</a:t>
              </a:r>
            </a:p>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74" name="Group 282">
            <a:extLst>
              <a:ext uri="{FF2B5EF4-FFF2-40B4-BE49-F238E27FC236}">
                <a16:creationId xmlns:a16="http://schemas.microsoft.com/office/drawing/2014/main" id="{7485333A-8465-27A7-951A-01B6F1FA3F70}"/>
              </a:ext>
            </a:extLst>
          </p:cNvPr>
          <p:cNvGrpSpPr/>
          <p:nvPr/>
        </p:nvGrpSpPr>
        <p:grpSpPr>
          <a:xfrm>
            <a:off x="7251009" y="2471582"/>
            <a:ext cx="991463" cy="523220"/>
            <a:chOff x="7868839" y="1781365"/>
            <a:chExt cx="1041494" cy="523220"/>
          </a:xfrm>
          <a:effectLst>
            <a:outerShdw blurRad="50800" dist="38100" dir="2700000" algn="tl" rotWithShape="0">
              <a:prstClr val="black">
                <a:alpha val="40000"/>
              </a:prstClr>
            </a:outerShdw>
          </a:effectLst>
        </p:grpSpPr>
        <p:sp>
          <p:nvSpPr>
            <p:cNvPr id="75" name="Rectangle 44">
              <a:extLst>
                <a:ext uri="{FF2B5EF4-FFF2-40B4-BE49-F238E27FC236}">
                  <a16:creationId xmlns:a16="http://schemas.microsoft.com/office/drawing/2014/main" id="{A9154240-F88A-AD9C-D527-8216ABD8FEFF}"/>
                </a:ext>
              </a:extLst>
            </p:cNvPr>
            <p:cNvSpPr/>
            <p:nvPr/>
          </p:nvSpPr>
          <p:spPr>
            <a:xfrm>
              <a:off x="7868839" y="1797693"/>
              <a:ext cx="1041494" cy="489849"/>
            </a:xfrm>
            <a:prstGeom prst="rect">
              <a:avLst/>
            </a:prstGeom>
            <a:solidFill>
              <a:srgbClr val="DAEAF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000000"/>
                  </a:solidFill>
                  <a:effectLst/>
                  <a:uLnTx/>
                  <a:uFillTx/>
                  <a:latin typeface="Arial" panose="020B0604020202020204"/>
                  <a:ea typeface="+mn-ea"/>
                  <a:cs typeface="+mn-cs"/>
                </a:rPr>
                <a:t>   </a:t>
              </a:r>
            </a:p>
          </p:txBody>
        </p:sp>
        <p:pic>
          <p:nvPicPr>
            <p:cNvPr id="76" name="Picture 76">
              <a:extLst>
                <a:ext uri="{FF2B5EF4-FFF2-40B4-BE49-F238E27FC236}">
                  <a16:creationId xmlns:a16="http://schemas.microsoft.com/office/drawing/2014/main" id="{73DD50CE-DC93-B5CB-023E-E9A1BFFC4490}"/>
                </a:ext>
              </a:extLst>
            </p:cNvPr>
            <p:cNvPicPr>
              <a:picLocks noChangeAspect="1"/>
            </p:cNvPicPr>
            <p:nvPr/>
          </p:nvPicPr>
          <p:blipFill>
            <a:blip r:embed="rId5"/>
            <a:stretch>
              <a:fillRect/>
            </a:stretch>
          </p:blipFill>
          <p:spPr>
            <a:xfrm>
              <a:off x="7915529" y="1891140"/>
              <a:ext cx="289842" cy="293984"/>
            </a:xfrm>
            <a:prstGeom prst="rect">
              <a:avLst/>
            </a:prstGeom>
            <a:ln>
              <a:noFill/>
            </a:ln>
          </p:spPr>
        </p:pic>
        <p:sp>
          <p:nvSpPr>
            <p:cNvPr id="77" name="Textfeld 65">
              <a:extLst>
                <a:ext uri="{FF2B5EF4-FFF2-40B4-BE49-F238E27FC236}">
                  <a16:creationId xmlns:a16="http://schemas.microsoft.com/office/drawing/2014/main" id="{A93AE5BF-5607-EE8E-A7F8-F52CB43DF102}"/>
                </a:ext>
              </a:extLst>
            </p:cNvPr>
            <p:cNvSpPr txBox="1"/>
            <p:nvPr/>
          </p:nvSpPr>
          <p:spPr>
            <a:xfrm>
              <a:off x="8271031" y="1781365"/>
              <a:ext cx="625492" cy="523220"/>
            </a:xfrm>
            <a:prstGeom prst="rect">
              <a:avLst/>
            </a:prstGeom>
            <a:noFill/>
            <a:ln>
              <a:noFill/>
            </a:ln>
          </p:spPr>
          <p:txBody>
            <a:bodyPr wrap="non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000000"/>
                  </a:solidFill>
                  <a:effectLst/>
                  <a:uLnTx/>
                  <a:uFillTx/>
                  <a:latin typeface="Arial" panose="020B0604020202020204"/>
                  <a:ea typeface="+mn-ea"/>
                  <a:cs typeface="+mn-cs"/>
                </a:rPr>
                <a:t>Learning </a:t>
              </a:r>
            </a:p>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000000"/>
                  </a:solidFill>
                  <a:effectLst/>
                  <a:uLnTx/>
                  <a:uFillTx/>
                  <a:latin typeface="Arial" panose="020B0604020202020204"/>
                  <a:ea typeface="+mn-ea"/>
                  <a:cs typeface="+mn-cs"/>
                </a:rPr>
                <a:t>Culture,</a:t>
              </a:r>
            </a:p>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000000"/>
                  </a:solidFill>
                  <a:effectLst/>
                  <a:uLnTx/>
                  <a:uFillTx/>
                  <a:latin typeface="Arial" panose="020B0604020202020204"/>
                  <a:ea typeface="+mn-ea"/>
                  <a:cs typeface="+mn-cs"/>
                </a:rPr>
                <a:t>Attractive </a:t>
              </a:r>
            </a:p>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000000"/>
                  </a:solidFill>
                  <a:effectLst/>
                  <a:uLnTx/>
                  <a:uFillTx/>
                  <a:latin typeface="Arial" panose="020B0604020202020204"/>
                  <a:ea typeface="+mn-ea"/>
                  <a:cs typeface="+mn-cs"/>
                </a:rPr>
                <a:t>Employer</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78" name="Group 285">
            <a:extLst>
              <a:ext uri="{FF2B5EF4-FFF2-40B4-BE49-F238E27FC236}">
                <a16:creationId xmlns:a16="http://schemas.microsoft.com/office/drawing/2014/main" id="{839B4814-6A9B-11BD-982D-479DC2B600FA}"/>
              </a:ext>
            </a:extLst>
          </p:cNvPr>
          <p:cNvGrpSpPr/>
          <p:nvPr/>
        </p:nvGrpSpPr>
        <p:grpSpPr>
          <a:xfrm>
            <a:off x="1289327" y="2481703"/>
            <a:ext cx="1091485" cy="489849"/>
            <a:chOff x="3133097" y="1797693"/>
            <a:chExt cx="1091485" cy="489849"/>
          </a:xfrm>
          <a:effectLst>
            <a:outerShdw blurRad="50800" dist="38100" dir="2700000" algn="tl" rotWithShape="0">
              <a:prstClr val="black">
                <a:alpha val="40000"/>
              </a:prstClr>
            </a:outerShdw>
          </a:effectLst>
        </p:grpSpPr>
        <p:sp>
          <p:nvSpPr>
            <p:cNvPr id="79" name="Rectangle 44">
              <a:extLst>
                <a:ext uri="{FF2B5EF4-FFF2-40B4-BE49-F238E27FC236}">
                  <a16:creationId xmlns:a16="http://schemas.microsoft.com/office/drawing/2014/main" id="{9BD5E144-43D7-1A9A-BB5C-1626EABC9CDF}"/>
                </a:ext>
              </a:extLst>
            </p:cNvPr>
            <p:cNvSpPr/>
            <p:nvPr/>
          </p:nvSpPr>
          <p:spPr>
            <a:xfrm>
              <a:off x="3133097" y="1797693"/>
              <a:ext cx="1041494" cy="489849"/>
            </a:xfrm>
            <a:prstGeom prst="rect">
              <a:avLst/>
            </a:prstGeom>
            <a:solidFill>
              <a:srgbClr val="DAEAF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75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0" name="AutoShape 30">
              <a:extLst>
                <a:ext uri="{FF2B5EF4-FFF2-40B4-BE49-F238E27FC236}">
                  <a16:creationId xmlns:a16="http://schemas.microsoft.com/office/drawing/2014/main" id="{FE8CAC42-BB61-0C00-46D3-207DA301973A}"/>
                </a:ext>
              </a:extLst>
            </p:cNvPr>
            <p:cNvSpPr>
              <a:spLocks/>
            </p:cNvSpPr>
            <p:nvPr/>
          </p:nvSpPr>
          <p:spPr bwMode="auto">
            <a:xfrm>
              <a:off x="3192488" y="1932672"/>
              <a:ext cx="265782" cy="280682"/>
            </a:xfrm>
            <a:custGeom>
              <a:avLst/>
              <a:gdLst>
                <a:gd name="T0" fmla="+- 0 4925 3930"/>
                <a:gd name="T1" fmla="*/ T0 w 1135"/>
                <a:gd name="T2" fmla="+- 0 1739 604"/>
                <a:gd name="T3" fmla="*/ 1739 h 1135"/>
                <a:gd name="T4" fmla="+- 0 4959 3930"/>
                <a:gd name="T5" fmla="*/ T4 w 1135"/>
                <a:gd name="T6" fmla="+- 0 1438 604"/>
                <a:gd name="T7" fmla="*/ 1438 h 1135"/>
                <a:gd name="T8" fmla="+- 0 4733 3930"/>
                <a:gd name="T9" fmla="*/ T8 w 1135"/>
                <a:gd name="T10" fmla="+- 0 1522 604"/>
                <a:gd name="T11" fmla="*/ 1522 h 1135"/>
                <a:gd name="T12" fmla="+- 0 4774 3930"/>
                <a:gd name="T13" fmla="*/ T12 w 1135"/>
                <a:gd name="T14" fmla="+- 0 1649 604"/>
                <a:gd name="T15" fmla="*/ 1649 h 1135"/>
                <a:gd name="T16" fmla="+- 0 4924 3930"/>
                <a:gd name="T17" fmla="*/ T16 w 1135"/>
                <a:gd name="T18" fmla="+- 0 1658 604"/>
                <a:gd name="T19" fmla="*/ 1658 h 1135"/>
                <a:gd name="T20" fmla="+- 0 5024 3930"/>
                <a:gd name="T21" fmla="*/ T20 w 1135"/>
                <a:gd name="T22" fmla="+- 0 1558 604"/>
                <a:gd name="T23" fmla="*/ 1558 h 1135"/>
                <a:gd name="T24" fmla="+- 0 4973 3930"/>
                <a:gd name="T25" fmla="*/ T24 w 1135"/>
                <a:gd name="T26" fmla="+- 0 1448 604"/>
                <a:gd name="T27" fmla="*/ 1448 h 1135"/>
                <a:gd name="T28" fmla="+- 0 4943 3930"/>
                <a:gd name="T29" fmla="*/ T28 w 1135"/>
                <a:gd name="T30" fmla="+- 0 1558 604"/>
                <a:gd name="T31" fmla="*/ 1558 h 1135"/>
                <a:gd name="T32" fmla="+- 0 5024 3930"/>
                <a:gd name="T33" fmla="*/ T32 w 1135"/>
                <a:gd name="T34" fmla="+- 0 1558 604"/>
                <a:gd name="T35" fmla="*/ 1558 h 1135"/>
                <a:gd name="T36" fmla="+- 0 4252 3930"/>
                <a:gd name="T37" fmla="*/ T36 w 1135"/>
                <a:gd name="T38" fmla="+- 0 628 604"/>
                <a:gd name="T39" fmla="*/ 628 h 1135"/>
                <a:gd name="T40" fmla="+- 0 4068 3930"/>
                <a:gd name="T41" fmla="*/ T40 w 1135"/>
                <a:gd name="T42" fmla="+- 0 742 604"/>
                <a:gd name="T43" fmla="*/ 742 h 1135"/>
                <a:gd name="T44" fmla="+- 0 3954 3930"/>
                <a:gd name="T45" fmla="*/ T44 w 1135"/>
                <a:gd name="T46" fmla="+- 0 926 604"/>
                <a:gd name="T47" fmla="*/ 926 h 1135"/>
                <a:gd name="T48" fmla="+- 0 3936 3930"/>
                <a:gd name="T49" fmla="*/ T48 w 1135"/>
                <a:gd name="T50" fmla="+- 0 1151 604"/>
                <a:gd name="T51" fmla="*/ 1151 h 1135"/>
                <a:gd name="T52" fmla="+- 0 4021 3930"/>
                <a:gd name="T53" fmla="*/ T52 w 1135"/>
                <a:gd name="T54" fmla="+- 0 1353 604"/>
                <a:gd name="T55" fmla="*/ 1353 h 1135"/>
                <a:gd name="T56" fmla="+- 0 4184 3930"/>
                <a:gd name="T57" fmla="*/ T56 w 1135"/>
                <a:gd name="T58" fmla="+- 0 1493 604"/>
                <a:gd name="T59" fmla="*/ 1493 h 1135"/>
                <a:gd name="T60" fmla="+- 0 4401 3930"/>
                <a:gd name="T61" fmla="*/ T60 w 1135"/>
                <a:gd name="T62" fmla="+- 0 1545 604"/>
                <a:gd name="T63" fmla="*/ 1545 h 1135"/>
                <a:gd name="T64" fmla="+- 0 4635 3930"/>
                <a:gd name="T65" fmla="*/ T64 w 1135"/>
                <a:gd name="T66" fmla="+- 0 1483 604"/>
                <a:gd name="T67" fmla="*/ 1483 h 1135"/>
                <a:gd name="T68" fmla="+- 0 4948 3930"/>
                <a:gd name="T69" fmla="*/ T68 w 1135"/>
                <a:gd name="T70" fmla="+- 0 1431 604"/>
                <a:gd name="T71" fmla="*/ 1431 h 1135"/>
                <a:gd name="T72" fmla="+- 0 4348 3930"/>
                <a:gd name="T73" fmla="*/ T72 w 1135"/>
                <a:gd name="T74" fmla="+- 0 1427 604"/>
                <a:gd name="T75" fmla="*/ 1427 h 1135"/>
                <a:gd name="T76" fmla="+- 0 4299 3930"/>
                <a:gd name="T77" fmla="*/ T76 w 1135"/>
                <a:gd name="T78" fmla="+- 0 1378 604"/>
                <a:gd name="T79" fmla="*/ 1378 h 1135"/>
                <a:gd name="T80" fmla="+- 0 4113 3930"/>
                <a:gd name="T81" fmla="*/ T80 w 1135"/>
                <a:gd name="T82" fmla="+- 0 1284 604"/>
                <a:gd name="T83" fmla="*/ 1284 h 1135"/>
                <a:gd name="T84" fmla="+- 0 4046 3930"/>
                <a:gd name="T85" fmla="*/ T84 w 1135"/>
                <a:gd name="T86" fmla="+- 0 1086 604"/>
                <a:gd name="T87" fmla="*/ 1086 h 1135"/>
                <a:gd name="T88" fmla="+- 0 4053 3930"/>
                <a:gd name="T89" fmla="*/ T88 w 1135"/>
                <a:gd name="T90" fmla="+- 0 1001 604"/>
                <a:gd name="T91" fmla="*/ 1001 h 1135"/>
                <a:gd name="T92" fmla="+- 0 4189 3930"/>
                <a:gd name="T93" fmla="*/ T92 w 1135"/>
                <a:gd name="T94" fmla="+- 0 790 604"/>
                <a:gd name="T95" fmla="*/ 790 h 1135"/>
                <a:gd name="T96" fmla="+- 0 4349 3930"/>
                <a:gd name="T97" fmla="*/ T96 w 1135"/>
                <a:gd name="T98" fmla="+- 0 725 604"/>
                <a:gd name="T99" fmla="*/ 725 h 1135"/>
                <a:gd name="T100" fmla="+- 0 4387 3930"/>
                <a:gd name="T101" fmla="*/ T100 w 1135"/>
                <a:gd name="T102" fmla="+- 0 721 604"/>
                <a:gd name="T103" fmla="*/ 721 h 1135"/>
                <a:gd name="T104" fmla="+- 0 4678 3930"/>
                <a:gd name="T105" fmla="*/ T104 w 1135"/>
                <a:gd name="T106" fmla="+- 0 695 604"/>
                <a:gd name="T107" fmla="*/ 695 h 1135"/>
                <a:gd name="T108" fmla="+- 0 4477 3930"/>
                <a:gd name="T109" fmla="*/ T108 w 1135"/>
                <a:gd name="T110" fmla="+- 0 611 604"/>
                <a:gd name="T111" fmla="*/ 611 h 1135"/>
                <a:gd name="T112" fmla="+- 0 4383 3930"/>
                <a:gd name="T113" fmla="*/ T112 w 1135"/>
                <a:gd name="T114" fmla="+- 0 1183 604"/>
                <a:gd name="T115" fmla="*/ 1183 h 1135"/>
                <a:gd name="T116" fmla="+- 0 4619 3930"/>
                <a:gd name="T117" fmla="*/ T116 w 1135"/>
                <a:gd name="T118" fmla="+- 0 1356 604"/>
                <a:gd name="T119" fmla="*/ 1356 h 1135"/>
                <a:gd name="T120" fmla="+- 0 4461 3930"/>
                <a:gd name="T121" fmla="*/ T120 w 1135"/>
                <a:gd name="T122" fmla="+- 0 1426 604"/>
                <a:gd name="T123" fmla="*/ 1426 h 1135"/>
                <a:gd name="T124" fmla="+- 0 4936 3930"/>
                <a:gd name="T125" fmla="*/ T124 w 1135"/>
                <a:gd name="T126" fmla="+- 0 1423 604"/>
                <a:gd name="T127" fmla="*/ 1423 h 1135"/>
                <a:gd name="T128" fmla="+- 0 4761 3930"/>
                <a:gd name="T129" fmla="*/ T128 w 1135"/>
                <a:gd name="T130" fmla="+- 0 1377 604"/>
                <a:gd name="T131" fmla="*/ 1377 h 1135"/>
                <a:gd name="T132" fmla="+- 0 4681 3930"/>
                <a:gd name="T133" fmla="*/ T132 w 1135"/>
                <a:gd name="T134" fmla="+- 0 1294 604"/>
                <a:gd name="T135" fmla="*/ 1294 h 1135"/>
                <a:gd name="T136" fmla="+- 0 4469 3930"/>
                <a:gd name="T137" fmla="*/ T136 w 1135"/>
                <a:gd name="T138" fmla="+- 0 1209 604"/>
                <a:gd name="T139" fmla="*/ 1209 h 1135"/>
                <a:gd name="T140" fmla="+- 0 4871 3930"/>
                <a:gd name="T141" fmla="*/ T140 w 1135"/>
                <a:gd name="T142" fmla="+- 0 1075 604"/>
                <a:gd name="T143" fmla="*/ 1075 h 1135"/>
                <a:gd name="T144" fmla="+- 0 4501 3930"/>
                <a:gd name="T145" fmla="*/ T144 w 1135"/>
                <a:gd name="T146" fmla="+- 0 1030 604"/>
                <a:gd name="T147" fmla="*/ 1030 h 1135"/>
                <a:gd name="T148" fmla="+- 0 4921 3930"/>
                <a:gd name="T149" fmla="*/ T148 w 1135"/>
                <a:gd name="T150" fmla="+- 0 1419 604"/>
                <a:gd name="T151" fmla="*/ 1419 h 1135"/>
                <a:gd name="T152" fmla="+- 0 4214 3930"/>
                <a:gd name="T153" fmla="*/ T152 w 1135"/>
                <a:gd name="T154" fmla="+- 0 1086 604"/>
                <a:gd name="T155" fmla="*/ 1086 h 1135"/>
                <a:gd name="T156" fmla="+- 0 4214 3930"/>
                <a:gd name="T157" fmla="*/ T156 w 1135"/>
                <a:gd name="T158" fmla="+- 0 1271 604"/>
                <a:gd name="T159" fmla="*/ 1271 h 1135"/>
                <a:gd name="T160" fmla="+- 0 4299 3930"/>
                <a:gd name="T161" fmla="*/ T160 w 1135"/>
                <a:gd name="T162" fmla="+- 0 1238 604"/>
                <a:gd name="T163" fmla="*/ 1238 h 1135"/>
                <a:gd name="T164" fmla="+- 0 4867 3930"/>
                <a:gd name="T165" fmla="*/ T164 w 1135"/>
                <a:gd name="T166" fmla="+- 0 1115 604"/>
                <a:gd name="T167" fmla="*/ 1115 h 1135"/>
                <a:gd name="T168" fmla="+- 0 4729 3930"/>
                <a:gd name="T169" fmla="*/ T168 w 1135"/>
                <a:gd name="T170" fmla="+- 0 1211 604"/>
                <a:gd name="T171" fmla="*/ 1211 h 1135"/>
                <a:gd name="T172" fmla="+- 0 4816 3930"/>
                <a:gd name="T173" fmla="*/ T172 w 1135"/>
                <a:gd name="T174" fmla="+- 0 1294 604"/>
                <a:gd name="T175" fmla="*/ 1294 h 1135"/>
                <a:gd name="T176" fmla="+- 0 4867 3930"/>
                <a:gd name="T177" fmla="*/ T176 w 1135"/>
                <a:gd name="T178" fmla="+- 0 1115 604"/>
                <a:gd name="T179" fmla="*/ 1115 h 1135"/>
                <a:gd name="T180" fmla="+- 0 4359 3930"/>
                <a:gd name="T181" fmla="*/ T180 w 1135"/>
                <a:gd name="T182" fmla="+- 0 915 604"/>
                <a:gd name="T183" fmla="*/ 915 h 1135"/>
                <a:gd name="T184" fmla="+- 0 4740 3930"/>
                <a:gd name="T185" fmla="*/ T184 w 1135"/>
                <a:gd name="T186" fmla="+- 0 971 604"/>
                <a:gd name="T187" fmla="*/ 971 h 1135"/>
                <a:gd name="T188" fmla="+- 0 4867 3930"/>
                <a:gd name="T189" fmla="*/ T188 w 1135"/>
                <a:gd name="T190" fmla="+- 0 1030 604"/>
                <a:gd name="T191" fmla="*/ 1030 h 1135"/>
                <a:gd name="T192" fmla="+- 0 4842 3930"/>
                <a:gd name="T193" fmla="*/ T192 w 1135"/>
                <a:gd name="T194" fmla="+- 0 914 604"/>
                <a:gd name="T195" fmla="*/ 914 h 1135"/>
                <a:gd name="T196" fmla="+- 0 4358 3930"/>
                <a:gd name="T197" fmla="*/ T196 w 1135"/>
                <a:gd name="T198" fmla="+- 0 914 604"/>
                <a:gd name="T199" fmla="*/ 914 h 1135"/>
                <a:gd name="T200" fmla="+- 0 4818 3930"/>
                <a:gd name="T201" fmla="*/ T200 w 1135"/>
                <a:gd name="T202" fmla="+- 0 859 604"/>
                <a:gd name="T203" fmla="*/ 859 h 1135"/>
                <a:gd name="T204" fmla="+- 0 4364 3930"/>
                <a:gd name="T205" fmla="*/ T204 w 1135"/>
                <a:gd name="T206" fmla="+- 0 748 604"/>
                <a:gd name="T207" fmla="*/ 748 h 1135"/>
                <a:gd name="T208" fmla="+- 0 4474 3930"/>
                <a:gd name="T209" fmla="*/ T208 w 1135"/>
                <a:gd name="T210" fmla="+- 0 728 604"/>
                <a:gd name="T211" fmla="*/ 728 h 1135"/>
                <a:gd name="T212" fmla="+- 0 4657 3930"/>
                <a:gd name="T213" fmla="*/ T212 w 1135"/>
                <a:gd name="T214" fmla="+- 0 830 604"/>
                <a:gd name="T215" fmla="*/ 830 h 1135"/>
                <a:gd name="T216" fmla="+- 0 4733 3930"/>
                <a:gd name="T217" fmla="*/ T216 w 1135"/>
                <a:gd name="T218" fmla="+- 0 742 604"/>
                <a:gd name="T219" fmla="*/ 742 h 1135"/>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 ang="0">
                  <a:pos x="T133" y="T135"/>
                </a:cxn>
                <a:cxn ang="0">
                  <a:pos x="T137" y="T139"/>
                </a:cxn>
                <a:cxn ang="0">
                  <a:pos x="T141" y="T143"/>
                </a:cxn>
                <a:cxn ang="0">
                  <a:pos x="T145" y="T147"/>
                </a:cxn>
                <a:cxn ang="0">
                  <a:pos x="T149" y="T151"/>
                </a:cxn>
                <a:cxn ang="0">
                  <a:pos x="T153" y="T155"/>
                </a:cxn>
                <a:cxn ang="0">
                  <a:pos x="T157" y="T159"/>
                </a:cxn>
                <a:cxn ang="0">
                  <a:pos x="T161" y="T163"/>
                </a:cxn>
                <a:cxn ang="0">
                  <a:pos x="T165" y="T167"/>
                </a:cxn>
                <a:cxn ang="0">
                  <a:pos x="T169" y="T171"/>
                </a:cxn>
                <a:cxn ang="0">
                  <a:pos x="T173" y="T175"/>
                </a:cxn>
                <a:cxn ang="0">
                  <a:pos x="T177" y="T179"/>
                </a:cxn>
                <a:cxn ang="0">
                  <a:pos x="T181" y="T183"/>
                </a:cxn>
                <a:cxn ang="0">
                  <a:pos x="T185" y="T187"/>
                </a:cxn>
                <a:cxn ang="0">
                  <a:pos x="T189" y="T191"/>
                </a:cxn>
                <a:cxn ang="0">
                  <a:pos x="T193" y="T195"/>
                </a:cxn>
                <a:cxn ang="0">
                  <a:pos x="T197" y="T199"/>
                </a:cxn>
                <a:cxn ang="0">
                  <a:pos x="T201" y="T203"/>
                </a:cxn>
                <a:cxn ang="0">
                  <a:pos x="T205" y="T207"/>
                </a:cxn>
                <a:cxn ang="0">
                  <a:pos x="T209" y="T211"/>
                </a:cxn>
                <a:cxn ang="0">
                  <a:pos x="T213" y="T215"/>
                </a:cxn>
                <a:cxn ang="0">
                  <a:pos x="T217" y="T219"/>
                </a:cxn>
              </a:cxnLst>
              <a:rect l="0" t="0" r="r" b="b"/>
              <a:pathLst>
                <a:path w="1135" h="1135">
                  <a:moveTo>
                    <a:pt x="994" y="1054"/>
                  </a:moveTo>
                  <a:lnTo>
                    <a:pt x="914" y="1054"/>
                  </a:lnTo>
                  <a:lnTo>
                    <a:pt x="995" y="1135"/>
                  </a:lnTo>
                  <a:lnTo>
                    <a:pt x="1034" y="1094"/>
                  </a:lnTo>
                  <a:lnTo>
                    <a:pt x="994" y="1054"/>
                  </a:lnTo>
                  <a:close/>
                  <a:moveTo>
                    <a:pt x="1029" y="834"/>
                  </a:moveTo>
                  <a:lnTo>
                    <a:pt x="770" y="834"/>
                  </a:lnTo>
                  <a:lnTo>
                    <a:pt x="812" y="876"/>
                  </a:lnTo>
                  <a:lnTo>
                    <a:pt x="803" y="918"/>
                  </a:lnTo>
                  <a:lnTo>
                    <a:pt x="805" y="964"/>
                  </a:lnTo>
                  <a:lnTo>
                    <a:pt x="819" y="1009"/>
                  </a:lnTo>
                  <a:lnTo>
                    <a:pt x="844" y="1045"/>
                  </a:lnTo>
                  <a:lnTo>
                    <a:pt x="884" y="1085"/>
                  </a:lnTo>
                  <a:lnTo>
                    <a:pt x="914" y="1054"/>
                  </a:lnTo>
                  <a:lnTo>
                    <a:pt x="994" y="1054"/>
                  </a:lnTo>
                  <a:lnTo>
                    <a:pt x="954" y="1014"/>
                  </a:lnTo>
                  <a:lnTo>
                    <a:pt x="1013" y="954"/>
                  </a:lnTo>
                  <a:lnTo>
                    <a:pt x="1094" y="954"/>
                  </a:lnTo>
                  <a:lnTo>
                    <a:pt x="1053" y="914"/>
                  </a:lnTo>
                  <a:lnTo>
                    <a:pt x="1083" y="883"/>
                  </a:lnTo>
                  <a:lnTo>
                    <a:pt x="1043" y="844"/>
                  </a:lnTo>
                  <a:lnTo>
                    <a:pt x="1029" y="834"/>
                  </a:lnTo>
                  <a:close/>
                  <a:moveTo>
                    <a:pt x="1094" y="954"/>
                  </a:moveTo>
                  <a:lnTo>
                    <a:pt x="1013" y="954"/>
                  </a:lnTo>
                  <a:lnTo>
                    <a:pt x="1094" y="1034"/>
                  </a:lnTo>
                  <a:lnTo>
                    <a:pt x="1134" y="994"/>
                  </a:lnTo>
                  <a:lnTo>
                    <a:pt x="1094" y="954"/>
                  </a:lnTo>
                  <a:close/>
                  <a:moveTo>
                    <a:pt x="471" y="0"/>
                  </a:moveTo>
                  <a:lnTo>
                    <a:pt x="394" y="7"/>
                  </a:lnTo>
                  <a:lnTo>
                    <a:pt x="322" y="24"/>
                  </a:lnTo>
                  <a:lnTo>
                    <a:pt x="254" y="53"/>
                  </a:lnTo>
                  <a:lnTo>
                    <a:pt x="193" y="91"/>
                  </a:lnTo>
                  <a:lnTo>
                    <a:pt x="138" y="138"/>
                  </a:lnTo>
                  <a:lnTo>
                    <a:pt x="91" y="193"/>
                  </a:lnTo>
                  <a:lnTo>
                    <a:pt x="53" y="255"/>
                  </a:lnTo>
                  <a:lnTo>
                    <a:pt x="24" y="322"/>
                  </a:lnTo>
                  <a:lnTo>
                    <a:pt x="6" y="395"/>
                  </a:lnTo>
                  <a:lnTo>
                    <a:pt x="0" y="471"/>
                  </a:lnTo>
                  <a:lnTo>
                    <a:pt x="6" y="547"/>
                  </a:lnTo>
                  <a:lnTo>
                    <a:pt x="24" y="620"/>
                  </a:lnTo>
                  <a:lnTo>
                    <a:pt x="53" y="687"/>
                  </a:lnTo>
                  <a:lnTo>
                    <a:pt x="91" y="749"/>
                  </a:lnTo>
                  <a:lnTo>
                    <a:pt x="138" y="804"/>
                  </a:lnTo>
                  <a:lnTo>
                    <a:pt x="193" y="851"/>
                  </a:lnTo>
                  <a:lnTo>
                    <a:pt x="254" y="889"/>
                  </a:lnTo>
                  <a:lnTo>
                    <a:pt x="322" y="917"/>
                  </a:lnTo>
                  <a:lnTo>
                    <a:pt x="394" y="935"/>
                  </a:lnTo>
                  <a:lnTo>
                    <a:pt x="471" y="941"/>
                  </a:lnTo>
                  <a:lnTo>
                    <a:pt x="554" y="934"/>
                  </a:lnTo>
                  <a:lnTo>
                    <a:pt x="632" y="913"/>
                  </a:lnTo>
                  <a:lnTo>
                    <a:pt x="705" y="879"/>
                  </a:lnTo>
                  <a:lnTo>
                    <a:pt x="770" y="834"/>
                  </a:lnTo>
                  <a:lnTo>
                    <a:pt x="1029" y="834"/>
                  </a:lnTo>
                  <a:lnTo>
                    <a:pt x="1018" y="827"/>
                  </a:lnTo>
                  <a:lnTo>
                    <a:pt x="471" y="827"/>
                  </a:lnTo>
                  <a:lnTo>
                    <a:pt x="444" y="826"/>
                  </a:lnTo>
                  <a:lnTo>
                    <a:pt x="418" y="823"/>
                  </a:lnTo>
                  <a:lnTo>
                    <a:pt x="393" y="819"/>
                  </a:lnTo>
                  <a:lnTo>
                    <a:pt x="369" y="812"/>
                  </a:lnTo>
                  <a:lnTo>
                    <a:pt x="369" y="774"/>
                  </a:lnTo>
                  <a:lnTo>
                    <a:pt x="284" y="774"/>
                  </a:lnTo>
                  <a:lnTo>
                    <a:pt x="229" y="732"/>
                  </a:lnTo>
                  <a:lnTo>
                    <a:pt x="183" y="680"/>
                  </a:lnTo>
                  <a:lnTo>
                    <a:pt x="148" y="621"/>
                  </a:lnTo>
                  <a:lnTo>
                    <a:pt x="125" y="554"/>
                  </a:lnTo>
                  <a:lnTo>
                    <a:pt x="116" y="482"/>
                  </a:lnTo>
                  <a:lnTo>
                    <a:pt x="284" y="482"/>
                  </a:lnTo>
                  <a:lnTo>
                    <a:pt x="284" y="397"/>
                  </a:lnTo>
                  <a:lnTo>
                    <a:pt x="123" y="397"/>
                  </a:lnTo>
                  <a:lnTo>
                    <a:pt x="152" y="316"/>
                  </a:lnTo>
                  <a:lnTo>
                    <a:pt x="198" y="244"/>
                  </a:lnTo>
                  <a:lnTo>
                    <a:pt x="259" y="186"/>
                  </a:lnTo>
                  <a:lnTo>
                    <a:pt x="334" y="144"/>
                  </a:lnTo>
                  <a:lnTo>
                    <a:pt x="434" y="144"/>
                  </a:lnTo>
                  <a:lnTo>
                    <a:pt x="419" y="121"/>
                  </a:lnTo>
                  <a:lnTo>
                    <a:pt x="432" y="119"/>
                  </a:lnTo>
                  <a:lnTo>
                    <a:pt x="445" y="118"/>
                  </a:lnTo>
                  <a:lnTo>
                    <a:pt x="457" y="117"/>
                  </a:lnTo>
                  <a:lnTo>
                    <a:pt x="471" y="117"/>
                  </a:lnTo>
                  <a:lnTo>
                    <a:pt x="778" y="117"/>
                  </a:lnTo>
                  <a:lnTo>
                    <a:pt x="748" y="91"/>
                  </a:lnTo>
                  <a:lnTo>
                    <a:pt x="687" y="53"/>
                  </a:lnTo>
                  <a:lnTo>
                    <a:pt x="619" y="24"/>
                  </a:lnTo>
                  <a:lnTo>
                    <a:pt x="547" y="7"/>
                  </a:lnTo>
                  <a:lnTo>
                    <a:pt x="471" y="0"/>
                  </a:lnTo>
                  <a:close/>
                  <a:moveTo>
                    <a:pt x="571" y="426"/>
                  </a:moveTo>
                  <a:lnTo>
                    <a:pt x="453" y="579"/>
                  </a:lnTo>
                  <a:lnTo>
                    <a:pt x="453" y="709"/>
                  </a:lnTo>
                  <a:lnTo>
                    <a:pt x="649" y="710"/>
                  </a:lnTo>
                  <a:lnTo>
                    <a:pt x="689" y="752"/>
                  </a:lnTo>
                  <a:lnTo>
                    <a:pt x="641" y="783"/>
                  </a:lnTo>
                  <a:lnTo>
                    <a:pt x="588" y="807"/>
                  </a:lnTo>
                  <a:lnTo>
                    <a:pt x="531" y="822"/>
                  </a:lnTo>
                  <a:lnTo>
                    <a:pt x="471" y="827"/>
                  </a:lnTo>
                  <a:lnTo>
                    <a:pt x="1018" y="827"/>
                  </a:lnTo>
                  <a:lnTo>
                    <a:pt x="1006" y="819"/>
                  </a:lnTo>
                  <a:lnTo>
                    <a:pt x="991" y="815"/>
                  </a:lnTo>
                  <a:lnTo>
                    <a:pt x="872" y="815"/>
                  </a:lnTo>
                  <a:lnTo>
                    <a:pt x="831" y="773"/>
                  </a:lnTo>
                  <a:lnTo>
                    <a:pt x="877" y="708"/>
                  </a:lnTo>
                  <a:lnTo>
                    <a:pt x="886" y="690"/>
                  </a:lnTo>
                  <a:lnTo>
                    <a:pt x="751" y="690"/>
                  </a:lnTo>
                  <a:lnTo>
                    <a:pt x="684" y="624"/>
                  </a:lnTo>
                  <a:lnTo>
                    <a:pt x="539" y="624"/>
                  </a:lnTo>
                  <a:lnTo>
                    <a:pt x="539" y="605"/>
                  </a:lnTo>
                  <a:lnTo>
                    <a:pt x="614" y="511"/>
                  </a:lnTo>
                  <a:lnTo>
                    <a:pt x="937" y="511"/>
                  </a:lnTo>
                  <a:lnTo>
                    <a:pt x="941" y="471"/>
                  </a:lnTo>
                  <a:lnTo>
                    <a:pt x="937" y="426"/>
                  </a:lnTo>
                  <a:lnTo>
                    <a:pt x="823" y="426"/>
                  </a:lnTo>
                  <a:lnTo>
                    <a:pt x="571" y="426"/>
                  </a:lnTo>
                  <a:close/>
                  <a:moveTo>
                    <a:pt x="915" y="805"/>
                  </a:moveTo>
                  <a:lnTo>
                    <a:pt x="872" y="815"/>
                  </a:lnTo>
                  <a:lnTo>
                    <a:pt x="991" y="815"/>
                  </a:lnTo>
                  <a:lnTo>
                    <a:pt x="961" y="806"/>
                  </a:lnTo>
                  <a:lnTo>
                    <a:pt x="915" y="805"/>
                  </a:lnTo>
                  <a:close/>
                  <a:moveTo>
                    <a:pt x="284" y="482"/>
                  </a:moveTo>
                  <a:lnTo>
                    <a:pt x="198" y="482"/>
                  </a:lnTo>
                  <a:lnTo>
                    <a:pt x="198" y="582"/>
                  </a:lnTo>
                  <a:lnTo>
                    <a:pt x="284" y="667"/>
                  </a:lnTo>
                  <a:lnTo>
                    <a:pt x="284" y="774"/>
                  </a:lnTo>
                  <a:lnTo>
                    <a:pt x="369" y="774"/>
                  </a:lnTo>
                  <a:lnTo>
                    <a:pt x="369" y="634"/>
                  </a:lnTo>
                  <a:lnTo>
                    <a:pt x="284" y="549"/>
                  </a:lnTo>
                  <a:lnTo>
                    <a:pt x="284" y="482"/>
                  </a:lnTo>
                  <a:close/>
                  <a:moveTo>
                    <a:pt x="937" y="511"/>
                  </a:moveTo>
                  <a:lnTo>
                    <a:pt x="823" y="511"/>
                  </a:lnTo>
                  <a:lnTo>
                    <a:pt x="815" y="560"/>
                  </a:lnTo>
                  <a:lnTo>
                    <a:pt x="799" y="607"/>
                  </a:lnTo>
                  <a:lnTo>
                    <a:pt x="778" y="650"/>
                  </a:lnTo>
                  <a:lnTo>
                    <a:pt x="751" y="690"/>
                  </a:lnTo>
                  <a:lnTo>
                    <a:pt x="886" y="690"/>
                  </a:lnTo>
                  <a:lnTo>
                    <a:pt x="912" y="635"/>
                  </a:lnTo>
                  <a:lnTo>
                    <a:pt x="933" y="555"/>
                  </a:lnTo>
                  <a:lnTo>
                    <a:pt x="937" y="511"/>
                  </a:lnTo>
                  <a:close/>
                  <a:moveTo>
                    <a:pt x="912" y="310"/>
                  </a:moveTo>
                  <a:lnTo>
                    <a:pt x="429" y="310"/>
                  </a:lnTo>
                  <a:lnTo>
                    <a:pt x="429" y="311"/>
                  </a:lnTo>
                  <a:lnTo>
                    <a:pt x="787" y="311"/>
                  </a:lnTo>
                  <a:lnTo>
                    <a:pt x="800" y="339"/>
                  </a:lnTo>
                  <a:lnTo>
                    <a:pt x="810" y="367"/>
                  </a:lnTo>
                  <a:lnTo>
                    <a:pt x="818" y="396"/>
                  </a:lnTo>
                  <a:lnTo>
                    <a:pt x="823" y="426"/>
                  </a:lnTo>
                  <a:lnTo>
                    <a:pt x="937" y="426"/>
                  </a:lnTo>
                  <a:lnTo>
                    <a:pt x="935" y="395"/>
                  </a:lnTo>
                  <a:lnTo>
                    <a:pt x="917" y="322"/>
                  </a:lnTo>
                  <a:lnTo>
                    <a:pt x="912" y="310"/>
                  </a:lnTo>
                  <a:close/>
                  <a:moveTo>
                    <a:pt x="434" y="144"/>
                  </a:moveTo>
                  <a:lnTo>
                    <a:pt x="334" y="144"/>
                  </a:lnTo>
                  <a:lnTo>
                    <a:pt x="428" y="310"/>
                  </a:lnTo>
                  <a:lnTo>
                    <a:pt x="429" y="310"/>
                  </a:lnTo>
                  <a:lnTo>
                    <a:pt x="912" y="310"/>
                  </a:lnTo>
                  <a:lnTo>
                    <a:pt x="888" y="255"/>
                  </a:lnTo>
                  <a:lnTo>
                    <a:pt x="871" y="226"/>
                  </a:lnTo>
                  <a:lnTo>
                    <a:pt x="483" y="226"/>
                  </a:lnTo>
                  <a:lnTo>
                    <a:pt x="434" y="144"/>
                  </a:lnTo>
                  <a:close/>
                  <a:moveTo>
                    <a:pt x="778" y="117"/>
                  </a:moveTo>
                  <a:lnTo>
                    <a:pt x="471" y="117"/>
                  </a:lnTo>
                  <a:lnTo>
                    <a:pt x="544" y="124"/>
                  </a:lnTo>
                  <a:lnTo>
                    <a:pt x="612" y="146"/>
                  </a:lnTo>
                  <a:lnTo>
                    <a:pt x="673" y="180"/>
                  </a:lnTo>
                  <a:lnTo>
                    <a:pt x="727" y="226"/>
                  </a:lnTo>
                  <a:lnTo>
                    <a:pt x="871" y="226"/>
                  </a:lnTo>
                  <a:lnTo>
                    <a:pt x="850" y="193"/>
                  </a:lnTo>
                  <a:lnTo>
                    <a:pt x="803" y="138"/>
                  </a:lnTo>
                  <a:lnTo>
                    <a:pt x="778" y="117"/>
                  </a:lnTo>
                  <a:close/>
                </a:path>
              </a:pathLst>
            </a:custGeom>
            <a:solidFill>
              <a:srgbClr val="231F2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457166" rtl="0" eaLnBrk="1" fontAlgn="auto" latinLnBrk="0" hangingPunct="1">
                <a:lnSpc>
                  <a:spcPct val="100000"/>
                </a:lnSpc>
                <a:spcBef>
                  <a:spcPts val="0"/>
                </a:spcBef>
                <a:spcAft>
                  <a:spcPts val="0"/>
                </a:spcAft>
                <a:buClrTx/>
                <a:buSzTx/>
                <a:buFontTx/>
                <a:buNone/>
                <a:tabLst/>
                <a:defRPr/>
              </a:pPr>
              <a:endParaRPr kumimoji="0" lang="en-US" sz="750" b="0" i="0" u="none" strike="noStrike" kern="1200" cap="none" spc="0" normalizeH="0" baseline="0" noProof="0">
                <a:ln>
                  <a:noFill/>
                </a:ln>
                <a:solidFill>
                  <a:prstClr val="black"/>
                </a:solidFill>
                <a:effectLst/>
                <a:uLnTx/>
                <a:uFillTx/>
                <a:latin typeface="Arial"/>
                <a:ea typeface="+mn-ea"/>
                <a:cs typeface="+mn-cs"/>
              </a:endParaRPr>
            </a:p>
          </p:txBody>
        </p:sp>
        <p:sp>
          <p:nvSpPr>
            <p:cNvPr id="81" name="Textfeld 126">
              <a:extLst>
                <a:ext uri="{FF2B5EF4-FFF2-40B4-BE49-F238E27FC236}">
                  <a16:creationId xmlns:a16="http://schemas.microsoft.com/office/drawing/2014/main" id="{3F724703-FE08-D2B6-0102-43DDC60357B3}"/>
                </a:ext>
              </a:extLst>
            </p:cNvPr>
            <p:cNvSpPr txBox="1"/>
            <p:nvPr/>
          </p:nvSpPr>
          <p:spPr>
            <a:xfrm>
              <a:off x="3385890" y="1952787"/>
              <a:ext cx="838692" cy="207749"/>
            </a:xfrm>
            <a:prstGeom prst="rect">
              <a:avLst/>
            </a:prstGeom>
            <a:noFill/>
            <a:ln>
              <a:noFill/>
            </a:ln>
          </p:spPr>
          <p:txBody>
            <a:bodyPr wrap="non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srgbClr val="000000"/>
                  </a:solidFill>
                  <a:effectLst/>
                  <a:uLnTx/>
                  <a:uFillTx/>
                  <a:latin typeface="Arial" panose="020B0604020202020204"/>
                  <a:ea typeface="+mn-ea"/>
                  <a:cs typeface="+mn-cs"/>
                </a:rPr>
                <a:t>Sustainable IT</a:t>
              </a:r>
            </a:p>
          </p:txBody>
        </p:sp>
      </p:grpSp>
      <p:grpSp>
        <p:nvGrpSpPr>
          <p:cNvPr id="82" name="Group 284">
            <a:extLst>
              <a:ext uri="{FF2B5EF4-FFF2-40B4-BE49-F238E27FC236}">
                <a16:creationId xmlns:a16="http://schemas.microsoft.com/office/drawing/2014/main" id="{D2D0C8AD-DC6A-39B8-09D4-24DC74FDAB25}"/>
              </a:ext>
            </a:extLst>
          </p:cNvPr>
          <p:cNvGrpSpPr/>
          <p:nvPr/>
        </p:nvGrpSpPr>
        <p:grpSpPr>
          <a:xfrm>
            <a:off x="4906064" y="2487909"/>
            <a:ext cx="1071282" cy="489850"/>
            <a:chOff x="5523893" y="1797693"/>
            <a:chExt cx="1071282" cy="489850"/>
          </a:xfrm>
          <a:effectLst>
            <a:outerShdw blurRad="50800" dist="38100" dir="2700000" algn="tl" rotWithShape="0">
              <a:prstClr val="black">
                <a:alpha val="40000"/>
              </a:prstClr>
            </a:outerShdw>
          </a:effectLst>
        </p:grpSpPr>
        <p:sp>
          <p:nvSpPr>
            <p:cNvPr id="83" name="Rechteck 111">
              <a:extLst>
                <a:ext uri="{FF2B5EF4-FFF2-40B4-BE49-F238E27FC236}">
                  <a16:creationId xmlns:a16="http://schemas.microsoft.com/office/drawing/2014/main" id="{EACFB723-272D-4009-DFAD-AB4091E25D12}"/>
                </a:ext>
              </a:extLst>
            </p:cNvPr>
            <p:cNvSpPr/>
            <p:nvPr/>
          </p:nvSpPr>
          <p:spPr>
            <a:xfrm>
              <a:off x="5545405" y="1797693"/>
              <a:ext cx="178964" cy="486539"/>
            </a:xfrm>
            <a:prstGeom prst="rect">
              <a:avLst/>
            </a:prstGeom>
            <a:solidFill>
              <a:srgbClr val="DAEA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75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85" name="Group 11">
              <a:extLst>
                <a:ext uri="{FF2B5EF4-FFF2-40B4-BE49-F238E27FC236}">
                  <a16:creationId xmlns:a16="http://schemas.microsoft.com/office/drawing/2014/main" id="{7897CD9C-AC23-BB63-F4A6-DC0873C34432}"/>
                </a:ext>
              </a:extLst>
            </p:cNvPr>
            <p:cNvGrpSpPr/>
            <p:nvPr/>
          </p:nvGrpSpPr>
          <p:grpSpPr>
            <a:xfrm>
              <a:off x="5523893" y="1797693"/>
              <a:ext cx="1071282" cy="489850"/>
              <a:chOff x="5603330" y="2122223"/>
              <a:chExt cx="1071282" cy="489850"/>
            </a:xfrm>
          </p:grpSpPr>
          <p:sp>
            <p:nvSpPr>
              <p:cNvPr id="86" name="Rectangle 44">
                <a:extLst>
                  <a:ext uri="{FF2B5EF4-FFF2-40B4-BE49-F238E27FC236}">
                    <a16:creationId xmlns:a16="http://schemas.microsoft.com/office/drawing/2014/main" id="{58D511A3-266B-9E20-706B-2559A5CF12F9}"/>
                  </a:ext>
                </a:extLst>
              </p:cNvPr>
              <p:cNvSpPr/>
              <p:nvPr/>
            </p:nvSpPr>
            <p:spPr>
              <a:xfrm>
                <a:off x="5603330" y="2122223"/>
                <a:ext cx="1063006" cy="489850"/>
              </a:xfrm>
              <a:prstGeom prst="rect">
                <a:avLst/>
              </a:prstGeom>
              <a:solidFill>
                <a:srgbClr val="DAEAF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750" b="1"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87" name="Picture 70">
                <a:extLst>
                  <a:ext uri="{FF2B5EF4-FFF2-40B4-BE49-F238E27FC236}">
                    <a16:creationId xmlns:a16="http://schemas.microsoft.com/office/drawing/2014/main" id="{9529CE69-2493-5597-1ED2-5B8167506E12}"/>
                  </a:ext>
                </a:extLst>
              </p:cNvPr>
              <p:cNvPicPr>
                <a:picLocks noChangeAspect="1"/>
              </p:cNvPicPr>
              <p:nvPr/>
            </p:nvPicPr>
            <p:blipFill>
              <a:blip r:embed="rId6"/>
              <a:stretch>
                <a:fillRect/>
              </a:stretch>
            </p:blipFill>
            <p:spPr>
              <a:xfrm>
                <a:off x="5681732" y="2249661"/>
                <a:ext cx="240274" cy="237536"/>
              </a:xfrm>
              <a:prstGeom prst="rect">
                <a:avLst/>
              </a:prstGeom>
              <a:ln>
                <a:noFill/>
              </a:ln>
            </p:spPr>
          </p:pic>
          <p:sp>
            <p:nvSpPr>
              <p:cNvPr id="88" name="Textfeld 128">
                <a:extLst>
                  <a:ext uri="{FF2B5EF4-FFF2-40B4-BE49-F238E27FC236}">
                    <a16:creationId xmlns:a16="http://schemas.microsoft.com/office/drawing/2014/main" id="{553E5B4D-4118-FBC1-7C16-F43E00B069BA}"/>
                  </a:ext>
                </a:extLst>
              </p:cNvPr>
              <p:cNvSpPr txBox="1"/>
              <p:nvPr/>
            </p:nvSpPr>
            <p:spPr>
              <a:xfrm>
                <a:off x="5904849" y="2214755"/>
                <a:ext cx="769763" cy="323165"/>
              </a:xfrm>
              <a:prstGeom prst="rect">
                <a:avLst/>
              </a:prstGeom>
              <a:noFill/>
              <a:ln>
                <a:noFill/>
              </a:ln>
            </p:spPr>
            <p:txBody>
              <a:bodyPr wrap="non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srgbClr val="000000"/>
                    </a:solidFill>
                    <a:effectLst/>
                    <a:uLnTx/>
                    <a:uFillTx/>
                    <a:latin typeface="Arial" panose="020B0604020202020204"/>
                    <a:ea typeface="+mn-ea"/>
                    <a:cs typeface="+mn-cs"/>
                  </a:rPr>
                  <a:t>Cost </a:t>
                </a: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srgbClr val="000000"/>
                    </a:solidFill>
                    <a:effectLst/>
                    <a:uLnTx/>
                    <a:uFillTx/>
                    <a:latin typeface="Arial" panose="020B0604020202020204"/>
                    <a:ea typeface="+mn-ea"/>
                    <a:cs typeface="+mn-cs"/>
                  </a:rPr>
                  <a:t>Performance</a:t>
                </a:r>
              </a:p>
            </p:txBody>
          </p:sp>
        </p:grpSp>
      </p:grpSp>
      <p:grpSp>
        <p:nvGrpSpPr>
          <p:cNvPr id="89" name="Group 283">
            <a:extLst>
              <a:ext uri="{FF2B5EF4-FFF2-40B4-BE49-F238E27FC236}">
                <a16:creationId xmlns:a16="http://schemas.microsoft.com/office/drawing/2014/main" id="{45BBECA5-6D5D-43A5-30B3-5974E301A9C7}"/>
              </a:ext>
            </a:extLst>
          </p:cNvPr>
          <p:cNvGrpSpPr/>
          <p:nvPr/>
        </p:nvGrpSpPr>
        <p:grpSpPr>
          <a:xfrm>
            <a:off x="6093433" y="2487909"/>
            <a:ext cx="1041494" cy="489850"/>
            <a:chOff x="6711260" y="1797693"/>
            <a:chExt cx="1041494" cy="489850"/>
          </a:xfrm>
          <a:effectLst>
            <a:outerShdw blurRad="50800" dist="38100" dir="2700000" algn="tl" rotWithShape="0">
              <a:prstClr val="black">
                <a:alpha val="40000"/>
              </a:prstClr>
            </a:outerShdw>
          </a:effectLst>
        </p:grpSpPr>
        <p:sp>
          <p:nvSpPr>
            <p:cNvPr id="90" name="Rechteck 50">
              <a:extLst>
                <a:ext uri="{FF2B5EF4-FFF2-40B4-BE49-F238E27FC236}">
                  <a16:creationId xmlns:a16="http://schemas.microsoft.com/office/drawing/2014/main" id="{DE943D00-FE67-5A3F-95C0-D99D9752AE88}"/>
                </a:ext>
              </a:extLst>
            </p:cNvPr>
            <p:cNvSpPr/>
            <p:nvPr/>
          </p:nvSpPr>
          <p:spPr>
            <a:xfrm>
              <a:off x="6711260" y="1797694"/>
              <a:ext cx="178964" cy="489848"/>
            </a:xfrm>
            <a:prstGeom prst="rect">
              <a:avLst/>
            </a:prstGeom>
            <a:solidFill>
              <a:srgbClr val="DAEA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7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1" name="Rectangle 151">
              <a:extLst>
                <a:ext uri="{FF2B5EF4-FFF2-40B4-BE49-F238E27FC236}">
                  <a16:creationId xmlns:a16="http://schemas.microsoft.com/office/drawing/2014/main" id="{E738F433-D121-1BA7-896E-20B4BF82A9A2}"/>
                </a:ext>
              </a:extLst>
            </p:cNvPr>
            <p:cNvSpPr/>
            <p:nvPr/>
          </p:nvSpPr>
          <p:spPr>
            <a:xfrm>
              <a:off x="6719328" y="1797693"/>
              <a:ext cx="1033426" cy="489850"/>
            </a:xfrm>
            <a:prstGeom prst="rect">
              <a:avLst/>
            </a:prstGeom>
            <a:solidFill>
              <a:srgbClr val="DAEAF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750" b="1"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92" name="Picture 73">
              <a:extLst>
                <a:ext uri="{FF2B5EF4-FFF2-40B4-BE49-F238E27FC236}">
                  <a16:creationId xmlns:a16="http://schemas.microsoft.com/office/drawing/2014/main" id="{982366E9-E139-F65B-D6E3-1E70137F9D56}"/>
                </a:ext>
              </a:extLst>
            </p:cNvPr>
            <p:cNvPicPr>
              <a:picLocks noChangeAspect="1"/>
            </p:cNvPicPr>
            <p:nvPr/>
          </p:nvPicPr>
          <p:blipFill>
            <a:blip r:embed="rId7"/>
            <a:stretch>
              <a:fillRect/>
            </a:stretch>
          </p:blipFill>
          <p:spPr>
            <a:xfrm>
              <a:off x="6817806" y="1935514"/>
              <a:ext cx="274805" cy="246534"/>
            </a:xfrm>
            <a:prstGeom prst="rect">
              <a:avLst/>
            </a:prstGeom>
            <a:solidFill>
              <a:srgbClr val="DAEAF1"/>
            </a:solidFill>
            <a:ln>
              <a:noFill/>
            </a:ln>
          </p:spPr>
        </p:pic>
        <p:sp>
          <p:nvSpPr>
            <p:cNvPr id="93" name="Textfeld 128">
              <a:extLst>
                <a:ext uri="{FF2B5EF4-FFF2-40B4-BE49-F238E27FC236}">
                  <a16:creationId xmlns:a16="http://schemas.microsoft.com/office/drawing/2014/main" id="{641C2D9B-94B2-5E90-79EC-25447B13CF54}"/>
                </a:ext>
              </a:extLst>
            </p:cNvPr>
            <p:cNvSpPr txBox="1"/>
            <p:nvPr/>
          </p:nvSpPr>
          <p:spPr>
            <a:xfrm>
              <a:off x="7073026" y="1889628"/>
              <a:ext cx="627096" cy="323165"/>
            </a:xfrm>
            <a:prstGeom prst="rect">
              <a:avLst/>
            </a:prstGeom>
            <a:noFill/>
            <a:ln>
              <a:noFill/>
            </a:ln>
          </p:spPr>
          <p:txBody>
            <a:bodyPr wrap="none" lIns="91440" tIns="45720" rIns="91440" bIns="45720" rtlCol="0" anchor="t">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srgbClr val="000000"/>
                  </a:solidFill>
                  <a:effectLst/>
                  <a:uLnTx/>
                  <a:uFillTx/>
                  <a:latin typeface="Arial" panose="020B0604020202020204"/>
                  <a:ea typeface="+mn-ea"/>
                  <a:cs typeface="+mn-cs"/>
                </a:rPr>
                <a:t>Business</a:t>
              </a: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srgbClr val="000000"/>
                  </a:solidFill>
                  <a:effectLst/>
                  <a:uLnTx/>
                  <a:uFillTx/>
                  <a:latin typeface="Arial" panose="020B0604020202020204"/>
                  <a:ea typeface="+mn-ea"/>
                  <a:cs typeface="+mn-cs"/>
                </a:rPr>
                <a:t>Centricity</a:t>
              </a:r>
            </a:p>
          </p:txBody>
        </p:sp>
      </p:grpSp>
      <p:sp>
        <p:nvSpPr>
          <p:cNvPr id="95" name="Rectangle 44">
            <a:extLst>
              <a:ext uri="{FF2B5EF4-FFF2-40B4-BE49-F238E27FC236}">
                <a16:creationId xmlns:a16="http://schemas.microsoft.com/office/drawing/2014/main" id="{8580874E-FB76-7B64-A1E6-29D69AE4386E}"/>
              </a:ext>
            </a:extLst>
          </p:cNvPr>
          <p:cNvSpPr/>
          <p:nvPr/>
        </p:nvSpPr>
        <p:spPr>
          <a:xfrm>
            <a:off x="2454549" y="2487908"/>
            <a:ext cx="1219267" cy="489849"/>
          </a:xfrm>
          <a:prstGeom prst="rect">
            <a:avLst/>
          </a:prstGeom>
          <a:solidFill>
            <a:srgbClr val="DAEAF1"/>
          </a:solidFill>
          <a:ln w="63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75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6" name="Textfeld 128">
            <a:extLst>
              <a:ext uri="{FF2B5EF4-FFF2-40B4-BE49-F238E27FC236}">
                <a16:creationId xmlns:a16="http://schemas.microsoft.com/office/drawing/2014/main" id="{A385DFAE-F711-853C-ABE0-156A0529B701}"/>
              </a:ext>
            </a:extLst>
          </p:cNvPr>
          <p:cNvSpPr txBox="1"/>
          <p:nvPr/>
        </p:nvSpPr>
        <p:spPr>
          <a:xfrm>
            <a:off x="2729577" y="2572816"/>
            <a:ext cx="986168" cy="323165"/>
          </a:xfrm>
          <a:prstGeom prst="rect">
            <a:avLst/>
          </a:prstGeom>
          <a:noFill/>
          <a:ln>
            <a:noFill/>
          </a:ln>
        </p:spPr>
        <p:txBody>
          <a:bodyPr wrap="squar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srgbClr val="000000"/>
                </a:solidFill>
                <a:effectLst/>
                <a:uLnTx/>
                <a:uFillTx/>
                <a:latin typeface="Arial" panose="020B0604020202020204"/>
                <a:ea typeface="+mn-ea"/>
                <a:cs typeface="+mn-cs"/>
              </a:rPr>
              <a:t>Digitalization </a:t>
            </a:r>
          </a:p>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srgbClr val="000000"/>
                </a:solidFill>
                <a:effectLst/>
                <a:uLnTx/>
                <a:uFillTx/>
                <a:latin typeface="Arial" panose="020B0604020202020204"/>
                <a:ea typeface="+mn-ea"/>
                <a:cs typeface="+mn-cs"/>
              </a:rPr>
              <a:t>&amp; Transformation</a:t>
            </a:r>
          </a:p>
        </p:txBody>
      </p:sp>
      <p:grpSp>
        <p:nvGrpSpPr>
          <p:cNvPr id="97" name="Group 10">
            <a:extLst>
              <a:ext uri="{FF2B5EF4-FFF2-40B4-BE49-F238E27FC236}">
                <a16:creationId xmlns:a16="http://schemas.microsoft.com/office/drawing/2014/main" id="{DE058FB1-2178-590E-1D36-DC1B0257CBBB}"/>
              </a:ext>
            </a:extLst>
          </p:cNvPr>
          <p:cNvGrpSpPr>
            <a:grpSpLocks/>
          </p:cNvGrpSpPr>
          <p:nvPr/>
        </p:nvGrpSpPr>
        <p:grpSpPr bwMode="auto">
          <a:xfrm>
            <a:off x="2474883" y="2528899"/>
            <a:ext cx="356063" cy="372009"/>
            <a:chOff x="3710" y="5039"/>
            <a:chExt cx="1687" cy="1673"/>
          </a:xfrm>
        </p:grpSpPr>
        <p:sp>
          <p:nvSpPr>
            <p:cNvPr id="98" name="Freeform 11">
              <a:extLst>
                <a:ext uri="{FF2B5EF4-FFF2-40B4-BE49-F238E27FC236}">
                  <a16:creationId xmlns:a16="http://schemas.microsoft.com/office/drawing/2014/main" id="{6EAEEDFB-39C9-6E52-2573-524A66043C1A}"/>
                </a:ext>
              </a:extLst>
            </p:cNvPr>
            <p:cNvSpPr>
              <a:spLocks/>
            </p:cNvSpPr>
            <p:nvPr/>
          </p:nvSpPr>
          <p:spPr bwMode="auto">
            <a:xfrm>
              <a:off x="3710" y="5039"/>
              <a:ext cx="1687" cy="1673"/>
            </a:xfrm>
            <a:custGeom>
              <a:avLst/>
              <a:gdLst>
                <a:gd name="T0" fmla="+- 0 4422 3629"/>
                <a:gd name="T1" fmla="*/ T0 w 1736"/>
                <a:gd name="T2" fmla="+- 0 862 859"/>
                <a:gd name="T3" fmla="*/ 862 h 1736"/>
                <a:gd name="T4" fmla="+- 0 4278 3629"/>
                <a:gd name="T5" fmla="*/ T4 w 1736"/>
                <a:gd name="T6" fmla="+- 0 887 859"/>
                <a:gd name="T7" fmla="*/ 887 h 1736"/>
                <a:gd name="T8" fmla="+- 0 4143 3629"/>
                <a:gd name="T9" fmla="*/ T8 w 1736"/>
                <a:gd name="T10" fmla="+- 0 934 859"/>
                <a:gd name="T11" fmla="*/ 934 h 1736"/>
                <a:gd name="T12" fmla="+- 0 4019 3629"/>
                <a:gd name="T13" fmla="*/ T12 w 1736"/>
                <a:gd name="T14" fmla="+- 0 1002 859"/>
                <a:gd name="T15" fmla="*/ 1002 h 1736"/>
                <a:gd name="T16" fmla="+- 0 3909 3629"/>
                <a:gd name="T17" fmla="*/ T16 w 1736"/>
                <a:gd name="T18" fmla="+- 0 1089 859"/>
                <a:gd name="T19" fmla="*/ 1089 h 1736"/>
                <a:gd name="T20" fmla="+- 0 3814 3629"/>
                <a:gd name="T21" fmla="*/ T20 w 1736"/>
                <a:gd name="T22" fmla="+- 0 1192 859"/>
                <a:gd name="T23" fmla="*/ 1192 h 1736"/>
                <a:gd name="T24" fmla="+- 0 3736 3629"/>
                <a:gd name="T25" fmla="*/ T24 w 1736"/>
                <a:gd name="T26" fmla="+- 0 1309 859"/>
                <a:gd name="T27" fmla="*/ 1309 h 1736"/>
                <a:gd name="T28" fmla="+- 0 3678 3629"/>
                <a:gd name="T29" fmla="*/ T28 w 1736"/>
                <a:gd name="T30" fmla="+- 0 1439 859"/>
                <a:gd name="T31" fmla="*/ 1439 h 1736"/>
                <a:gd name="T32" fmla="+- 0 3642 3629"/>
                <a:gd name="T33" fmla="*/ T32 w 1736"/>
                <a:gd name="T34" fmla="+- 0 1579 859"/>
                <a:gd name="T35" fmla="*/ 1579 h 1736"/>
                <a:gd name="T36" fmla="+- 0 3629 3629"/>
                <a:gd name="T37" fmla="*/ T36 w 1736"/>
                <a:gd name="T38" fmla="+- 0 1727 859"/>
                <a:gd name="T39" fmla="*/ 1727 h 1736"/>
                <a:gd name="T40" fmla="+- 0 3642 3629"/>
                <a:gd name="T41" fmla="*/ T40 w 1736"/>
                <a:gd name="T42" fmla="+- 0 1875 859"/>
                <a:gd name="T43" fmla="*/ 1875 h 1736"/>
                <a:gd name="T44" fmla="+- 0 3678 3629"/>
                <a:gd name="T45" fmla="*/ T44 w 1736"/>
                <a:gd name="T46" fmla="+- 0 2015 859"/>
                <a:gd name="T47" fmla="*/ 2015 h 1736"/>
                <a:gd name="T48" fmla="+- 0 3736 3629"/>
                <a:gd name="T49" fmla="*/ T48 w 1736"/>
                <a:gd name="T50" fmla="+- 0 2144 859"/>
                <a:gd name="T51" fmla="*/ 2144 h 1736"/>
                <a:gd name="T52" fmla="+- 0 3814 3629"/>
                <a:gd name="T53" fmla="*/ T52 w 1736"/>
                <a:gd name="T54" fmla="+- 0 2262 859"/>
                <a:gd name="T55" fmla="*/ 2262 h 1736"/>
                <a:gd name="T56" fmla="+- 0 3909 3629"/>
                <a:gd name="T57" fmla="*/ T56 w 1736"/>
                <a:gd name="T58" fmla="+- 0 2365 859"/>
                <a:gd name="T59" fmla="*/ 2365 h 1736"/>
                <a:gd name="T60" fmla="+- 0 4019 3629"/>
                <a:gd name="T61" fmla="*/ T60 w 1736"/>
                <a:gd name="T62" fmla="+- 0 2451 859"/>
                <a:gd name="T63" fmla="*/ 2451 h 1736"/>
                <a:gd name="T64" fmla="+- 0 4143 3629"/>
                <a:gd name="T65" fmla="*/ T64 w 1736"/>
                <a:gd name="T66" fmla="+- 0 2519 859"/>
                <a:gd name="T67" fmla="*/ 2519 h 1736"/>
                <a:gd name="T68" fmla="+- 0 4278 3629"/>
                <a:gd name="T69" fmla="*/ T68 w 1736"/>
                <a:gd name="T70" fmla="+- 0 2567 859"/>
                <a:gd name="T71" fmla="*/ 2567 h 1736"/>
                <a:gd name="T72" fmla="+- 0 4422 3629"/>
                <a:gd name="T73" fmla="*/ T72 w 1736"/>
                <a:gd name="T74" fmla="+- 0 2591 859"/>
                <a:gd name="T75" fmla="*/ 2591 h 1736"/>
                <a:gd name="T76" fmla="+- 0 4572 3629"/>
                <a:gd name="T77" fmla="*/ T76 w 1736"/>
                <a:gd name="T78" fmla="+- 0 2591 859"/>
                <a:gd name="T79" fmla="*/ 2591 h 1736"/>
                <a:gd name="T80" fmla="+- 0 4716 3629"/>
                <a:gd name="T81" fmla="*/ T80 w 1736"/>
                <a:gd name="T82" fmla="+- 0 2567 859"/>
                <a:gd name="T83" fmla="*/ 2567 h 1736"/>
                <a:gd name="T84" fmla="+- 0 4851 3629"/>
                <a:gd name="T85" fmla="*/ T84 w 1736"/>
                <a:gd name="T86" fmla="+- 0 2519 859"/>
                <a:gd name="T87" fmla="*/ 2519 h 1736"/>
                <a:gd name="T88" fmla="+- 0 4975 3629"/>
                <a:gd name="T89" fmla="*/ T88 w 1736"/>
                <a:gd name="T90" fmla="+- 0 2451 859"/>
                <a:gd name="T91" fmla="*/ 2451 h 1736"/>
                <a:gd name="T92" fmla="+- 0 5086 3629"/>
                <a:gd name="T93" fmla="*/ T92 w 1736"/>
                <a:gd name="T94" fmla="+- 0 2365 859"/>
                <a:gd name="T95" fmla="*/ 2365 h 1736"/>
                <a:gd name="T96" fmla="+- 0 5181 3629"/>
                <a:gd name="T97" fmla="*/ T96 w 1736"/>
                <a:gd name="T98" fmla="+- 0 2262 859"/>
                <a:gd name="T99" fmla="*/ 2262 h 1736"/>
                <a:gd name="T100" fmla="+- 0 5258 3629"/>
                <a:gd name="T101" fmla="*/ T100 w 1736"/>
                <a:gd name="T102" fmla="+- 0 2144 859"/>
                <a:gd name="T103" fmla="*/ 2144 h 1736"/>
                <a:gd name="T104" fmla="+- 0 5316 3629"/>
                <a:gd name="T105" fmla="*/ T104 w 1736"/>
                <a:gd name="T106" fmla="+- 0 2015 859"/>
                <a:gd name="T107" fmla="*/ 2015 h 1736"/>
                <a:gd name="T108" fmla="+- 0 5352 3629"/>
                <a:gd name="T109" fmla="*/ T108 w 1736"/>
                <a:gd name="T110" fmla="+- 0 1875 859"/>
                <a:gd name="T111" fmla="*/ 1875 h 1736"/>
                <a:gd name="T112" fmla="+- 0 5365 3629"/>
                <a:gd name="T113" fmla="*/ T112 w 1736"/>
                <a:gd name="T114" fmla="+- 0 1727 859"/>
                <a:gd name="T115" fmla="*/ 1727 h 1736"/>
                <a:gd name="T116" fmla="+- 0 5352 3629"/>
                <a:gd name="T117" fmla="*/ T116 w 1736"/>
                <a:gd name="T118" fmla="+- 0 1579 859"/>
                <a:gd name="T119" fmla="*/ 1579 h 1736"/>
                <a:gd name="T120" fmla="+- 0 5316 3629"/>
                <a:gd name="T121" fmla="*/ T120 w 1736"/>
                <a:gd name="T122" fmla="+- 0 1439 859"/>
                <a:gd name="T123" fmla="*/ 1439 h 1736"/>
                <a:gd name="T124" fmla="+- 0 5258 3629"/>
                <a:gd name="T125" fmla="*/ T124 w 1736"/>
                <a:gd name="T126" fmla="+- 0 1309 859"/>
                <a:gd name="T127" fmla="*/ 1309 h 1736"/>
                <a:gd name="T128" fmla="+- 0 5181 3629"/>
                <a:gd name="T129" fmla="*/ T128 w 1736"/>
                <a:gd name="T130" fmla="+- 0 1192 859"/>
                <a:gd name="T131" fmla="*/ 1192 h 1736"/>
                <a:gd name="T132" fmla="+- 0 5086 3629"/>
                <a:gd name="T133" fmla="*/ T132 w 1736"/>
                <a:gd name="T134" fmla="+- 0 1089 859"/>
                <a:gd name="T135" fmla="*/ 1089 h 1736"/>
                <a:gd name="T136" fmla="+- 0 4975 3629"/>
                <a:gd name="T137" fmla="*/ T136 w 1736"/>
                <a:gd name="T138" fmla="+- 0 1002 859"/>
                <a:gd name="T139" fmla="*/ 1002 h 1736"/>
                <a:gd name="T140" fmla="+- 0 4851 3629"/>
                <a:gd name="T141" fmla="*/ T140 w 1736"/>
                <a:gd name="T142" fmla="+- 0 934 859"/>
                <a:gd name="T143" fmla="*/ 934 h 1736"/>
                <a:gd name="T144" fmla="+- 0 4716 3629"/>
                <a:gd name="T145" fmla="*/ T144 w 1736"/>
                <a:gd name="T146" fmla="+- 0 887 859"/>
                <a:gd name="T147" fmla="*/ 887 h 1736"/>
                <a:gd name="T148" fmla="+- 0 4572 3629"/>
                <a:gd name="T149" fmla="*/ T148 w 1736"/>
                <a:gd name="T150" fmla="+- 0 862 859"/>
                <a:gd name="T151" fmla="*/ 862 h 1736"/>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 ang="0">
                  <a:pos x="T133" y="T135"/>
                </a:cxn>
                <a:cxn ang="0">
                  <a:pos x="T137" y="T139"/>
                </a:cxn>
                <a:cxn ang="0">
                  <a:pos x="T141" y="T143"/>
                </a:cxn>
                <a:cxn ang="0">
                  <a:pos x="T145" y="T147"/>
                </a:cxn>
                <a:cxn ang="0">
                  <a:pos x="T149" y="T151"/>
                </a:cxn>
              </a:cxnLst>
              <a:rect l="0" t="0" r="r" b="b"/>
              <a:pathLst>
                <a:path w="1736" h="1736">
                  <a:moveTo>
                    <a:pt x="868" y="0"/>
                  </a:moveTo>
                  <a:lnTo>
                    <a:pt x="793" y="3"/>
                  </a:lnTo>
                  <a:lnTo>
                    <a:pt x="720" y="12"/>
                  </a:lnTo>
                  <a:lnTo>
                    <a:pt x="649" y="28"/>
                  </a:lnTo>
                  <a:lnTo>
                    <a:pt x="580" y="49"/>
                  </a:lnTo>
                  <a:lnTo>
                    <a:pt x="514" y="75"/>
                  </a:lnTo>
                  <a:lnTo>
                    <a:pt x="451" y="107"/>
                  </a:lnTo>
                  <a:lnTo>
                    <a:pt x="390" y="143"/>
                  </a:lnTo>
                  <a:lnTo>
                    <a:pt x="333" y="184"/>
                  </a:lnTo>
                  <a:lnTo>
                    <a:pt x="280" y="230"/>
                  </a:lnTo>
                  <a:lnTo>
                    <a:pt x="230" y="279"/>
                  </a:lnTo>
                  <a:lnTo>
                    <a:pt x="185" y="333"/>
                  </a:lnTo>
                  <a:lnTo>
                    <a:pt x="144" y="390"/>
                  </a:lnTo>
                  <a:lnTo>
                    <a:pt x="107" y="450"/>
                  </a:lnTo>
                  <a:lnTo>
                    <a:pt x="76" y="514"/>
                  </a:lnTo>
                  <a:lnTo>
                    <a:pt x="49" y="580"/>
                  </a:lnTo>
                  <a:lnTo>
                    <a:pt x="28" y="649"/>
                  </a:lnTo>
                  <a:lnTo>
                    <a:pt x="13" y="720"/>
                  </a:lnTo>
                  <a:lnTo>
                    <a:pt x="4" y="793"/>
                  </a:lnTo>
                  <a:lnTo>
                    <a:pt x="0" y="868"/>
                  </a:lnTo>
                  <a:lnTo>
                    <a:pt x="4" y="943"/>
                  </a:lnTo>
                  <a:lnTo>
                    <a:pt x="13" y="1016"/>
                  </a:lnTo>
                  <a:lnTo>
                    <a:pt x="28" y="1087"/>
                  </a:lnTo>
                  <a:lnTo>
                    <a:pt x="49" y="1156"/>
                  </a:lnTo>
                  <a:lnTo>
                    <a:pt x="76" y="1222"/>
                  </a:lnTo>
                  <a:lnTo>
                    <a:pt x="107" y="1285"/>
                  </a:lnTo>
                  <a:lnTo>
                    <a:pt x="144" y="1346"/>
                  </a:lnTo>
                  <a:lnTo>
                    <a:pt x="185" y="1403"/>
                  </a:lnTo>
                  <a:lnTo>
                    <a:pt x="230" y="1456"/>
                  </a:lnTo>
                  <a:lnTo>
                    <a:pt x="280" y="1506"/>
                  </a:lnTo>
                  <a:lnTo>
                    <a:pt x="333" y="1551"/>
                  </a:lnTo>
                  <a:lnTo>
                    <a:pt x="390" y="1592"/>
                  </a:lnTo>
                  <a:lnTo>
                    <a:pt x="451" y="1629"/>
                  </a:lnTo>
                  <a:lnTo>
                    <a:pt x="514" y="1660"/>
                  </a:lnTo>
                  <a:lnTo>
                    <a:pt x="580" y="1687"/>
                  </a:lnTo>
                  <a:lnTo>
                    <a:pt x="649" y="1708"/>
                  </a:lnTo>
                  <a:lnTo>
                    <a:pt x="720" y="1723"/>
                  </a:lnTo>
                  <a:lnTo>
                    <a:pt x="793" y="1732"/>
                  </a:lnTo>
                  <a:lnTo>
                    <a:pt x="868" y="1736"/>
                  </a:lnTo>
                  <a:lnTo>
                    <a:pt x="943" y="1732"/>
                  </a:lnTo>
                  <a:lnTo>
                    <a:pt x="1016" y="1723"/>
                  </a:lnTo>
                  <a:lnTo>
                    <a:pt x="1087" y="1708"/>
                  </a:lnTo>
                  <a:lnTo>
                    <a:pt x="1156" y="1687"/>
                  </a:lnTo>
                  <a:lnTo>
                    <a:pt x="1222" y="1660"/>
                  </a:lnTo>
                  <a:lnTo>
                    <a:pt x="1286" y="1629"/>
                  </a:lnTo>
                  <a:lnTo>
                    <a:pt x="1346" y="1592"/>
                  </a:lnTo>
                  <a:lnTo>
                    <a:pt x="1403" y="1551"/>
                  </a:lnTo>
                  <a:lnTo>
                    <a:pt x="1457" y="1506"/>
                  </a:lnTo>
                  <a:lnTo>
                    <a:pt x="1506" y="1456"/>
                  </a:lnTo>
                  <a:lnTo>
                    <a:pt x="1552" y="1403"/>
                  </a:lnTo>
                  <a:lnTo>
                    <a:pt x="1593" y="1346"/>
                  </a:lnTo>
                  <a:lnTo>
                    <a:pt x="1629" y="1285"/>
                  </a:lnTo>
                  <a:lnTo>
                    <a:pt x="1661" y="1222"/>
                  </a:lnTo>
                  <a:lnTo>
                    <a:pt x="1687" y="1156"/>
                  </a:lnTo>
                  <a:lnTo>
                    <a:pt x="1708" y="1087"/>
                  </a:lnTo>
                  <a:lnTo>
                    <a:pt x="1723" y="1016"/>
                  </a:lnTo>
                  <a:lnTo>
                    <a:pt x="1733" y="943"/>
                  </a:lnTo>
                  <a:lnTo>
                    <a:pt x="1736" y="868"/>
                  </a:lnTo>
                  <a:lnTo>
                    <a:pt x="1733" y="793"/>
                  </a:lnTo>
                  <a:lnTo>
                    <a:pt x="1723" y="720"/>
                  </a:lnTo>
                  <a:lnTo>
                    <a:pt x="1708" y="649"/>
                  </a:lnTo>
                  <a:lnTo>
                    <a:pt x="1687" y="580"/>
                  </a:lnTo>
                  <a:lnTo>
                    <a:pt x="1661" y="514"/>
                  </a:lnTo>
                  <a:lnTo>
                    <a:pt x="1629" y="450"/>
                  </a:lnTo>
                  <a:lnTo>
                    <a:pt x="1593" y="390"/>
                  </a:lnTo>
                  <a:lnTo>
                    <a:pt x="1552" y="333"/>
                  </a:lnTo>
                  <a:lnTo>
                    <a:pt x="1506" y="279"/>
                  </a:lnTo>
                  <a:lnTo>
                    <a:pt x="1457" y="230"/>
                  </a:lnTo>
                  <a:lnTo>
                    <a:pt x="1403" y="184"/>
                  </a:lnTo>
                  <a:lnTo>
                    <a:pt x="1346" y="143"/>
                  </a:lnTo>
                  <a:lnTo>
                    <a:pt x="1286" y="107"/>
                  </a:lnTo>
                  <a:lnTo>
                    <a:pt x="1222" y="75"/>
                  </a:lnTo>
                  <a:lnTo>
                    <a:pt x="1156" y="49"/>
                  </a:lnTo>
                  <a:lnTo>
                    <a:pt x="1087" y="28"/>
                  </a:lnTo>
                  <a:lnTo>
                    <a:pt x="1016" y="12"/>
                  </a:lnTo>
                  <a:lnTo>
                    <a:pt x="943" y="3"/>
                  </a:lnTo>
                  <a:lnTo>
                    <a:pt x="868" y="0"/>
                  </a:lnTo>
                  <a:close/>
                </a:path>
              </a:pathLst>
            </a:custGeom>
            <a:solidFill>
              <a:srgbClr val="DAE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black"/>
                </a:solidFill>
                <a:effectLst/>
                <a:uLnTx/>
                <a:uFillTx/>
                <a:latin typeface="Arial"/>
                <a:ea typeface="+mn-ea"/>
                <a:cs typeface="+mn-cs"/>
              </a:endParaRPr>
            </a:p>
          </p:txBody>
        </p:sp>
        <p:pic>
          <p:nvPicPr>
            <p:cNvPr id="99" name="Picture 12">
              <a:extLst>
                <a:ext uri="{FF2B5EF4-FFF2-40B4-BE49-F238E27FC236}">
                  <a16:creationId xmlns:a16="http://schemas.microsoft.com/office/drawing/2014/main" id="{738C71CE-66A7-D1AE-2407-960B38C01FF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331" y="5315"/>
              <a:ext cx="332" cy="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0" name="Picture 13">
              <a:extLst>
                <a:ext uri="{FF2B5EF4-FFF2-40B4-BE49-F238E27FC236}">
                  <a16:creationId xmlns:a16="http://schemas.microsoft.com/office/drawing/2014/main" id="{A0137D3A-DF3D-89B0-B91D-460B1B4EFF48}"/>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731" y="5370"/>
              <a:ext cx="262" cy="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1" name="Picture 14">
              <a:extLst>
                <a:ext uri="{FF2B5EF4-FFF2-40B4-BE49-F238E27FC236}">
                  <a16:creationId xmlns:a16="http://schemas.microsoft.com/office/drawing/2014/main" id="{32522ABD-BE1D-5169-9E83-AA5055A7CECA}"/>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940" y="5652"/>
              <a:ext cx="148" cy="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 name="Picture 15">
              <a:extLst>
                <a:ext uri="{FF2B5EF4-FFF2-40B4-BE49-F238E27FC236}">
                  <a16:creationId xmlns:a16="http://schemas.microsoft.com/office/drawing/2014/main" id="{3E4CDB2B-1B5D-9804-AB3A-339B0C1A4A0E}"/>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906" y="5652"/>
              <a:ext cx="148" cy="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9" name="Picture 16">
              <a:extLst>
                <a:ext uri="{FF2B5EF4-FFF2-40B4-BE49-F238E27FC236}">
                  <a16:creationId xmlns:a16="http://schemas.microsoft.com/office/drawing/2014/main" id="{BDB5FC1A-E39D-7762-ECB0-145EC1D905E4}"/>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001" y="5370"/>
              <a:ext cx="262" cy="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0" name="AutoShape 17">
              <a:extLst>
                <a:ext uri="{FF2B5EF4-FFF2-40B4-BE49-F238E27FC236}">
                  <a16:creationId xmlns:a16="http://schemas.microsoft.com/office/drawing/2014/main" id="{AFC3AB52-E59B-4B78-137D-E886C98B8C8C}"/>
                </a:ext>
              </a:extLst>
            </p:cNvPr>
            <p:cNvSpPr>
              <a:spLocks/>
            </p:cNvSpPr>
            <p:nvPr/>
          </p:nvSpPr>
          <p:spPr bwMode="auto">
            <a:xfrm>
              <a:off x="4083" y="5493"/>
              <a:ext cx="796" cy="1005"/>
            </a:xfrm>
            <a:custGeom>
              <a:avLst/>
              <a:gdLst>
                <a:gd name="T0" fmla="+- 0 4231 4083"/>
                <a:gd name="T1" fmla="*/ T0 w 828"/>
                <a:gd name="T2" fmla="+- 0 2200 1313"/>
                <a:gd name="T3" fmla="*/ 2200 h 1005"/>
                <a:gd name="T4" fmla="+- 0 4266 4083"/>
                <a:gd name="T5" fmla="*/ T4 w 828"/>
                <a:gd name="T6" fmla="+- 0 2283 1313"/>
                <a:gd name="T7" fmla="*/ 2283 h 1005"/>
                <a:gd name="T8" fmla="+- 0 4349 4083"/>
                <a:gd name="T9" fmla="*/ T8 w 828"/>
                <a:gd name="T10" fmla="+- 0 2318 1313"/>
                <a:gd name="T11" fmla="*/ 2318 h 1005"/>
                <a:gd name="T12" fmla="+- 0 4691 4083"/>
                <a:gd name="T13" fmla="*/ T12 w 828"/>
                <a:gd name="T14" fmla="+- 0 2308 1313"/>
                <a:gd name="T15" fmla="*/ 2308 h 1005"/>
                <a:gd name="T16" fmla="+- 0 4754 4083"/>
                <a:gd name="T17" fmla="*/ T16 w 828"/>
                <a:gd name="T18" fmla="+- 0 2246 1313"/>
                <a:gd name="T19" fmla="*/ 2246 h 1005"/>
                <a:gd name="T20" fmla="+- 0 4911 4083"/>
                <a:gd name="T21" fmla="*/ T20 w 828"/>
                <a:gd name="T22" fmla="+- 0 1697 1313"/>
                <a:gd name="T23" fmla="*/ 1697 h 1005"/>
                <a:gd name="T24" fmla="+- 0 4885 4083"/>
                <a:gd name="T25" fmla="*/ T24 w 828"/>
                <a:gd name="T26" fmla="+- 0 1542 1313"/>
                <a:gd name="T27" fmla="*/ 1542 h 1005"/>
                <a:gd name="T28" fmla="+- 0 4816 4083"/>
                <a:gd name="T29" fmla="*/ T28 w 828"/>
                <a:gd name="T30" fmla="+- 0 1431 1313"/>
                <a:gd name="T31" fmla="*/ 1431 h 1005"/>
                <a:gd name="T32" fmla="+- 0 4793 4083"/>
                <a:gd name="T33" fmla="*/ T32 w 828"/>
                <a:gd name="T34" fmla="+- 0 1411 1313"/>
                <a:gd name="T35" fmla="*/ 1411 h 1005"/>
                <a:gd name="T36" fmla="+- 0 4788 4083"/>
                <a:gd name="T37" fmla="*/ T36 w 828"/>
                <a:gd name="T38" fmla="+- 0 1757 1313"/>
                <a:gd name="T39" fmla="*/ 1757 h 1005"/>
                <a:gd name="T40" fmla="+- 0 4752 4083"/>
                <a:gd name="T41" fmla="*/ T40 w 828"/>
                <a:gd name="T42" fmla="+- 0 1855 1313"/>
                <a:gd name="T43" fmla="*/ 1855 h 1005"/>
                <a:gd name="T44" fmla="+- 0 4695 4083"/>
                <a:gd name="T45" fmla="*/ T44 w 828"/>
                <a:gd name="T46" fmla="+- 0 1920 1313"/>
                <a:gd name="T47" fmla="*/ 1920 h 1005"/>
                <a:gd name="T48" fmla="+- 0 4659 4083"/>
                <a:gd name="T49" fmla="*/ T48 w 828"/>
                <a:gd name="T50" fmla="+- 0 1986 1313"/>
                <a:gd name="T51" fmla="*/ 1986 h 1005"/>
                <a:gd name="T52" fmla="+- 0 4346 4083"/>
                <a:gd name="T53" fmla="*/ T52 w 828"/>
                <a:gd name="T54" fmla="+- 0 2022 1313"/>
                <a:gd name="T55" fmla="*/ 2022 h 1005"/>
                <a:gd name="T56" fmla="+- 0 4320 4083"/>
                <a:gd name="T57" fmla="*/ T56 w 828"/>
                <a:gd name="T58" fmla="+- 0 1951 1313"/>
                <a:gd name="T59" fmla="*/ 1951 h 1005"/>
                <a:gd name="T60" fmla="+- 0 4274 4083"/>
                <a:gd name="T61" fmla="*/ T60 w 828"/>
                <a:gd name="T62" fmla="+- 0 1892 1313"/>
                <a:gd name="T63" fmla="*/ 1892 h 1005"/>
                <a:gd name="T64" fmla="+- 0 4220 4083"/>
                <a:gd name="T65" fmla="*/ T64 w 828"/>
                <a:gd name="T66" fmla="+- 0 1810 1313"/>
                <a:gd name="T67" fmla="*/ 1810 h 1005"/>
                <a:gd name="T68" fmla="+- 0 4202 4083"/>
                <a:gd name="T69" fmla="*/ T68 w 828"/>
                <a:gd name="T70" fmla="+- 0 1697 1313"/>
                <a:gd name="T71" fmla="*/ 1697 h 1005"/>
                <a:gd name="T72" fmla="+- 0 4222 4083"/>
                <a:gd name="T73" fmla="*/ T72 w 828"/>
                <a:gd name="T74" fmla="+- 0 1580 1313"/>
                <a:gd name="T75" fmla="*/ 1580 h 1005"/>
                <a:gd name="T76" fmla="+- 0 4281 4083"/>
                <a:gd name="T77" fmla="*/ T76 w 828"/>
                <a:gd name="T78" fmla="+- 0 1496 1313"/>
                <a:gd name="T79" fmla="*/ 1496 h 1005"/>
                <a:gd name="T80" fmla="+- 0 4374 4083"/>
                <a:gd name="T81" fmla="*/ T80 w 828"/>
                <a:gd name="T82" fmla="+- 0 1448 1313"/>
                <a:gd name="T83" fmla="*/ 1448 h 1005"/>
                <a:gd name="T84" fmla="+- 0 4497 4083"/>
                <a:gd name="T85" fmla="*/ T84 w 828"/>
                <a:gd name="T86" fmla="+- 0 1431 1313"/>
                <a:gd name="T87" fmla="*/ 1431 h 1005"/>
                <a:gd name="T88" fmla="+- 0 4620 4083"/>
                <a:gd name="T89" fmla="*/ T88 w 828"/>
                <a:gd name="T90" fmla="+- 0 1448 1313"/>
                <a:gd name="T91" fmla="*/ 1448 h 1005"/>
                <a:gd name="T92" fmla="+- 0 4713 4083"/>
                <a:gd name="T93" fmla="*/ T92 w 828"/>
                <a:gd name="T94" fmla="+- 0 1496 1313"/>
                <a:gd name="T95" fmla="*/ 1496 h 1005"/>
                <a:gd name="T96" fmla="+- 0 4773 4083"/>
                <a:gd name="T97" fmla="*/ T96 w 828"/>
                <a:gd name="T98" fmla="+- 0 1580 1313"/>
                <a:gd name="T99" fmla="*/ 1580 h 1005"/>
                <a:gd name="T100" fmla="+- 0 4793 4083"/>
                <a:gd name="T101" fmla="*/ T100 w 828"/>
                <a:gd name="T102" fmla="+- 0 1697 1313"/>
                <a:gd name="T103" fmla="*/ 1697 h 1005"/>
                <a:gd name="T104" fmla="+- 0 4763 4083"/>
                <a:gd name="T105" fmla="*/ T104 w 828"/>
                <a:gd name="T106" fmla="+- 0 1386 1313"/>
                <a:gd name="T107" fmla="*/ 1386 h 1005"/>
                <a:gd name="T108" fmla="+- 0 4641 4083"/>
                <a:gd name="T109" fmla="*/ T108 w 828"/>
                <a:gd name="T110" fmla="+- 0 1331 1313"/>
                <a:gd name="T111" fmla="*/ 1331 h 1005"/>
                <a:gd name="T112" fmla="+- 0 4497 4083"/>
                <a:gd name="T113" fmla="*/ T112 w 828"/>
                <a:gd name="T114" fmla="+- 0 1313 1313"/>
                <a:gd name="T115" fmla="*/ 1313 h 1005"/>
                <a:gd name="T116" fmla="+- 0 4353 4083"/>
                <a:gd name="T117" fmla="*/ T116 w 828"/>
                <a:gd name="T118" fmla="+- 0 1331 1313"/>
                <a:gd name="T119" fmla="*/ 1331 h 1005"/>
                <a:gd name="T120" fmla="+- 0 4231 4083"/>
                <a:gd name="T121" fmla="*/ T120 w 828"/>
                <a:gd name="T122" fmla="+- 0 1386 1313"/>
                <a:gd name="T123" fmla="*/ 1386 h 1005"/>
                <a:gd name="T124" fmla="+- 0 4140 4083"/>
                <a:gd name="T125" fmla="*/ T124 w 828"/>
                <a:gd name="T126" fmla="+- 0 1480 1313"/>
                <a:gd name="T127" fmla="*/ 1480 h 1005"/>
                <a:gd name="T128" fmla="+- 0 4090 4083"/>
                <a:gd name="T129" fmla="*/ T128 w 828"/>
                <a:gd name="T130" fmla="+- 0 1614 1313"/>
                <a:gd name="T131" fmla="*/ 1614 h 1005"/>
                <a:gd name="T132" fmla="+- 0 4091 4083"/>
                <a:gd name="T133" fmla="*/ T132 w 828"/>
                <a:gd name="T134" fmla="+- 0 1786 1313"/>
                <a:gd name="T135" fmla="*/ 1786 h 1005"/>
                <a:gd name="T136" fmla="+- 0 4148 4083"/>
                <a:gd name="T137" fmla="*/ T136 w 828"/>
                <a:gd name="T138" fmla="+- 0 1926 1313"/>
                <a:gd name="T139" fmla="*/ 1926 h 1005"/>
                <a:gd name="T140" fmla="+- 0 4210 4083"/>
                <a:gd name="T141" fmla="*/ T140 w 828"/>
                <a:gd name="T142" fmla="+- 0 1997 1313"/>
                <a:gd name="T143" fmla="*/ 1997 h 1005"/>
                <a:gd name="T144" fmla="+- 0 4229 4083"/>
                <a:gd name="T145" fmla="*/ T144 w 828"/>
                <a:gd name="T146" fmla="+- 0 2041 1313"/>
                <a:gd name="T147" fmla="*/ 2041 h 1005"/>
                <a:gd name="T148" fmla="+- 0 4232 4083"/>
                <a:gd name="T149" fmla="*/ T148 w 828"/>
                <a:gd name="T150" fmla="+- 0 2140 1313"/>
                <a:gd name="T151" fmla="*/ 2140 h 1005"/>
                <a:gd name="T152" fmla="+- 0 4763 4083"/>
                <a:gd name="T153" fmla="*/ T152 w 828"/>
                <a:gd name="T154" fmla="+- 0 2065 1313"/>
                <a:gd name="T155" fmla="*/ 2065 h 1005"/>
                <a:gd name="T156" fmla="+- 0 4772 4083"/>
                <a:gd name="T157" fmla="*/ T156 w 828"/>
                <a:gd name="T158" fmla="+- 0 2022 1313"/>
                <a:gd name="T159" fmla="*/ 2022 h 1005"/>
                <a:gd name="T160" fmla="+- 0 4785 4083"/>
                <a:gd name="T161" fmla="*/ T160 w 828"/>
                <a:gd name="T162" fmla="+- 0 1997 1313"/>
                <a:gd name="T163" fmla="*/ 1997 h 1005"/>
                <a:gd name="T164" fmla="+- 0 4847 4083"/>
                <a:gd name="T165" fmla="*/ T164 w 828"/>
                <a:gd name="T166" fmla="+- 0 1926 1313"/>
                <a:gd name="T167" fmla="*/ 1926 h 1005"/>
                <a:gd name="T168" fmla="+- 0 4903 4083"/>
                <a:gd name="T169" fmla="*/ T168 w 828"/>
                <a:gd name="T170" fmla="+- 0 1785 1313"/>
                <a:gd name="T171" fmla="*/ 1785 h 1005"/>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 ang="0">
                  <a:pos x="T133" y="T135"/>
                </a:cxn>
                <a:cxn ang="0">
                  <a:pos x="T137" y="T139"/>
                </a:cxn>
                <a:cxn ang="0">
                  <a:pos x="T141" y="T143"/>
                </a:cxn>
                <a:cxn ang="0">
                  <a:pos x="T145" y="T147"/>
                </a:cxn>
                <a:cxn ang="0">
                  <a:pos x="T149" y="T151"/>
                </a:cxn>
                <a:cxn ang="0">
                  <a:pos x="T153" y="T155"/>
                </a:cxn>
                <a:cxn ang="0">
                  <a:pos x="T157" y="T159"/>
                </a:cxn>
                <a:cxn ang="0">
                  <a:pos x="T161" y="T163"/>
                </a:cxn>
                <a:cxn ang="0">
                  <a:pos x="T165" y="T167"/>
                </a:cxn>
                <a:cxn ang="0">
                  <a:pos x="T169" y="T171"/>
                </a:cxn>
              </a:cxnLst>
              <a:rect l="0" t="0" r="r" b="b"/>
              <a:pathLst>
                <a:path w="828" h="1005">
                  <a:moveTo>
                    <a:pt x="680" y="887"/>
                  </a:moveTo>
                  <a:lnTo>
                    <a:pt x="148" y="887"/>
                  </a:lnTo>
                  <a:lnTo>
                    <a:pt x="158" y="933"/>
                  </a:lnTo>
                  <a:lnTo>
                    <a:pt x="183" y="970"/>
                  </a:lnTo>
                  <a:lnTo>
                    <a:pt x="220" y="995"/>
                  </a:lnTo>
                  <a:lnTo>
                    <a:pt x="266" y="1005"/>
                  </a:lnTo>
                  <a:lnTo>
                    <a:pt x="562" y="1005"/>
                  </a:lnTo>
                  <a:lnTo>
                    <a:pt x="608" y="995"/>
                  </a:lnTo>
                  <a:lnTo>
                    <a:pt x="645" y="970"/>
                  </a:lnTo>
                  <a:lnTo>
                    <a:pt x="671" y="933"/>
                  </a:lnTo>
                  <a:lnTo>
                    <a:pt x="680" y="887"/>
                  </a:lnTo>
                  <a:moveTo>
                    <a:pt x="828" y="384"/>
                  </a:moveTo>
                  <a:lnTo>
                    <a:pt x="821" y="301"/>
                  </a:lnTo>
                  <a:lnTo>
                    <a:pt x="802" y="229"/>
                  </a:lnTo>
                  <a:lnTo>
                    <a:pt x="771" y="167"/>
                  </a:lnTo>
                  <a:lnTo>
                    <a:pt x="733" y="118"/>
                  </a:lnTo>
                  <a:lnTo>
                    <a:pt x="730" y="115"/>
                  </a:lnTo>
                  <a:lnTo>
                    <a:pt x="710" y="98"/>
                  </a:lnTo>
                  <a:lnTo>
                    <a:pt x="710" y="384"/>
                  </a:lnTo>
                  <a:lnTo>
                    <a:pt x="705" y="444"/>
                  </a:lnTo>
                  <a:lnTo>
                    <a:pt x="692" y="497"/>
                  </a:lnTo>
                  <a:lnTo>
                    <a:pt x="669" y="542"/>
                  </a:lnTo>
                  <a:lnTo>
                    <a:pt x="638" y="579"/>
                  </a:lnTo>
                  <a:lnTo>
                    <a:pt x="612" y="607"/>
                  </a:lnTo>
                  <a:lnTo>
                    <a:pt x="591" y="638"/>
                  </a:lnTo>
                  <a:lnTo>
                    <a:pt x="576" y="673"/>
                  </a:lnTo>
                  <a:lnTo>
                    <a:pt x="566" y="709"/>
                  </a:lnTo>
                  <a:lnTo>
                    <a:pt x="263" y="709"/>
                  </a:lnTo>
                  <a:lnTo>
                    <a:pt x="253" y="673"/>
                  </a:lnTo>
                  <a:lnTo>
                    <a:pt x="237" y="638"/>
                  </a:lnTo>
                  <a:lnTo>
                    <a:pt x="217" y="607"/>
                  </a:lnTo>
                  <a:lnTo>
                    <a:pt x="191" y="579"/>
                  </a:lnTo>
                  <a:lnTo>
                    <a:pt x="159" y="542"/>
                  </a:lnTo>
                  <a:lnTo>
                    <a:pt x="137" y="497"/>
                  </a:lnTo>
                  <a:lnTo>
                    <a:pt x="123" y="444"/>
                  </a:lnTo>
                  <a:lnTo>
                    <a:pt x="119" y="384"/>
                  </a:lnTo>
                  <a:lnTo>
                    <a:pt x="124" y="321"/>
                  </a:lnTo>
                  <a:lnTo>
                    <a:pt x="139" y="267"/>
                  </a:lnTo>
                  <a:lnTo>
                    <a:pt x="163" y="221"/>
                  </a:lnTo>
                  <a:lnTo>
                    <a:pt x="198" y="183"/>
                  </a:lnTo>
                  <a:lnTo>
                    <a:pt x="240" y="155"/>
                  </a:lnTo>
                  <a:lnTo>
                    <a:pt x="291" y="135"/>
                  </a:lnTo>
                  <a:lnTo>
                    <a:pt x="349" y="122"/>
                  </a:lnTo>
                  <a:lnTo>
                    <a:pt x="414" y="118"/>
                  </a:lnTo>
                  <a:lnTo>
                    <a:pt x="479" y="122"/>
                  </a:lnTo>
                  <a:lnTo>
                    <a:pt x="537" y="135"/>
                  </a:lnTo>
                  <a:lnTo>
                    <a:pt x="588" y="155"/>
                  </a:lnTo>
                  <a:lnTo>
                    <a:pt x="630" y="183"/>
                  </a:lnTo>
                  <a:lnTo>
                    <a:pt x="665" y="221"/>
                  </a:lnTo>
                  <a:lnTo>
                    <a:pt x="690" y="267"/>
                  </a:lnTo>
                  <a:lnTo>
                    <a:pt x="705" y="321"/>
                  </a:lnTo>
                  <a:lnTo>
                    <a:pt x="710" y="384"/>
                  </a:lnTo>
                  <a:lnTo>
                    <a:pt x="710" y="98"/>
                  </a:lnTo>
                  <a:lnTo>
                    <a:pt x="680" y="73"/>
                  </a:lnTo>
                  <a:lnTo>
                    <a:pt x="623" y="41"/>
                  </a:lnTo>
                  <a:lnTo>
                    <a:pt x="558" y="18"/>
                  </a:lnTo>
                  <a:lnTo>
                    <a:pt x="488" y="5"/>
                  </a:lnTo>
                  <a:lnTo>
                    <a:pt x="414" y="0"/>
                  </a:lnTo>
                  <a:lnTo>
                    <a:pt x="340" y="5"/>
                  </a:lnTo>
                  <a:lnTo>
                    <a:pt x="270" y="18"/>
                  </a:lnTo>
                  <a:lnTo>
                    <a:pt x="205" y="41"/>
                  </a:lnTo>
                  <a:lnTo>
                    <a:pt x="148" y="73"/>
                  </a:lnTo>
                  <a:lnTo>
                    <a:pt x="98" y="115"/>
                  </a:lnTo>
                  <a:lnTo>
                    <a:pt x="57" y="167"/>
                  </a:lnTo>
                  <a:lnTo>
                    <a:pt x="26" y="229"/>
                  </a:lnTo>
                  <a:lnTo>
                    <a:pt x="7" y="301"/>
                  </a:lnTo>
                  <a:lnTo>
                    <a:pt x="0" y="384"/>
                  </a:lnTo>
                  <a:lnTo>
                    <a:pt x="8" y="473"/>
                  </a:lnTo>
                  <a:lnTo>
                    <a:pt x="30" y="549"/>
                  </a:lnTo>
                  <a:lnTo>
                    <a:pt x="65" y="613"/>
                  </a:lnTo>
                  <a:lnTo>
                    <a:pt x="111" y="666"/>
                  </a:lnTo>
                  <a:lnTo>
                    <a:pt x="127" y="684"/>
                  </a:lnTo>
                  <a:lnTo>
                    <a:pt x="139" y="705"/>
                  </a:lnTo>
                  <a:lnTo>
                    <a:pt x="146" y="728"/>
                  </a:lnTo>
                  <a:lnTo>
                    <a:pt x="149" y="752"/>
                  </a:lnTo>
                  <a:lnTo>
                    <a:pt x="149" y="827"/>
                  </a:lnTo>
                  <a:lnTo>
                    <a:pt x="680" y="827"/>
                  </a:lnTo>
                  <a:lnTo>
                    <a:pt x="680" y="752"/>
                  </a:lnTo>
                  <a:lnTo>
                    <a:pt x="683" y="728"/>
                  </a:lnTo>
                  <a:lnTo>
                    <a:pt x="689" y="709"/>
                  </a:lnTo>
                  <a:lnTo>
                    <a:pt x="690" y="705"/>
                  </a:lnTo>
                  <a:lnTo>
                    <a:pt x="702" y="684"/>
                  </a:lnTo>
                  <a:lnTo>
                    <a:pt x="718" y="666"/>
                  </a:lnTo>
                  <a:lnTo>
                    <a:pt x="764" y="613"/>
                  </a:lnTo>
                  <a:lnTo>
                    <a:pt x="798" y="548"/>
                  </a:lnTo>
                  <a:lnTo>
                    <a:pt x="820" y="472"/>
                  </a:lnTo>
                  <a:lnTo>
                    <a:pt x="828" y="384"/>
                  </a:lnTo>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black"/>
                </a:solidFill>
                <a:effectLst/>
                <a:uLnTx/>
                <a:uFillTx/>
                <a:latin typeface="Arial"/>
                <a:ea typeface="+mn-ea"/>
                <a:cs typeface="+mn-cs"/>
              </a:endParaRPr>
            </a:p>
          </p:txBody>
        </p:sp>
      </p:grpSp>
      <p:sp>
        <p:nvSpPr>
          <p:cNvPr id="124" name="TextBox 123">
            <a:extLst>
              <a:ext uri="{FF2B5EF4-FFF2-40B4-BE49-F238E27FC236}">
                <a16:creationId xmlns:a16="http://schemas.microsoft.com/office/drawing/2014/main" id="{675ACFD1-86F7-2006-3FB3-08F05F714102}"/>
              </a:ext>
            </a:extLst>
          </p:cNvPr>
          <p:cNvSpPr txBox="1"/>
          <p:nvPr/>
        </p:nvSpPr>
        <p:spPr>
          <a:xfrm>
            <a:off x="1425739" y="4301916"/>
            <a:ext cx="1363200" cy="269009"/>
          </a:xfrm>
          <a:prstGeom prst="rect">
            <a:avLst/>
          </a:prstGeom>
          <a:noFill/>
        </p:spPr>
        <p:txBody>
          <a:bodyPr wrap="none" rtlCol="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000" b="1" i="0" u="none" strike="noStrike" kern="1200" cap="none" spc="0" normalizeH="0" baseline="0" noProof="0" dirty="0">
                <a:ln>
                  <a:noFill/>
                </a:ln>
                <a:solidFill>
                  <a:srgbClr val="000000"/>
                </a:solidFill>
                <a:effectLst/>
                <a:uLnTx/>
                <a:uFillTx/>
                <a:latin typeface="Aptos Mono" panose="020F0502020204030204" pitchFamily="49" charset="0"/>
                <a:ea typeface="+mn-ea"/>
                <a:cs typeface="+mn-cs"/>
              </a:rPr>
              <a:t>IT4IT Data Quality</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000" b="1" i="0" u="none" strike="noStrike" kern="1200" cap="none" spc="0" normalizeH="0" baseline="0" noProof="0" dirty="0">
              <a:ln>
                <a:noFill/>
              </a:ln>
              <a:solidFill>
                <a:srgbClr val="000000"/>
              </a:solidFill>
              <a:effectLst/>
              <a:uLnTx/>
              <a:uFillTx/>
              <a:latin typeface="Aptos Mono" panose="020F0502020204030204" pitchFamily="49" charset="0"/>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000" b="1" i="0" u="none" strike="noStrike" kern="1200" cap="none" spc="0" normalizeH="0" baseline="0" noProof="0" dirty="0">
              <a:ln>
                <a:noFill/>
              </a:ln>
              <a:solidFill>
                <a:srgbClr val="000000"/>
              </a:solidFill>
              <a:effectLst/>
              <a:uLnTx/>
              <a:uFillTx/>
              <a:latin typeface="Aptos Mono" panose="020F0502020204030204" pitchFamily="49" charset="0"/>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000000"/>
              </a:solidFill>
              <a:effectLst/>
              <a:uLnTx/>
              <a:uFillTx/>
              <a:latin typeface="Aptos Mono" panose="020F0502020204030204" pitchFamily="49" charset="0"/>
              <a:ea typeface="+mn-ea"/>
              <a:cs typeface="+mn-cs"/>
            </a:endParaRPr>
          </a:p>
        </p:txBody>
      </p:sp>
      <p:sp>
        <p:nvSpPr>
          <p:cNvPr id="133" name="TextBox 132">
            <a:extLst>
              <a:ext uri="{FF2B5EF4-FFF2-40B4-BE49-F238E27FC236}">
                <a16:creationId xmlns:a16="http://schemas.microsoft.com/office/drawing/2014/main" id="{A14A8D06-8A40-A0C8-C1B8-FD7A143F724C}"/>
              </a:ext>
            </a:extLst>
          </p:cNvPr>
          <p:cNvSpPr txBox="1"/>
          <p:nvPr/>
        </p:nvSpPr>
        <p:spPr>
          <a:xfrm>
            <a:off x="3111938" y="4232856"/>
            <a:ext cx="1599491" cy="400110"/>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dirty="0">
                <a:ln>
                  <a:noFill/>
                </a:ln>
                <a:solidFill>
                  <a:srgbClr val="000000"/>
                </a:solidFill>
                <a:effectLst/>
                <a:uLnTx/>
                <a:uFillTx/>
                <a:latin typeface="Aptos Mono" panose="020F0502020204030204" pitchFamily="49" charset="0"/>
                <a:ea typeface="+mn-ea"/>
                <a:cs typeface="+mn-cs"/>
              </a:rPr>
              <a:t>Strategic Workforce Planning</a:t>
            </a:r>
          </a:p>
        </p:txBody>
      </p:sp>
      <p:sp>
        <p:nvSpPr>
          <p:cNvPr id="135" name="TextBox 134">
            <a:extLst>
              <a:ext uri="{FF2B5EF4-FFF2-40B4-BE49-F238E27FC236}">
                <a16:creationId xmlns:a16="http://schemas.microsoft.com/office/drawing/2014/main" id="{74B37D20-2C89-8F5E-FBDA-C281AEF628B8}"/>
              </a:ext>
            </a:extLst>
          </p:cNvPr>
          <p:cNvSpPr txBox="1"/>
          <p:nvPr/>
        </p:nvSpPr>
        <p:spPr>
          <a:xfrm>
            <a:off x="4878846" y="4228954"/>
            <a:ext cx="1470733" cy="400110"/>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dirty="0">
                <a:ln>
                  <a:noFill/>
                </a:ln>
                <a:solidFill>
                  <a:srgbClr val="000000"/>
                </a:solidFill>
                <a:effectLst/>
                <a:uLnTx/>
                <a:uFillTx/>
                <a:latin typeface="Aptos Mono" panose="020F0502020204030204" pitchFamily="49" charset="0"/>
                <a:ea typeface="+mn-ea"/>
                <a:cs typeface="+mn-cs"/>
              </a:rPr>
              <a:t>Project</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dirty="0">
                <a:ln>
                  <a:noFill/>
                </a:ln>
                <a:solidFill>
                  <a:srgbClr val="000000"/>
                </a:solidFill>
                <a:effectLst/>
                <a:uLnTx/>
                <a:uFillTx/>
                <a:latin typeface="Aptos Mono" panose="020F0502020204030204" pitchFamily="49" charset="0"/>
                <a:ea typeface="+mn-ea"/>
                <a:cs typeface="+mn-cs"/>
              </a:rPr>
              <a:t>Execution</a:t>
            </a:r>
          </a:p>
        </p:txBody>
      </p:sp>
      <p:sp>
        <p:nvSpPr>
          <p:cNvPr id="137" name="TextBox 136">
            <a:extLst>
              <a:ext uri="{FF2B5EF4-FFF2-40B4-BE49-F238E27FC236}">
                <a16:creationId xmlns:a16="http://schemas.microsoft.com/office/drawing/2014/main" id="{DBDD92C3-186A-C8E0-4EF5-082D188D07E5}"/>
              </a:ext>
            </a:extLst>
          </p:cNvPr>
          <p:cNvSpPr txBox="1"/>
          <p:nvPr/>
        </p:nvSpPr>
        <p:spPr>
          <a:xfrm>
            <a:off x="6525495" y="4243471"/>
            <a:ext cx="1815840" cy="400110"/>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dirty="0">
                <a:ln>
                  <a:noFill/>
                </a:ln>
                <a:solidFill>
                  <a:srgbClr val="000000"/>
                </a:solidFill>
                <a:effectLst/>
                <a:uLnTx/>
                <a:uFillTx/>
                <a:latin typeface="Aptos Mono" panose="020F0502020204030204" pitchFamily="49" charset="0"/>
                <a:ea typeface="+mn-ea"/>
                <a:cs typeface="+mn-cs"/>
              </a:rPr>
              <a:t>Operating model</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dirty="0">
                <a:ln>
                  <a:noFill/>
                </a:ln>
                <a:solidFill>
                  <a:srgbClr val="000000"/>
                </a:solidFill>
                <a:effectLst/>
                <a:uLnTx/>
                <a:uFillTx/>
                <a:latin typeface="Aptos Mono" panose="020F0502020204030204" pitchFamily="49" charset="0"/>
                <a:ea typeface="+mn-ea"/>
                <a:cs typeface="+mn-cs"/>
              </a:rPr>
              <a:t>&amp; Culture </a:t>
            </a:r>
            <a:endParaRPr kumimoji="0" lang="en-GB" sz="1000" b="0" i="0" u="none" strike="noStrike" kern="1200" cap="none" spc="0" normalizeH="0" baseline="0" dirty="0">
              <a:ln>
                <a:noFill/>
              </a:ln>
              <a:solidFill>
                <a:srgbClr val="000000"/>
              </a:solidFill>
              <a:effectLst/>
              <a:uLnTx/>
              <a:uFillTx/>
              <a:latin typeface="Arial" panose="020B0604020202020204"/>
              <a:ea typeface="+mn-ea"/>
              <a:cs typeface="+mn-cs"/>
            </a:endParaRPr>
          </a:p>
        </p:txBody>
      </p:sp>
      <p:sp>
        <p:nvSpPr>
          <p:cNvPr id="2" name="Foliennummernplatzhalter 1">
            <a:extLst>
              <a:ext uri="{FF2B5EF4-FFF2-40B4-BE49-F238E27FC236}">
                <a16:creationId xmlns:a16="http://schemas.microsoft.com/office/drawing/2014/main" id="{40CC584F-8827-14C3-3F39-F4179B306EF8}"/>
              </a:ext>
            </a:extLst>
          </p:cNvPr>
          <p:cNvSpPr>
            <a:spLocks noGrp="1"/>
          </p:cNvSpPr>
          <p:nvPr>
            <p:ph type="sldNum" sz="quarter" idx="4"/>
          </p:nvPr>
        </p:nvSpPr>
        <p:spPr/>
        <p:txBody>
          <a:bodyPr/>
          <a:lstStyle/>
          <a:p>
            <a:fld id="{17CD396C-6A52-4D5A-BAE3-92A1CC3BBDE0}" type="slidenum">
              <a:rPr lang="en-GB" noProof="0" smtClean="0"/>
              <a:pPr/>
              <a:t>2</a:t>
            </a:fld>
            <a:endParaRPr lang="en-GB" noProof="0"/>
          </a:p>
        </p:txBody>
      </p:sp>
      <p:grpSp>
        <p:nvGrpSpPr>
          <p:cNvPr id="10" name="Gruppieren 9">
            <a:extLst>
              <a:ext uri="{FF2B5EF4-FFF2-40B4-BE49-F238E27FC236}">
                <a16:creationId xmlns:a16="http://schemas.microsoft.com/office/drawing/2014/main" id="{1CFE67A8-0CC9-504A-B674-7AAA4B22992F}"/>
              </a:ext>
            </a:extLst>
          </p:cNvPr>
          <p:cNvGrpSpPr/>
          <p:nvPr/>
        </p:nvGrpSpPr>
        <p:grpSpPr>
          <a:xfrm>
            <a:off x="1192130" y="4118156"/>
            <a:ext cx="7373432" cy="650739"/>
            <a:chOff x="1185734" y="4106046"/>
            <a:chExt cx="7373432" cy="650739"/>
          </a:xfrm>
        </p:grpSpPr>
        <p:sp>
          <p:nvSpPr>
            <p:cNvPr id="6" name="Textfeld 5">
              <a:extLst>
                <a:ext uri="{FF2B5EF4-FFF2-40B4-BE49-F238E27FC236}">
                  <a16:creationId xmlns:a16="http://schemas.microsoft.com/office/drawing/2014/main" id="{67B98C52-23B6-DFB3-1FE9-91E72688250C}"/>
                </a:ext>
              </a:extLst>
            </p:cNvPr>
            <p:cNvSpPr txBox="1"/>
            <p:nvPr/>
          </p:nvSpPr>
          <p:spPr>
            <a:xfrm>
              <a:off x="1185734" y="4112026"/>
              <a:ext cx="7155601" cy="636187"/>
            </a:xfrm>
            <a:prstGeom prst="rect">
              <a:avLst/>
            </a:prstGeom>
            <a:noFill/>
            <a:ln w="28575">
              <a:solidFill>
                <a:srgbClr val="FFC000"/>
              </a:solidFill>
            </a:ln>
          </p:spPr>
          <p:txBody>
            <a:bodyPr wrap="square" rtlCol="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 name="Rechteck 8">
              <a:extLst>
                <a:ext uri="{FF2B5EF4-FFF2-40B4-BE49-F238E27FC236}">
                  <a16:creationId xmlns:a16="http://schemas.microsoft.com/office/drawing/2014/main" id="{32FA15DB-D508-A513-F8FE-B5EE5D55981D}"/>
                </a:ext>
              </a:extLst>
            </p:cNvPr>
            <p:cNvSpPr/>
            <p:nvPr/>
          </p:nvSpPr>
          <p:spPr>
            <a:xfrm>
              <a:off x="8341336" y="4106046"/>
              <a:ext cx="217830" cy="650739"/>
            </a:xfrm>
            <a:prstGeom prst="rect">
              <a:avLst/>
            </a:prstGeom>
            <a:solidFill>
              <a:srgbClr val="FFC000"/>
            </a:solid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vert="vert" lIns="72000" tIns="36000" rIns="72000" bIns="36000" rtlCol="0" anchor="ctr"/>
            <a:lstStyle/>
            <a:p>
              <a:pPr algn="ctr"/>
              <a:r>
                <a:rPr lang="en-GB" sz="1400" dirty="0"/>
                <a:t>2025</a:t>
              </a:r>
            </a:p>
          </p:txBody>
        </p:sp>
      </p:grpSp>
    </p:spTree>
    <p:extLst>
      <p:ext uri="{BB962C8B-B14F-4D97-AF65-F5344CB8AC3E}">
        <p14:creationId xmlns:p14="http://schemas.microsoft.com/office/powerpoint/2010/main" val="25617296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ED6B1D7-A521-88E9-6176-4167899465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5" name="think-cell data - do not delete" hidden="1">
                        <a:extLst>
                          <a:ext uri="{FF2B5EF4-FFF2-40B4-BE49-F238E27FC236}">
                            <a16:creationId xmlns:a16="http://schemas.microsoft.com/office/drawing/2014/main" id="{5ED6B1D7-A521-88E9-6176-4167899465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72A8D97-1C20-080A-8BF9-CE9315C68C40}"/>
              </a:ext>
            </a:extLst>
          </p:cNvPr>
          <p:cNvSpPr>
            <a:spLocks noGrp="1"/>
          </p:cNvSpPr>
          <p:nvPr>
            <p:ph type="title"/>
          </p:nvPr>
        </p:nvSpPr>
        <p:spPr>
          <a:xfrm>
            <a:off x="323848" y="525600"/>
            <a:ext cx="8496302" cy="804025"/>
          </a:xfrm>
        </p:spPr>
        <p:txBody>
          <a:bodyPr vert="horz" lIns="91440" tIns="45720" rIns="144000" bIns="45720" rtlCol="0" anchor="t">
            <a:noAutofit/>
          </a:bodyPr>
          <a:lstStyle/>
          <a:p>
            <a:r>
              <a:rPr lang="en-US" sz="2100" dirty="0"/>
              <a:t>IT represents a key enabler of excellence through digitalization – but also a cost to be carefully managed </a:t>
            </a:r>
          </a:p>
        </p:txBody>
      </p:sp>
      <p:sp>
        <p:nvSpPr>
          <p:cNvPr id="3" name="Text Placeholder 2">
            <a:extLst>
              <a:ext uri="{FF2B5EF4-FFF2-40B4-BE49-F238E27FC236}">
                <a16:creationId xmlns:a16="http://schemas.microsoft.com/office/drawing/2014/main" id="{579B84B1-8619-F83A-CF19-FA80BA14847F}"/>
              </a:ext>
            </a:extLst>
          </p:cNvPr>
          <p:cNvSpPr>
            <a:spLocks noGrp="1"/>
          </p:cNvSpPr>
          <p:nvPr>
            <p:ph type="body" sz="quarter" idx="14"/>
          </p:nvPr>
        </p:nvSpPr>
        <p:spPr/>
        <p:txBody>
          <a:bodyPr/>
          <a:lstStyle/>
          <a:p>
            <a:r>
              <a:rPr lang="en-US"/>
              <a:t>IT as an enabler and a cost to be managed</a:t>
            </a:r>
          </a:p>
        </p:txBody>
      </p:sp>
      <p:grpSp>
        <p:nvGrpSpPr>
          <p:cNvPr id="17" name="Group 16">
            <a:extLst>
              <a:ext uri="{FF2B5EF4-FFF2-40B4-BE49-F238E27FC236}">
                <a16:creationId xmlns:a16="http://schemas.microsoft.com/office/drawing/2014/main" id="{1ECDBFDB-CB6A-E312-74FC-8431AA84DA62}"/>
              </a:ext>
            </a:extLst>
          </p:cNvPr>
          <p:cNvGrpSpPr/>
          <p:nvPr/>
        </p:nvGrpSpPr>
        <p:grpSpPr>
          <a:xfrm>
            <a:off x="3844925" y="2579905"/>
            <a:ext cx="1454150" cy="1454150"/>
            <a:chOff x="3505200" y="2273288"/>
            <a:chExt cx="1454150" cy="1454150"/>
          </a:xfrm>
        </p:grpSpPr>
        <p:sp>
          <p:nvSpPr>
            <p:cNvPr id="14" name="Oval 13">
              <a:extLst>
                <a:ext uri="{FF2B5EF4-FFF2-40B4-BE49-F238E27FC236}">
                  <a16:creationId xmlns:a16="http://schemas.microsoft.com/office/drawing/2014/main" id="{4F20D5C8-C465-FEC5-9C83-A7C4F5EEEBB5}"/>
                </a:ext>
              </a:extLst>
            </p:cNvPr>
            <p:cNvSpPr/>
            <p:nvPr/>
          </p:nvSpPr>
          <p:spPr>
            <a:xfrm>
              <a:off x="3505200" y="2273288"/>
              <a:ext cx="1454150" cy="145415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a:p>
              <a:pPr algn="ctr"/>
              <a:endParaRPr lang="en-US"/>
            </a:p>
            <a:p>
              <a:pPr algn="ctr"/>
              <a:endParaRPr lang="en-US" sz="1100" b="1"/>
            </a:p>
            <a:p>
              <a:pPr algn="ctr"/>
              <a:r>
                <a:rPr lang="en-US" sz="2000" b="1"/>
                <a:t>IT</a:t>
              </a:r>
            </a:p>
          </p:txBody>
        </p:sp>
        <p:pic>
          <p:nvPicPr>
            <p:cNvPr id="16" name="Graphic 15" descr="Internet Of Things outline">
              <a:extLst>
                <a:ext uri="{FF2B5EF4-FFF2-40B4-BE49-F238E27FC236}">
                  <a16:creationId xmlns:a16="http://schemas.microsoft.com/office/drawing/2014/main" id="{1737007D-7250-B8CB-C3A4-F6D1E420C91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944144" y="2482850"/>
              <a:ext cx="576263" cy="576263"/>
            </a:xfrm>
            <a:prstGeom prst="rect">
              <a:avLst/>
            </a:prstGeom>
          </p:spPr>
        </p:pic>
      </p:grpSp>
      <p:sp>
        <p:nvSpPr>
          <p:cNvPr id="21" name="TextBox 20">
            <a:extLst>
              <a:ext uri="{FF2B5EF4-FFF2-40B4-BE49-F238E27FC236}">
                <a16:creationId xmlns:a16="http://schemas.microsoft.com/office/drawing/2014/main" id="{0154CDCA-09B3-66B7-8DB1-BE8C252D0402}"/>
              </a:ext>
            </a:extLst>
          </p:cNvPr>
          <p:cNvSpPr txBox="1"/>
          <p:nvPr/>
        </p:nvSpPr>
        <p:spPr>
          <a:xfrm>
            <a:off x="698499" y="2128297"/>
            <a:ext cx="2451100" cy="2340335"/>
          </a:xfrm>
          <a:prstGeom prst="rect">
            <a:avLst/>
          </a:prstGeom>
          <a:solidFill>
            <a:schemeClr val="bg1"/>
          </a:solidFill>
        </p:spPr>
        <p:txBody>
          <a:bodyPr wrap="square" rtlCol="0" anchor="ctr">
            <a:noAutofit/>
          </a:bodyPr>
          <a:lstStyle/>
          <a:p>
            <a:pPr algn="l">
              <a:spcAft>
                <a:spcPts val="400"/>
              </a:spcAft>
            </a:pPr>
            <a:r>
              <a:rPr lang="en-US" sz="1050" b="1"/>
              <a:t>Key value pools for Vattenfall:</a:t>
            </a:r>
          </a:p>
          <a:p>
            <a:pPr marL="285750" indent="-285750" algn="l">
              <a:spcAft>
                <a:spcPts val="400"/>
              </a:spcAft>
              <a:buFont typeface="Arial" panose="020B0604020202020204" pitchFamily="34" charset="0"/>
              <a:buChar char="•"/>
            </a:pPr>
            <a:r>
              <a:rPr lang="en-US" sz="1050"/>
              <a:t>Enable asset optimization </a:t>
            </a:r>
            <a:br>
              <a:rPr lang="en-US" sz="1050"/>
            </a:br>
            <a:r>
              <a:rPr lang="en-US" sz="1050"/>
              <a:t>and flexibility</a:t>
            </a:r>
          </a:p>
          <a:p>
            <a:pPr marL="285750" indent="-285750">
              <a:spcAft>
                <a:spcPts val="400"/>
              </a:spcAft>
              <a:buFont typeface="Arial" panose="020B0604020202020204" pitchFamily="34" charset="0"/>
              <a:buChar char="•"/>
            </a:pPr>
            <a:r>
              <a:rPr lang="en-US" sz="1050"/>
              <a:t>Increase asset availability </a:t>
            </a:r>
          </a:p>
          <a:p>
            <a:pPr marL="285750" indent="-285750">
              <a:spcAft>
                <a:spcPts val="400"/>
              </a:spcAft>
              <a:buFont typeface="Arial" panose="020B0604020202020204" pitchFamily="34" charset="0"/>
              <a:buChar char="•"/>
            </a:pPr>
            <a:r>
              <a:rPr lang="en-US" sz="1050"/>
              <a:t>Enable digital products </a:t>
            </a:r>
            <a:br>
              <a:rPr lang="en-US" sz="1050"/>
            </a:br>
            <a:r>
              <a:rPr lang="en-US" sz="1050"/>
              <a:t>in B2C &amp; B2B</a:t>
            </a:r>
          </a:p>
          <a:p>
            <a:pPr marL="285750" indent="-285750" algn="l">
              <a:spcAft>
                <a:spcPts val="400"/>
              </a:spcAft>
              <a:buFont typeface="Arial" panose="020B0604020202020204" pitchFamily="34" charset="0"/>
              <a:buChar char="•"/>
            </a:pPr>
            <a:r>
              <a:rPr lang="en-US" sz="1050"/>
              <a:t>Enable operation risk management</a:t>
            </a:r>
          </a:p>
          <a:p>
            <a:pPr marL="285750" indent="-285750" algn="l">
              <a:spcAft>
                <a:spcPts val="400"/>
              </a:spcAft>
              <a:buFont typeface="Arial" panose="020B0604020202020204" pitchFamily="34" charset="0"/>
              <a:buChar char="•"/>
            </a:pPr>
            <a:r>
              <a:rPr lang="en-US" sz="1050"/>
              <a:t>Decrease </a:t>
            </a:r>
            <a:r>
              <a:rPr lang="en-US" sz="1050" err="1"/>
              <a:t>opex</a:t>
            </a:r>
            <a:r>
              <a:rPr lang="en-US" sz="1050"/>
              <a:t> by automation and self-service  </a:t>
            </a:r>
          </a:p>
          <a:p>
            <a:pPr marL="285750" indent="-285750" algn="l">
              <a:spcAft>
                <a:spcPts val="400"/>
              </a:spcAft>
              <a:buFont typeface="Arial" panose="020B0604020202020204" pitchFamily="34" charset="0"/>
              <a:buChar char="•"/>
            </a:pPr>
            <a:r>
              <a:rPr lang="en-US" sz="1050"/>
              <a:t>Decreased capex by analytics</a:t>
            </a:r>
          </a:p>
        </p:txBody>
      </p:sp>
      <p:cxnSp>
        <p:nvCxnSpPr>
          <p:cNvPr id="33" name="Straight Arrow Connector 32">
            <a:extLst>
              <a:ext uri="{FF2B5EF4-FFF2-40B4-BE49-F238E27FC236}">
                <a16:creationId xmlns:a16="http://schemas.microsoft.com/office/drawing/2014/main" id="{417BFB19-4E7D-8AB9-FE20-30F50D867E1F}"/>
              </a:ext>
            </a:extLst>
          </p:cNvPr>
          <p:cNvCxnSpPr>
            <a:cxnSpLocks/>
            <a:stCxn id="21" idx="3"/>
          </p:cNvCxnSpPr>
          <p:nvPr/>
        </p:nvCxnSpPr>
        <p:spPr>
          <a:xfrm>
            <a:off x="3149599" y="3298465"/>
            <a:ext cx="695326" cy="8515"/>
          </a:xfrm>
          <a:prstGeom prst="straightConnector1">
            <a:avLst/>
          </a:prstGeom>
          <a:ln w="635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161B6DF6-A35D-57B5-E62B-D50208A5D9B2}"/>
              </a:ext>
            </a:extLst>
          </p:cNvPr>
          <p:cNvCxnSpPr>
            <a:cxnSpLocks/>
          </p:cNvCxnSpPr>
          <p:nvPr/>
        </p:nvCxnSpPr>
        <p:spPr>
          <a:xfrm>
            <a:off x="3149599" y="2737485"/>
            <a:ext cx="695326" cy="372980"/>
          </a:xfrm>
          <a:prstGeom prst="straightConnector1">
            <a:avLst/>
          </a:prstGeom>
          <a:ln w="635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2D786E52-062C-F290-E21B-CB6E1762705E}"/>
              </a:ext>
            </a:extLst>
          </p:cNvPr>
          <p:cNvCxnSpPr>
            <a:cxnSpLocks/>
          </p:cNvCxnSpPr>
          <p:nvPr/>
        </p:nvCxnSpPr>
        <p:spPr>
          <a:xfrm flipV="1">
            <a:off x="3149599" y="3503495"/>
            <a:ext cx="695326" cy="355503"/>
          </a:xfrm>
          <a:prstGeom prst="straightConnector1">
            <a:avLst/>
          </a:prstGeom>
          <a:ln w="635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983DB5D8-B80E-C2D6-D71B-DDB4C4E515D0}"/>
              </a:ext>
            </a:extLst>
          </p:cNvPr>
          <p:cNvCxnSpPr>
            <a:cxnSpLocks/>
            <a:stCxn id="65" idx="1"/>
          </p:cNvCxnSpPr>
          <p:nvPr/>
        </p:nvCxnSpPr>
        <p:spPr>
          <a:xfrm flipH="1">
            <a:off x="5299075" y="3298465"/>
            <a:ext cx="695326" cy="8515"/>
          </a:xfrm>
          <a:prstGeom prst="straightConnector1">
            <a:avLst/>
          </a:prstGeom>
          <a:ln w="635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05AF77F0-0853-A681-2DB3-7EAD0429F8BB}"/>
              </a:ext>
            </a:extLst>
          </p:cNvPr>
          <p:cNvCxnSpPr>
            <a:cxnSpLocks/>
          </p:cNvCxnSpPr>
          <p:nvPr/>
        </p:nvCxnSpPr>
        <p:spPr>
          <a:xfrm flipH="1">
            <a:off x="5298861" y="2789467"/>
            <a:ext cx="695326" cy="320998"/>
          </a:xfrm>
          <a:prstGeom prst="straightConnector1">
            <a:avLst/>
          </a:prstGeom>
          <a:ln w="635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1BB6CE94-D456-BB79-C275-FF4D3E79F0A0}"/>
              </a:ext>
            </a:extLst>
          </p:cNvPr>
          <p:cNvCxnSpPr>
            <a:cxnSpLocks/>
          </p:cNvCxnSpPr>
          <p:nvPr/>
        </p:nvCxnSpPr>
        <p:spPr>
          <a:xfrm flipH="1" flipV="1">
            <a:off x="5298861" y="3503495"/>
            <a:ext cx="695326" cy="379045"/>
          </a:xfrm>
          <a:prstGeom prst="straightConnector1">
            <a:avLst/>
          </a:prstGeom>
          <a:ln w="635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0" name="Text Placeholder 2">
            <a:extLst>
              <a:ext uri="{FF2B5EF4-FFF2-40B4-BE49-F238E27FC236}">
                <a16:creationId xmlns:a16="http://schemas.microsoft.com/office/drawing/2014/main" id="{6FD188FB-F303-7E21-E899-E8663A9143C9}"/>
              </a:ext>
            </a:extLst>
          </p:cNvPr>
          <p:cNvSpPr txBox="1">
            <a:spLocks/>
          </p:cNvSpPr>
          <p:nvPr/>
        </p:nvSpPr>
        <p:spPr>
          <a:xfrm>
            <a:off x="698499" y="1550987"/>
            <a:ext cx="2451100" cy="492498"/>
          </a:xfrm>
          <a:prstGeom prst="rect">
            <a:avLst/>
          </a:prstGeom>
        </p:spPr>
        <p:txBody>
          <a:bodyPr vert="horz" lIns="111600" tIns="45720" rIns="144000" bIns="45720" rtlCol="0" anchor="ctr">
            <a:noAutofit/>
          </a:bodyPr>
          <a:lstStyle>
            <a:lvl1pPr marL="3175" indent="-3175" algn="l" defTabSz="685800" rtl="0" eaLnBrk="1" latinLnBrk="0" hangingPunct="1">
              <a:lnSpc>
                <a:spcPct val="100000"/>
              </a:lnSpc>
              <a:spcBef>
                <a:spcPts val="750"/>
              </a:spcBef>
              <a:buFont typeface="Arial" panose="020B0604020202020204" pitchFamily="34" charset="0"/>
              <a:buNone/>
              <a:tabLst/>
              <a:defRPr sz="1200" b="1" kern="1200">
                <a:solidFill>
                  <a:schemeClr val="tx1"/>
                </a:solidFill>
                <a:latin typeface="+mn-lt"/>
                <a:ea typeface="+mn-ea"/>
                <a:cs typeface="+mn-cs"/>
              </a:defRPr>
            </a:lvl1pPr>
            <a:lvl2pPr marL="358775" indent="-179388"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2pPr>
            <a:lvl3pPr marL="534988" indent="-176213"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3pPr>
            <a:lvl4pPr marL="714375" indent="-179388"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4pPr>
            <a:lvl5pPr marL="889000" indent="-174625"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sz="1400" dirty="0"/>
              <a:t>IT and Digitalization </a:t>
            </a:r>
            <a:r>
              <a:rPr lang="en-US" sz="1400" u="sng" dirty="0"/>
              <a:t>as an enabler</a:t>
            </a:r>
            <a:r>
              <a:rPr lang="en-US" sz="1400" dirty="0"/>
              <a:t> for excellence</a:t>
            </a:r>
          </a:p>
        </p:txBody>
      </p:sp>
      <p:sp>
        <p:nvSpPr>
          <p:cNvPr id="61" name="Text Placeholder 2">
            <a:extLst>
              <a:ext uri="{FF2B5EF4-FFF2-40B4-BE49-F238E27FC236}">
                <a16:creationId xmlns:a16="http://schemas.microsoft.com/office/drawing/2014/main" id="{BF2A50DB-CCD2-C327-6EC9-4C83B04DDD89}"/>
              </a:ext>
            </a:extLst>
          </p:cNvPr>
          <p:cNvSpPr txBox="1">
            <a:spLocks/>
          </p:cNvSpPr>
          <p:nvPr/>
        </p:nvSpPr>
        <p:spPr>
          <a:xfrm>
            <a:off x="5994187" y="1550987"/>
            <a:ext cx="2451100" cy="492498"/>
          </a:xfrm>
          <a:prstGeom prst="rect">
            <a:avLst/>
          </a:prstGeom>
        </p:spPr>
        <p:txBody>
          <a:bodyPr vert="horz" lIns="111600" tIns="45720" rIns="144000" bIns="45720" rtlCol="0" anchor="ctr">
            <a:noAutofit/>
          </a:bodyPr>
          <a:lstStyle>
            <a:lvl1pPr marL="3175" indent="-3175" algn="l" defTabSz="685800" rtl="0" eaLnBrk="1" latinLnBrk="0" hangingPunct="1">
              <a:lnSpc>
                <a:spcPct val="100000"/>
              </a:lnSpc>
              <a:spcBef>
                <a:spcPts val="750"/>
              </a:spcBef>
              <a:buFont typeface="Arial" panose="020B0604020202020204" pitchFamily="34" charset="0"/>
              <a:buNone/>
              <a:tabLst/>
              <a:defRPr sz="1200" b="1" kern="1200">
                <a:solidFill>
                  <a:schemeClr val="tx1"/>
                </a:solidFill>
                <a:latin typeface="+mn-lt"/>
                <a:ea typeface="+mn-ea"/>
                <a:cs typeface="+mn-cs"/>
              </a:defRPr>
            </a:lvl1pPr>
            <a:lvl2pPr marL="358775" indent="-179388"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2pPr>
            <a:lvl3pPr marL="534988" indent="-176213"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3pPr>
            <a:lvl4pPr marL="714375" indent="-179388"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4pPr>
            <a:lvl5pPr marL="889000" indent="-174625"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sz="1400" dirty="0"/>
              <a:t>IT </a:t>
            </a:r>
            <a:r>
              <a:rPr lang="en-US" sz="1400" u="sng" dirty="0"/>
              <a:t>as a cost to be managed </a:t>
            </a:r>
          </a:p>
        </p:txBody>
      </p:sp>
      <p:sp>
        <p:nvSpPr>
          <p:cNvPr id="65" name="TextBox 64">
            <a:extLst>
              <a:ext uri="{FF2B5EF4-FFF2-40B4-BE49-F238E27FC236}">
                <a16:creationId xmlns:a16="http://schemas.microsoft.com/office/drawing/2014/main" id="{08BC85F4-54F8-8967-87C5-91B97899C2F4}"/>
              </a:ext>
            </a:extLst>
          </p:cNvPr>
          <p:cNvSpPr txBox="1"/>
          <p:nvPr/>
        </p:nvSpPr>
        <p:spPr>
          <a:xfrm>
            <a:off x="5994401" y="2128297"/>
            <a:ext cx="2451100" cy="2340335"/>
          </a:xfrm>
          <a:prstGeom prst="rect">
            <a:avLst/>
          </a:prstGeom>
          <a:solidFill>
            <a:schemeClr val="bg1"/>
          </a:solidFill>
        </p:spPr>
        <p:txBody>
          <a:bodyPr wrap="square" rtlCol="0" anchor="ctr">
            <a:noAutofit/>
          </a:bodyPr>
          <a:lstStyle/>
          <a:p>
            <a:pPr>
              <a:spcAft>
                <a:spcPts val="400"/>
              </a:spcAft>
            </a:pPr>
            <a:r>
              <a:rPr lang="en-US" sz="1050" b="1"/>
              <a:t>Key value pools for Vattenfall:</a:t>
            </a:r>
          </a:p>
          <a:p>
            <a:pPr marL="285750" indent="-285750">
              <a:spcAft>
                <a:spcPts val="400"/>
              </a:spcAft>
              <a:buFont typeface="Arial" panose="020B0604020202020204" pitchFamily="34" charset="0"/>
              <a:buChar char="•"/>
            </a:pPr>
            <a:r>
              <a:rPr lang="en-US" sz="1050"/>
              <a:t>Process and application consolidation </a:t>
            </a:r>
          </a:p>
          <a:p>
            <a:pPr marL="285750" indent="-285750">
              <a:spcAft>
                <a:spcPts val="400"/>
              </a:spcAft>
              <a:buFont typeface="Arial" panose="020B0604020202020204" pitchFamily="34" charset="0"/>
              <a:buChar char="•"/>
            </a:pPr>
            <a:r>
              <a:rPr lang="en-US" sz="1050"/>
              <a:t>Volume optimization</a:t>
            </a:r>
          </a:p>
          <a:p>
            <a:pPr marL="285750" indent="-285750">
              <a:spcAft>
                <a:spcPts val="400"/>
              </a:spcAft>
              <a:buFont typeface="Arial" panose="020B0604020202020204" pitchFamily="34" charset="0"/>
              <a:buChar char="•"/>
            </a:pPr>
            <a:r>
              <a:rPr lang="en-US" sz="1050"/>
              <a:t>Project execution </a:t>
            </a:r>
          </a:p>
          <a:p>
            <a:pPr marL="285750" indent="-285750">
              <a:spcAft>
                <a:spcPts val="400"/>
              </a:spcAft>
              <a:buFont typeface="Arial" panose="020B0604020202020204" pitchFamily="34" charset="0"/>
              <a:buChar char="•"/>
            </a:pPr>
            <a:r>
              <a:rPr lang="en-US" sz="1050"/>
              <a:t>Optimization of sourcing </a:t>
            </a:r>
          </a:p>
          <a:p>
            <a:pPr marL="285750" indent="-285750">
              <a:spcAft>
                <a:spcPts val="400"/>
              </a:spcAft>
              <a:buFont typeface="Arial" panose="020B0604020202020204" pitchFamily="34" charset="0"/>
              <a:buChar char="•"/>
            </a:pPr>
            <a:r>
              <a:rPr lang="en-US" sz="1050"/>
              <a:t>Economies of scale </a:t>
            </a:r>
          </a:p>
        </p:txBody>
      </p:sp>
      <p:sp>
        <p:nvSpPr>
          <p:cNvPr id="4" name="Slide Number Placeholder 3">
            <a:extLst>
              <a:ext uri="{FF2B5EF4-FFF2-40B4-BE49-F238E27FC236}">
                <a16:creationId xmlns:a16="http://schemas.microsoft.com/office/drawing/2014/main" id="{C7D22B19-E828-182B-11FA-5D1B9E697B0E}"/>
              </a:ext>
            </a:extLst>
          </p:cNvPr>
          <p:cNvSpPr>
            <a:spLocks noGrp="1"/>
          </p:cNvSpPr>
          <p:nvPr>
            <p:ph type="sldNum" sz="quarter" idx="4"/>
          </p:nvPr>
        </p:nvSpPr>
        <p:spPr/>
        <p:txBody>
          <a:bodyPr/>
          <a:lstStyle/>
          <a:p>
            <a:fld id="{17CD396C-6A52-4D5A-BAE3-92A1CC3BBDE0}" type="slidenum">
              <a:rPr lang="en-GB" noProof="0" smtClean="0"/>
              <a:pPr/>
              <a:t>3</a:t>
            </a:fld>
            <a:endParaRPr lang="en-US"/>
          </a:p>
        </p:txBody>
      </p:sp>
    </p:spTree>
    <p:extLst>
      <p:ext uri="{BB962C8B-B14F-4D97-AF65-F5344CB8AC3E}">
        <p14:creationId xmlns:p14="http://schemas.microsoft.com/office/powerpoint/2010/main" val="22649969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F882A76-4512-61B1-BA81-DC016C8629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think-cell data - do not delete" hidden="1">
                        <a:extLst>
                          <a:ext uri="{FF2B5EF4-FFF2-40B4-BE49-F238E27FC236}">
                            <a16:creationId xmlns:a16="http://schemas.microsoft.com/office/drawing/2014/main" id="{CF882A76-4512-61B1-BA81-DC016C8629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F8BE606-B05E-C5AE-DD8A-F344D22C518C}"/>
              </a:ext>
            </a:extLst>
          </p:cNvPr>
          <p:cNvSpPr>
            <a:spLocks noGrp="1"/>
          </p:cNvSpPr>
          <p:nvPr>
            <p:ph type="title"/>
          </p:nvPr>
        </p:nvSpPr>
        <p:spPr>
          <a:xfrm>
            <a:off x="323847" y="525600"/>
            <a:ext cx="8496303" cy="842024"/>
          </a:xfrm>
        </p:spPr>
        <p:txBody>
          <a:bodyPr vert="horz" lIns="91440" tIns="45720" rIns="144000" bIns="45720" rtlCol="0" anchor="t">
            <a:noAutofit/>
          </a:bodyPr>
          <a:lstStyle/>
          <a:p>
            <a:r>
              <a:rPr lang="en-US" sz="2100" dirty="0"/>
              <a:t>HOW: Acting in a more coordinated and aligned way for digital enablement – 5 key domains</a:t>
            </a:r>
          </a:p>
        </p:txBody>
      </p:sp>
      <p:sp>
        <p:nvSpPr>
          <p:cNvPr id="39" name="Rectangle 38">
            <a:extLst>
              <a:ext uri="{FF2B5EF4-FFF2-40B4-BE49-F238E27FC236}">
                <a16:creationId xmlns:a16="http://schemas.microsoft.com/office/drawing/2014/main" id="{0B867AA1-5D1D-59D9-ED94-22661B07F85C}"/>
              </a:ext>
            </a:extLst>
          </p:cNvPr>
          <p:cNvSpPr/>
          <p:nvPr/>
        </p:nvSpPr>
        <p:spPr>
          <a:xfrm>
            <a:off x="5488574" y="2952730"/>
            <a:ext cx="1645920" cy="1743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0488" indent="-90488">
              <a:spcBef>
                <a:spcPts val="600"/>
              </a:spcBef>
              <a:buFont typeface="Arial" panose="020B0604020202020204" pitchFamily="34" charset="0"/>
              <a:buChar char="•"/>
            </a:pPr>
            <a:r>
              <a:rPr lang="en-US" sz="900" b="1">
                <a:solidFill>
                  <a:schemeClr val="tx1"/>
                </a:solidFill>
              </a:rPr>
              <a:t>Ensure modern integration </a:t>
            </a:r>
            <a:r>
              <a:rPr lang="en-US" sz="900">
                <a:solidFill>
                  <a:schemeClr val="tx1"/>
                </a:solidFill>
              </a:rPr>
              <a:t>according to target architecture leverage group platforms </a:t>
            </a:r>
          </a:p>
          <a:p>
            <a:pPr marL="90488" indent="-90488">
              <a:spcBef>
                <a:spcPts val="600"/>
              </a:spcBef>
              <a:buFont typeface="Arial" panose="020B0604020202020204" pitchFamily="34" charset="0"/>
              <a:buChar char="•"/>
            </a:pPr>
            <a:r>
              <a:rPr lang="en-US" sz="900" b="1">
                <a:solidFill>
                  <a:schemeClr val="tx1"/>
                </a:solidFill>
              </a:rPr>
              <a:t>Ensure necessary IT / OT integration</a:t>
            </a:r>
            <a:r>
              <a:rPr lang="en-US" sz="900">
                <a:solidFill>
                  <a:schemeClr val="tx1"/>
                </a:solidFill>
              </a:rPr>
              <a:t> according to target architecture </a:t>
            </a:r>
          </a:p>
        </p:txBody>
      </p:sp>
      <p:sp>
        <p:nvSpPr>
          <p:cNvPr id="40" name="Rectangle 39">
            <a:extLst>
              <a:ext uri="{FF2B5EF4-FFF2-40B4-BE49-F238E27FC236}">
                <a16:creationId xmlns:a16="http://schemas.microsoft.com/office/drawing/2014/main" id="{8E7FC8A9-742F-85BA-9B6A-1CF01773A2A0}"/>
              </a:ext>
            </a:extLst>
          </p:cNvPr>
          <p:cNvSpPr/>
          <p:nvPr/>
        </p:nvSpPr>
        <p:spPr>
          <a:xfrm>
            <a:off x="7228108" y="2952730"/>
            <a:ext cx="1645920" cy="1743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0488" indent="-90488">
              <a:spcBef>
                <a:spcPts val="600"/>
              </a:spcBef>
              <a:buFont typeface="Arial" panose="020B0604020202020204" pitchFamily="34" charset="0"/>
              <a:buChar char="•"/>
            </a:pPr>
            <a:r>
              <a:rPr lang="en-US" sz="900" b="1">
                <a:solidFill>
                  <a:schemeClr val="tx1"/>
                </a:solidFill>
              </a:rPr>
              <a:t>Strive for automation &amp; self-service </a:t>
            </a:r>
            <a:r>
              <a:rPr lang="en-US" sz="900">
                <a:solidFill>
                  <a:schemeClr val="tx1"/>
                </a:solidFill>
              </a:rPr>
              <a:t>leveraging by technologies like AI or RPA</a:t>
            </a:r>
          </a:p>
          <a:p>
            <a:pPr marL="90488" indent="-90488">
              <a:spcBef>
                <a:spcPts val="600"/>
              </a:spcBef>
              <a:buFont typeface="Arial" panose="020B0604020202020204" pitchFamily="34" charset="0"/>
              <a:buChar char="•"/>
            </a:pPr>
            <a:r>
              <a:rPr lang="en-US" sz="900" b="1">
                <a:solidFill>
                  <a:schemeClr val="tx1"/>
                </a:solidFill>
              </a:rPr>
              <a:t>Ensure customer and user experience</a:t>
            </a:r>
          </a:p>
          <a:p>
            <a:pPr marL="90488" indent="-90488">
              <a:spcBef>
                <a:spcPts val="600"/>
              </a:spcBef>
              <a:buFont typeface="Arial" panose="020B0604020202020204" pitchFamily="34" charset="0"/>
              <a:buChar char="•"/>
            </a:pPr>
            <a:r>
              <a:rPr lang="en-US" sz="900" b="1">
                <a:solidFill>
                  <a:schemeClr val="tx1"/>
                </a:solidFill>
              </a:rPr>
              <a:t>Process alignment across Vattenfall </a:t>
            </a:r>
            <a:r>
              <a:rPr lang="en-US" sz="900">
                <a:solidFill>
                  <a:schemeClr val="tx1"/>
                </a:solidFill>
              </a:rPr>
              <a:t>is a pre-requisite </a:t>
            </a:r>
          </a:p>
        </p:txBody>
      </p:sp>
      <p:sp>
        <p:nvSpPr>
          <p:cNvPr id="45" name="Rectangle 44">
            <a:extLst>
              <a:ext uri="{FF2B5EF4-FFF2-40B4-BE49-F238E27FC236}">
                <a16:creationId xmlns:a16="http://schemas.microsoft.com/office/drawing/2014/main" id="{B4DAD307-0DCC-5C05-8A7F-D11818357002}"/>
              </a:ext>
            </a:extLst>
          </p:cNvPr>
          <p:cNvSpPr/>
          <p:nvPr/>
        </p:nvSpPr>
        <p:spPr>
          <a:xfrm>
            <a:off x="269973" y="2952750"/>
            <a:ext cx="1645920" cy="1743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0488" indent="-90488">
              <a:spcBef>
                <a:spcPts val="600"/>
              </a:spcBef>
              <a:buFont typeface="Arial" panose="020B0604020202020204" pitchFamily="34" charset="0"/>
              <a:buChar char="•"/>
            </a:pPr>
            <a:r>
              <a:rPr lang="en-US" sz="900" b="1" dirty="0">
                <a:solidFill>
                  <a:schemeClr val="tx1"/>
                </a:solidFill>
              </a:rPr>
              <a:t>Establish end-to-end process and application target architectures </a:t>
            </a:r>
            <a:r>
              <a:rPr lang="en-US" sz="900" dirty="0">
                <a:solidFill>
                  <a:schemeClr val="tx1"/>
                </a:solidFill>
              </a:rPr>
              <a:t>of key domains (e.g., meter-to-cash process, asset optimization, etc.)</a:t>
            </a:r>
          </a:p>
          <a:p>
            <a:pPr marL="90488" indent="-90488">
              <a:spcBef>
                <a:spcPts val="600"/>
              </a:spcBef>
              <a:buFont typeface="Arial" panose="020B0604020202020204" pitchFamily="34" charset="0"/>
              <a:buChar char="•"/>
            </a:pPr>
            <a:r>
              <a:rPr lang="en-US" sz="900" b="1" dirty="0">
                <a:solidFill>
                  <a:schemeClr val="tx1"/>
                </a:solidFill>
              </a:rPr>
              <a:t>Ensure adherence to target architecture</a:t>
            </a:r>
          </a:p>
        </p:txBody>
      </p:sp>
      <p:sp>
        <p:nvSpPr>
          <p:cNvPr id="46" name="Rectangle 45">
            <a:extLst>
              <a:ext uri="{FF2B5EF4-FFF2-40B4-BE49-F238E27FC236}">
                <a16:creationId xmlns:a16="http://schemas.microsoft.com/office/drawing/2014/main" id="{ACE8275B-CB27-BC21-8633-2A4534116AD7}"/>
              </a:ext>
            </a:extLst>
          </p:cNvPr>
          <p:cNvSpPr/>
          <p:nvPr/>
        </p:nvSpPr>
        <p:spPr>
          <a:xfrm>
            <a:off x="3749040" y="2952750"/>
            <a:ext cx="1645920" cy="1743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0488" indent="-90488">
              <a:spcBef>
                <a:spcPts val="600"/>
              </a:spcBef>
              <a:buFont typeface="Arial" panose="020B0604020202020204" pitchFamily="34" charset="0"/>
              <a:buChar char="•"/>
            </a:pPr>
            <a:r>
              <a:rPr lang="en-US" sz="900" b="1">
                <a:solidFill>
                  <a:schemeClr val="tx1"/>
                </a:solidFill>
              </a:rPr>
              <a:t>Ensure data accessible across Vattenfall¹  </a:t>
            </a:r>
          </a:p>
          <a:p>
            <a:pPr marL="90488" indent="-90488">
              <a:spcBef>
                <a:spcPts val="600"/>
              </a:spcBef>
              <a:buFont typeface="Arial" panose="020B0604020202020204" pitchFamily="34" charset="0"/>
              <a:buChar char="•"/>
            </a:pPr>
            <a:r>
              <a:rPr lang="en-US" sz="900" b="1">
                <a:solidFill>
                  <a:schemeClr val="tx1"/>
                </a:solidFill>
              </a:rPr>
              <a:t>Ensure data quality and master data</a:t>
            </a:r>
          </a:p>
          <a:p>
            <a:pPr marL="90488" indent="-90488">
              <a:spcBef>
                <a:spcPts val="600"/>
              </a:spcBef>
              <a:buFont typeface="Arial" panose="020B0604020202020204" pitchFamily="34" charset="0"/>
              <a:buChar char="•"/>
            </a:pPr>
            <a:r>
              <a:rPr lang="en-US" sz="900" b="1">
                <a:solidFill>
                  <a:schemeClr val="tx1"/>
                </a:solidFill>
              </a:rPr>
              <a:t>Leverage VAP platform</a:t>
            </a:r>
          </a:p>
          <a:p>
            <a:pPr marL="90488" indent="-90488">
              <a:spcBef>
                <a:spcPts val="600"/>
              </a:spcBef>
              <a:buFont typeface="Arial" panose="020B0604020202020204" pitchFamily="34" charset="0"/>
              <a:buChar char="•"/>
            </a:pPr>
            <a:r>
              <a:rPr lang="en-US" sz="900" b="1">
                <a:solidFill>
                  <a:schemeClr val="tx1"/>
                </a:solidFill>
              </a:rPr>
              <a:t>Implement Group data governance</a:t>
            </a:r>
          </a:p>
        </p:txBody>
      </p:sp>
      <p:sp>
        <p:nvSpPr>
          <p:cNvPr id="5" name="Text Placeholder 2">
            <a:extLst>
              <a:ext uri="{FF2B5EF4-FFF2-40B4-BE49-F238E27FC236}">
                <a16:creationId xmlns:a16="http://schemas.microsoft.com/office/drawing/2014/main" id="{7AAB56CD-FABC-D2FC-A1AC-05C310D2D5DE}"/>
              </a:ext>
            </a:extLst>
          </p:cNvPr>
          <p:cNvSpPr txBox="1">
            <a:spLocks/>
          </p:cNvSpPr>
          <p:nvPr/>
        </p:nvSpPr>
        <p:spPr>
          <a:xfrm>
            <a:off x="268186" y="2387092"/>
            <a:ext cx="1645920" cy="498963"/>
          </a:xfrm>
          <a:prstGeom prst="rect">
            <a:avLst/>
          </a:prstGeom>
        </p:spPr>
        <p:txBody>
          <a:bodyPr vert="horz" lIns="111600" tIns="45720" rIns="144000" bIns="45720" rtlCol="0" anchor="ctr">
            <a:noAutofit/>
          </a:bodyPr>
          <a:lstStyle>
            <a:lvl1pPr marL="3175" indent="-3175" algn="l" defTabSz="685800" rtl="0" eaLnBrk="1" latinLnBrk="0" hangingPunct="1">
              <a:lnSpc>
                <a:spcPct val="100000"/>
              </a:lnSpc>
              <a:spcBef>
                <a:spcPts val="750"/>
              </a:spcBef>
              <a:buFont typeface="Arial" panose="020B0604020202020204" pitchFamily="34" charset="0"/>
              <a:buNone/>
              <a:tabLst/>
              <a:defRPr sz="1200" b="1" kern="1200">
                <a:solidFill>
                  <a:schemeClr val="tx1"/>
                </a:solidFill>
                <a:latin typeface="+mn-lt"/>
                <a:ea typeface="+mn-ea"/>
                <a:cs typeface="+mn-cs"/>
              </a:defRPr>
            </a:lvl1pPr>
            <a:lvl2pPr marL="358775" indent="-179388"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2pPr>
            <a:lvl3pPr marL="534988" indent="-176213"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3pPr>
            <a:lvl4pPr marL="714375" indent="-179388"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4pPr>
            <a:lvl5pPr marL="889000" indent="-174625"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sz="1050" dirty="0"/>
              <a:t>Architecture</a:t>
            </a:r>
            <a:r>
              <a:rPr lang="en-US" sz="1050"/>
              <a:t> </a:t>
            </a:r>
          </a:p>
        </p:txBody>
      </p:sp>
      <p:sp>
        <p:nvSpPr>
          <p:cNvPr id="6" name="Text Placeholder 2">
            <a:extLst>
              <a:ext uri="{FF2B5EF4-FFF2-40B4-BE49-F238E27FC236}">
                <a16:creationId xmlns:a16="http://schemas.microsoft.com/office/drawing/2014/main" id="{2216D0F3-009D-D710-FC7A-8836ECCD6A76}"/>
              </a:ext>
            </a:extLst>
          </p:cNvPr>
          <p:cNvSpPr txBox="1">
            <a:spLocks/>
          </p:cNvSpPr>
          <p:nvPr/>
        </p:nvSpPr>
        <p:spPr>
          <a:xfrm>
            <a:off x="3749041" y="2387092"/>
            <a:ext cx="1645919" cy="498963"/>
          </a:xfrm>
          <a:prstGeom prst="rect">
            <a:avLst/>
          </a:prstGeom>
        </p:spPr>
        <p:txBody>
          <a:bodyPr vert="horz" lIns="111600" tIns="45720" rIns="144000" bIns="45720" rtlCol="0" anchor="ctr">
            <a:noAutofit/>
          </a:bodyPr>
          <a:lstStyle>
            <a:lvl1pPr marL="3175" indent="-3175" algn="l" defTabSz="685800" rtl="0" eaLnBrk="1" latinLnBrk="0" hangingPunct="1">
              <a:lnSpc>
                <a:spcPct val="100000"/>
              </a:lnSpc>
              <a:spcBef>
                <a:spcPts val="750"/>
              </a:spcBef>
              <a:buFont typeface="Arial" panose="020B0604020202020204" pitchFamily="34" charset="0"/>
              <a:buNone/>
              <a:tabLst/>
              <a:defRPr sz="1200" b="1" kern="1200">
                <a:solidFill>
                  <a:schemeClr val="tx1"/>
                </a:solidFill>
                <a:latin typeface="+mn-lt"/>
                <a:ea typeface="+mn-ea"/>
                <a:cs typeface="+mn-cs"/>
              </a:defRPr>
            </a:lvl1pPr>
            <a:lvl2pPr marL="358775" indent="-179388"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2pPr>
            <a:lvl3pPr marL="534988" indent="-176213"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3pPr>
            <a:lvl4pPr marL="714375" indent="-179388"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4pPr>
            <a:lvl5pPr marL="889000" indent="-174625"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ts val="0"/>
              </a:spcBef>
            </a:pPr>
            <a:r>
              <a:rPr lang="en-US" sz="1050"/>
              <a:t>Data quality &amp; accessibility</a:t>
            </a:r>
          </a:p>
        </p:txBody>
      </p:sp>
      <p:sp>
        <p:nvSpPr>
          <p:cNvPr id="7" name="Text Placeholder 2">
            <a:extLst>
              <a:ext uri="{FF2B5EF4-FFF2-40B4-BE49-F238E27FC236}">
                <a16:creationId xmlns:a16="http://schemas.microsoft.com/office/drawing/2014/main" id="{D0BDADE3-43E7-18F1-6018-DDCC2831669E}"/>
              </a:ext>
            </a:extLst>
          </p:cNvPr>
          <p:cNvSpPr txBox="1">
            <a:spLocks/>
          </p:cNvSpPr>
          <p:nvPr/>
        </p:nvSpPr>
        <p:spPr>
          <a:xfrm>
            <a:off x="5488575" y="2387092"/>
            <a:ext cx="1645920" cy="498963"/>
          </a:xfrm>
          <a:prstGeom prst="rect">
            <a:avLst/>
          </a:prstGeom>
        </p:spPr>
        <p:txBody>
          <a:bodyPr vert="horz" lIns="111600" tIns="45720" rIns="144000" bIns="45720" rtlCol="0" anchor="ctr">
            <a:noAutofit/>
          </a:bodyPr>
          <a:lstStyle>
            <a:lvl1pPr marL="3175" indent="-3175" algn="l" defTabSz="685800" rtl="0" eaLnBrk="1" latinLnBrk="0" hangingPunct="1">
              <a:lnSpc>
                <a:spcPct val="100000"/>
              </a:lnSpc>
              <a:spcBef>
                <a:spcPts val="750"/>
              </a:spcBef>
              <a:buFont typeface="Arial" panose="020B0604020202020204" pitchFamily="34" charset="0"/>
              <a:buNone/>
              <a:tabLst/>
              <a:defRPr sz="1200" b="1" kern="1200">
                <a:solidFill>
                  <a:schemeClr val="tx1"/>
                </a:solidFill>
                <a:latin typeface="+mn-lt"/>
                <a:ea typeface="+mn-ea"/>
                <a:cs typeface="+mn-cs"/>
              </a:defRPr>
            </a:lvl1pPr>
            <a:lvl2pPr marL="358775" indent="-179388"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2pPr>
            <a:lvl3pPr marL="534988" indent="-176213"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3pPr>
            <a:lvl4pPr marL="714375" indent="-179388"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4pPr>
            <a:lvl5pPr marL="889000" indent="-174625"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sz="1050"/>
              <a:t>IT integration &amp; </a:t>
            </a:r>
            <a:br>
              <a:rPr lang="en-US" sz="1050"/>
            </a:br>
            <a:r>
              <a:rPr lang="en-US" sz="1050"/>
              <a:t>IT/OT integration</a:t>
            </a:r>
          </a:p>
        </p:txBody>
      </p:sp>
      <p:sp>
        <p:nvSpPr>
          <p:cNvPr id="8" name="Text Placeholder 2">
            <a:extLst>
              <a:ext uri="{FF2B5EF4-FFF2-40B4-BE49-F238E27FC236}">
                <a16:creationId xmlns:a16="http://schemas.microsoft.com/office/drawing/2014/main" id="{5553B788-CBBD-4F54-3FC4-745C9E07594C}"/>
              </a:ext>
            </a:extLst>
          </p:cNvPr>
          <p:cNvSpPr txBox="1">
            <a:spLocks/>
          </p:cNvSpPr>
          <p:nvPr/>
        </p:nvSpPr>
        <p:spPr>
          <a:xfrm>
            <a:off x="7228109" y="2387092"/>
            <a:ext cx="1645916" cy="498963"/>
          </a:xfrm>
          <a:prstGeom prst="rect">
            <a:avLst/>
          </a:prstGeom>
        </p:spPr>
        <p:txBody>
          <a:bodyPr vert="horz" lIns="111600" tIns="45720" rIns="144000" bIns="45720" rtlCol="0" anchor="ctr">
            <a:noAutofit/>
          </a:bodyPr>
          <a:lstStyle>
            <a:lvl1pPr marL="3175" indent="-3175" algn="l" defTabSz="685800" rtl="0" eaLnBrk="1" latinLnBrk="0" hangingPunct="1">
              <a:lnSpc>
                <a:spcPct val="100000"/>
              </a:lnSpc>
              <a:spcBef>
                <a:spcPts val="750"/>
              </a:spcBef>
              <a:buFont typeface="Arial" panose="020B0604020202020204" pitchFamily="34" charset="0"/>
              <a:buNone/>
              <a:tabLst/>
              <a:defRPr sz="1200" b="1" kern="1200">
                <a:solidFill>
                  <a:schemeClr val="tx1"/>
                </a:solidFill>
                <a:latin typeface="+mn-lt"/>
                <a:ea typeface="+mn-ea"/>
                <a:cs typeface="+mn-cs"/>
              </a:defRPr>
            </a:lvl1pPr>
            <a:lvl2pPr marL="358775" indent="-179388"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2pPr>
            <a:lvl3pPr marL="534988" indent="-176213"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3pPr>
            <a:lvl4pPr marL="714375" indent="-179388"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4pPr>
            <a:lvl5pPr marL="889000" indent="-174625"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sz="1050"/>
              <a:t>Automation, process alignment &amp; self-service via e.g., AI</a:t>
            </a:r>
          </a:p>
        </p:txBody>
      </p:sp>
      <p:sp>
        <p:nvSpPr>
          <p:cNvPr id="42" name="Oval 41">
            <a:extLst>
              <a:ext uri="{FF2B5EF4-FFF2-40B4-BE49-F238E27FC236}">
                <a16:creationId xmlns:a16="http://schemas.microsoft.com/office/drawing/2014/main" id="{854733C3-0C2D-CA1A-E240-BCC3575F4FBF}"/>
              </a:ext>
            </a:extLst>
          </p:cNvPr>
          <p:cNvSpPr/>
          <p:nvPr/>
        </p:nvSpPr>
        <p:spPr>
          <a:xfrm>
            <a:off x="685629" y="1509365"/>
            <a:ext cx="811033" cy="81103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1678DAC0-68A0-840B-5033-C44F82D5851B}"/>
              </a:ext>
            </a:extLst>
          </p:cNvPr>
          <p:cNvSpPr/>
          <p:nvPr/>
        </p:nvSpPr>
        <p:spPr>
          <a:xfrm>
            <a:off x="4166483" y="1509365"/>
            <a:ext cx="811033" cy="81103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a16="http://schemas.microsoft.com/office/drawing/2014/main" id="{8D2EB00E-9AE2-B105-A738-1782C3DE961F}"/>
              </a:ext>
            </a:extLst>
          </p:cNvPr>
          <p:cNvSpPr/>
          <p:nvPr/>
        </p:nvSpPr>
        <p:spPr>
          <a:xfrm>
            <a:off x="7645552" y="1509365"/>
            <a:ext cx="811033" cy="81103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A51EC8B5-CB45-CC10-DA38-76F9A72C779D}"/>
              </a:ext>
            </a:extLst>
          </p:cNvPr>
          <p:cNvSpPr/>
          <p:nvPr/>
        </p:nvSpPr>
        <p:spPr>
          <a:xfrm>
            <a:off x="2007719" y="2952730"/>
            <a:ext cx="1645920" cy="1743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0488" indent="-90488">
              <a:spcBef>
                <a:spcPts val="600"/>
              </a:spcBef>
              <a:buFont typeface="Arial" panose="020B0604020202020204" pitchFamily="34" charset="0"/>
              <a:buChar char="•"/>
            </a:pPr>
            <a:r>
              <a:rPr lang="en-GB" sz="900" b="1" dirty="0">
                <a:solidFill>
                  <a:schemeClr val="tx1"/>
                </a:solidFill>
              </a:rPr>
              <a:t>Ensure the implementation of target architecture</a:t>
            </a:r>
            <a:r>
              <a:rPr lang="en-GB" sz="900" dirty="0">
                <a:solidFill>
                  <a:schemeClr val="tx1"/>
                </a:solidFill>
              </a:rPr>
              <a:t>, proven vendor, and resource planning for robust, scalable, and sustainable solutions</a:t>
            </a:r>
          </a:p>
          <a:p>
            <a:pPr marL="90488" indent="-90488">
              <a:spcBef>
                <a:spcPts val="600"/>
              </a:spcBef>
              <a:buFont typeface="Arial" panose="020B0604020202020204" pitchFamily="34" charset="0"/>
              <a:buChar char="•"/>
            </a:pPr>
            <a:r>
              <a:rPr lang="en-GB" sz="900" b="1" dirty="0">
                <a:solidFill>
                  <a:schemeClr val="tx1"/>
                </a:solidFill>
              </a:rPr>
              <a:t>Maintain IT hygiene </a:t>
            </a:r>
            <a:r>
              <a:rPr lang="en-GB" sz="900" dirty="0">
                <a:solidFill>
                  <a:schemeClr val="tx1"/>
                </a:solidFill>
              </a:rPr>
              <a:t>accordingly and ensure business continuity</a:t>
            </a:r>
            <a:endParaRPr lang="en-US" sz="900" dirty="0">
              <a:solidFill>
                <a:schemeClr val="tx1"/>
              </a:solidFill>
            </a:endParaRPr>
          </a:p>
        </p:txBody>
      </p:sp>
      <p:sp>
        <p:nvSpPr>
          <p:cNvPr id="12" name="Text Placeholder 2">
            <a:extLst>
              <a:ext uri="{FF2B5EF4-FFF2-40B4-BE49-F238E27FC236}">
                <a16:creationId xmlns:a16="http://schemas.microsoft.com/office/drawing/2014/main" id="{5AE172F5-1C3E-D93A-BB90-7415E97F96D7}"/>
              </a:ext>
            </a:extLst>
          </p:cNvPr>
          <p:cNvSpPr txBox="1">
            <a:spLocks/>
          </p:cNvSpPr>
          <p:nvPr/>
        </p:nvSpPr>
        <p:spPr>
          <a:xfrm>
            <a:off x="2007719" y="2387072"/>
            <a:ext cx="1645916" cy="498963"/>
          </a:xfrm>
          <a:prstGeom prst="rect">
            <a:avLst/>
          </a:prstGeom>
        </p:spPr>
        <p:txBody>
          <a:bodyPr vert="horz" lIns="111600" tIns="45720" rIns="144000" bIns="45720" rtlCol="0" anchor="ctr">
            <a:noAutofit/>
          </a:bodyPr>
          <a:lstStyle>
            <a:defPPr>
              <a:defRPr lang="sv-SE"/>
            </a:defPPr>
            <a:lvl1pPr marL="3175" indent="-3175" algn="ctr">
              <a:lnSpc>
                <a:spcPct val="100000"/>
              </a:lnSpc>
              <a:spcBef>
                <a:spcPts val="750"/>
              </a:spcBef>
              <a:buFont typeface="Arial" panose="020B0604020202020204" pitchFamily="34" charset="0"/>
              <a:buNone/>
              <a:tabLst/>
              <a:defRPr sz="1050" b="1"/>
            </a:lvl1pPr>
            <a:lvl2pPr marL="358775" indent="-179388">
              <a:lnSpc>
                <a:spcPct val="100000"/>
              </a:lnSpc>
              <a:spcBef>
                <a:spcPts val="375"/>
              </a:spcBef>
              <a:buFont typeface="Arial" panose="020B0604020202020204" pitchFamily="34" charset="0"/>
              <a:buNone/>
              <a:tabLst/>
              <a:defRPr sz="1200"/>
            </a:lvl2pPr>
            <a:lvl3pPr marL="534988" indent="-176213">
              <a:lnSpc>
                <a:spcPct val="100000"/>
              </a:lnSpc>
              <a:spcBef>
                <a:spcPts val="375"/>
              </a:spcBef>
              <a:buFont typeface="Arial" panose="020B0604020202020204" pitchFamily="34" charset="0"/>
              <a:buNone/>
              <a:tabLst/>
              <a:defRPr sz="1200"/>
            </a:lvl3pPr>
            <a:lvl4pPr marL="714375" indent="-179388">
              <a:lnSpc>
                <a:spcPct val="100000"/>
              </a:lnSpc>
              <a:spcBef>
                <a:spcPts val="375"/>
              </a:spcBef>
              <a:buFont typeface="Arial" panose="020B0604020202020204" pitchFamily="34" charset="0"/>
              <a:buNone/>
              <a:tabLst/>
              <a:defRPr sz="1200"/>
            </a:lvl4pPr>
            <a:lvl5pPr marL="889000" indent="-174625">
              <a:lnSpc>
                <a:spcPct val="100000"/>
              </a:lnSpc>
              <a:spcBef>
                <a:spcPts val="375"/>
              </a:spcBef>
              <a:buFont typeface="Arial" panose="020B0604020202020204" pitchFamily="34" charset="0"/>
              <a:buNone/>
              <a:tabLst/>
              <a:defRPr sz="1200"/>
            </a:lvl5pPr>
            <a:lvl6pPr marL="1885950" indent="-171450">
              <a:lnSpc>
                <a:spcPct val="90000"/>
              </a:lnSpc>
              <a:spcBef>
                <a:spcPts val="375"/>
              </a:spcBef>
              <a:buFont typeface="Arial" panose="020B0604020202020204" pitchFamily="34" charset="0"/>
              <a:buChar char="•"/>
            </a:lvl6pPr>
            <a:lvl7pPr marL="2228850" indent="-171450">
              <a:lnSpc>
                <a:spcPct val="90000"/>
              </a:lnSpc>
              <a:spcBef>
                <a:spcPts val="375"/>
              </a:spcBef>
              <a:buFont typeface="Arial" panose="020B0604020202020204" pitchFamily="34" charset="0"/>
              <a:buChar char="•"/>
            </a:lvl7pPr>
            <a:lvl8pPr marL="2571750" indent="-171450">
              <a:lnSpc>
                <a:spcPct val="90000"/>
              </a:lnSpc>
              <a:spcBef>
                <a:spcPts val="375"/>
              </a:spcBef>
              <a:buFont typeface="Arial" panose="020B0604020202020204" pitchFamily="34" charset="0"/>
              <a:buChar char="•"/>
            </a:lvl8pPr>
            <a:lvl9pPr marL="2914650" indent="-171450">
              <a:lnSpc>
                <a:spcPct val="90000"/>
              </a:lnSpc>
              <a:spcBef>
                <a:spcPts val="375"/>
              </a:spcBef>
              <a:buFont typeface="Arial" panose="020B0604020202020204" pitchFamily="34" charset="0"/>
              <a:buChar char="•"/>
            </a:lvl9pPr>
          </a:lstStyle>
          <a:p>
            <a:r>
              <a:rPr lang="en-US"/>
              <a:t>Resilience &amp; cyber security</a:t>
            </a:r>
          </a:p>
        </p:txBody>
      </p:sp>
      <p:sp>
        <p:nvSpPr>
          <p:cNvPr id="37" name="Oval 36">
            <a:extLst>
              <a:ext uri="{FF2B5EF4-FFF2-40B4-BE49-F238E27FC236}">
                <a16:creationId xmlns:a16="http://schemas.microsoft.com/office/drawing/2014/main" id="{3C7EFAD1-B6C6-EED8-B9E1-CFF8B9F12DB8}"/>
              </a:ext>
            </a:extLst>
          </p:cNvPr>
          <p:cNvSpPr/>
          <p:nvPr/>
        </p:nvSpPr>
        <p:spPr>
          <a:xfrm>
            <a:off x="5906016" y="1509365"/>
            <a:ext cx="811033" cy="81103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3AFA8A29-244E-7AF5-2CC7-A0E6A313B7DA}"/>
              </a:ext>
            </a:extLst>
          </p:cNvPr>
          <p:cNvSpPr/>
          <p:nvPr/>
        </p:nvSpPr>
        <p:spPr>
          <a:xfrm>
            <a:off x="2426950" y="1523199"/>
            <a:ext cx="811033" cy="81103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12" descr="List outline">
            <a:extLst>
              <a:ext uri="{FF2B5EF4-FFF2-40B4-BE49-F238E27FC236}">
                <a16:creationId xmlns:a16="http://schemas.microsoft.com/office/drawing/2014/main" id="{A416A542-03C0-1532-08C4-B8EBAE6A52C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082932" y="1686281"/>
            <a:ext cx="457200" cy="457200"/>
          </a:xfrm>
          <a:prstGeom prst="rect">
            <a:avLst/>
          </a:prstGeom>
        </p:spPr>
      </p:pic>
      <p:pic>
        <p:nvPicPr>
          <p:cNvPr id="18" name="Graphic 17" descr="Research outline">
            <a:extLst>
              <a:ext uri="{FF2B5EF4-FFF2-40B4-BE49-F238E27FC236}">
                <a16:creationId xmlns:a16="http://schemas.microsoft.com/office/drawing/2014/main" id="{FABE5CE8-704C-2CF0-9BED-7BE96066FC9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343399" y="1686281"/>
            <a:ext cx="457200" cy="457200"/>
          </a:xfrm>
          <a:prstGeom prst="rect">
            <a:avLst/>
          </a:prstGeom>
        </p:spPr>
      </p:pic>
      <p:pic>
        <p:nvPicPr>
          <p:cNvPr id="20" name="Graphic 19" descr="Circles with arrows outline">
            <a:extLst>
              <a:ext uri="{FF2B5EF4-FFF2-40B4-BE49-F238E27FC236}">
                <a16:creationId xmlns:a16="http://schemas.microsoft.com/office/drawing/2014/main" id="{0FC73B90-99B0-1726-0429-DF9C80CBF35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62545" y="1686281"/>
            <a:ext cx="457200" cy="457200"/>
          </a:xfrm>
          <a:prstGeom prst="rect">
            <a:avLst/>
          </a:prstGeom>
        </p:spPr>
      </p:pic>
      <p:pic>
        <p:nvPicPr>
          <p:cNvPr id="22" name="Graphic 21" descr="Robot outline">
            <a:extLst>
              <a:ext uri="{FF2B5EF4-FFF2-40B4-BE49-F238E27FC236}">
                <a16:creationId xmlns:a16="http://schemas.microsoft.com/office/drawing/2014/main" id="{EB582DA9-42B4-947A-198C-9BF5B43E6C0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822468" y="1686281"/>
            <a:ext cx="457200" cy="457200"/>
          </a:xfrm>
          <a:prstGeom prst="rect">
            <a:avLst/>
          </a:prstGeom>
        </p:spPr>
      </p:pic>
      <p:pic>
        <p:nvPicPr>
          <p:cNvPr id="26" name="Graphic 25" descr="Lock outline">
            <a:extLst>
              <a:ext uri="{FF2B5EF4-FFF2-40B4-BE49-F238E27FC236}">
                <a16:creationId xmlns:a16="http://schemas.microsoft.com/office/drawing/2014/main" id="{FBACAFD8-38EA-F696-1238-B1A96434763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603866" y="1686261"/>
            <a:ext cx="457200" cy="457200"/>
          </a:xfrm>
          <a:prstGeom prst="rect">
            <a:avLst/>
          </a:prstGeom>
        </p:spPr>
      </p:pic>
      <p:sp>
        <p:nvSpPr>
          <p:cNvPr id="41" name="TextBox 40">
            <a:extLst>
              <a:ext uri="{FF2B5EF4-FFF2-40B4-BE49-F238E27FC236}">
                <a16:creationId xmlns:a16="http://schemas.microsoft.com/office/drawing/2014/main" id="{4BD14E38-ED48-A41C-043A-9C68A55BECD0}"/>
              </a:ext>
            </a:extLst>
          </p:cNvPr>
          <p:cNvSpPr txBox="1"/>
          <p:nvPr/>
        </p:nvSpPr>
        <p:spPr>
          <a:xfrm>
            <a:off x="6960338" y="4884156"/>
            <a:ext cx="1909916" cy="192811"/>
          </a:xfrm>
          <a:prstGeom prst="rect">
            <a:avLst/>
          </a:prstGeom>
          <a:noFill/>
        </p:spPr>
        <p:txBody>
          <a:bodyPr wrap="none" rtlCol="0">
            <a:noAutofit/>
          </a:bodyPr>
          <a:lstStyle/>
          <a:p>
            <a:pPr algn="l"/>
            <a:r>
              <a:rPr lang="sv-SE" sz="700"/>
              <a:t>1) </a:t>
            </a:r>
            <a:r>
              <a:rPr lang="sv-SE" sz="700" err="1"/>
              <a:t>According</a:t>
            </a:r>
            <a:r>
              <a:rPr lang="sv-SE" sz="700"/>
              <a:t> to </a:t>
            </a:r>
            <a:r>
              <a:rPr lang="sv-SE" sz="700" err="1"/>
              <a:t>unbundling</a:t>
            </a:r>
            <a:r>
              <a:rPr lang="sv-SE" sz="700"/>
              <a:t> </a:t>
            </a:r>
            <a:r>
              <a:rPr lang="sv-SE" sz="700" err="1"/>
              <a:t>regulations</a:t>
            </a:r>
            <a:endParaRPr lang="en-DE" sz="700"/>
          </a:p>
        </p:txBody>
      </p:sp>
      <p:sp>
        <p:nvSpPr>
          <p:cNvPr id="14" name="Text Placeholder 13">
            <a:extLst>
              <a:ext uri="{FF2B5EF4-FFF2-40B4-BE49-F238E27FC236}">
                <a16:creationId xmlns:a16="http://schemas.microsoft.com/office/drawing/2014/main" id="{A21D320F-0555-AAB9-A589-E2B042ACC5FD}"/>
              </a:ext>
            </a:extLst>
          </p:cNvPr>
          <p:cNvSpPr>
            <a:spLocks noGrp="1"/>
          </p:cNvSpPr>
          <p:nvPr>
            <p:ph type="body" sz="quarter" idx="14"/>
          </p:nvPr>
        </p:nvSpPr>
        <p:spPr/>
        <p:txBody>
          <a:bodyPr/>
          <a:lstStyle/>
          <a:p>
            <a:r>
              <a:rPr lang="en-US" dirty="0"/>
              <a:t>Coordination for </a:t>
            </a:r>
            <a:r>
              <a:rPr lang="en-US"/>
              <a:t>IT as an enabler</a:t>
            </a:r>
          </a:p>
        </p:txBody>
      </p:sp>
      <p:sp>
        <p:nvSpPr>
          <p:cNvPr id="3" name="Slide Number Placeholder 2">
            <a:extLst>
              <a:ext uri="{FF2B5EF4-FFF2-40B4-BE49-F238E27FC236}">
                <a16:creationId xmlns:a16="http://schemas.microsoft.com/office/drawing/2014/main" id="{D2B7803B-A245-CFDE-F9CF-29C835430910}"/>
              </a:ext>
            </a:extLst>
          </p:cNvPr>
          <p:cNvSpPr>
            <a:spLocks noGrp="1"/>
          </p:cNvSpPr>
          <p:nvPr>
            <p:ph type="sldNum" sz="quarter" idx="4"/>
          </p:nvPr>
        </p:nvSpPr>
        <p:spPr/>
        <p:txBody>
          <a:bodyPr/>
          <a:lstStyle/>
          <a:p>
            <a:fld id="{17CD396C-6A52-4D5A-BAE3-92A1CC3BBDE0}" type="slidenum">
              <a:rPr lang="en-GB" noProof="0" smtClean="0"/>
              <a:pPr/>
              <a:t>4</a:t>
            </a:fld>
            <a:endParaRPr lang="en-US"/>
          </a:p>
        </p:txBody>
      </p:sp>
    </p:spTree>
    <p:extLst>
      <p:ext uri="{BB962C8B-B14F-4D97-AF65-F5344CB8AC3E}">
        <p14:creationId xmlns:p14="http://schemas.microsoft.com/office/powerpoint/2010/main" val="41482430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3C63480-B49A-5B41-0B5C-5B8AA97935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think-cell data - do not delete" hidden="1">
                        <a:extLst>
                          <a:ext uri="{FF2B5EF4-FFF2-40B4-BE49-F238E27FC236}">
                            <a16:creationId xmlns:a16="http://schemas.microsoft.com/office/drawing/2014/main" id="{83C63480-B49A-5B41-0B5C-5B8AA97935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F8BE606-B05E-C5AE-DD8A-F344D22C518C}"/>
              </a:ext>
            </a:extLst>
          </p:cNvPr>
          <p:cNvSpPr>
            <a:spLocks noGrp="1"/>
          </p:cNvSpPr>
          <p:nvPr>
            <p:ph type="title"/>
          </p:nvPr>
        </p:nvSpPr>
        <p:spPr>
          <a:xfrm>
            <a:off x="323847" y="525600"/>
            <a:ext cx="8496303" cy="842024"/>
          </a:xfrm>
        </p:spPr>
        <p:txBody>
          <a:bodyPr vert="horz" lIns="91440" tIns="45720" rIns="144000" bIns="45720" rtlCol="0" anchor="t">
            <a:noAutofit/>
          </a:bodyPr>
          <a:lstStyle/>
          <a:p>
            <a:r>
              <a:rPr lang="en-US" sz="2100" dirty="0"/>
              <a:t>HOW: Acting in a more coordinated and aligned way for cost management – 5 key areas</a:t>
            </a:r>
          </a:p>
        </p:txBody>
      </p:sp>
      <p:sp>
        <p:nvSpPr>
          <p:cNvPr id="39" name="Rectangle 38">
            <a:extLst>
              <a:ext uri="{FF2B5EF4-FFF2-40B4-BE49-F238E27FC236}">
                <a16:creationId xmlns:a16="http://schemas.microsoft.com/office/drawing/2014/main" id="{0B867AA1-5D1D-59D9-ED94-22661B07F85C}"/>
              </a:ext>
            </a:extLst>
          </p:cNvPr>
          <p:cNvSpPr/>
          <p:nvPr/>
        </p:nvSpPr>
        <p:spPr>
          <a:xfrm>
            <a:off x="3749041" y="2952730"/>
            <a:ext cx="1645920" cy="1743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0488" indent="-90488">
              <a:spcBef>
                <a:spcPts val="600"/>
              </a:spcBef>
              <a:buFont typeface="Arial" panose="020B0604020202020204" pitchFamily="34" charset="0"/>
              <a:buChar char="•"/>
            </a:pPr>
            <a:r>
              <a:rPr lang="en-US" sz="900" b="1">
                <a:solidFill>
                  <a:schemeClr val="tx1"/>
                </a:solidFill>
              </a:rPr>
              <a:t>Ensure strengthened awareness of cost of services delivered </a:t>
            </a:r>
          </a:p>
          <a:p>
            <a:pPr marL="90488" indent="-90488">
              <a:spcBef>
                <a:spcPts val="600"/>
              </a:spcBef>
              <a:buFont typeface="Arial" panose="020B0604020202020204" pitchFamily="34" charset="0"/>
              <a:buChar char="•"/>
            </a:pPr>
            <a:r>
              <a:rPr lang="en-US" sz="900" b="1">
                <a:solidFill>
                  <a:schemeClr val="tx1"/>
                </a:solidFill>
              </a:rPr>
              <a:t>Continuous optimization of volume </a:t>
            </a:r>
            <a:r>
              <a:rPr lang="en-US" sz="900">
                <a:solidFill>
                  <a:schemeClr val="tx1"/>
                </a:solidFill>
              </a:rPr>
              <a:t>(like cloud consumption, software license)</a:t>
            </a:r>
          </a:p>
          <a:p>
            <a:pPr marL="90488" indent="-90488">
              <a:spcBef>
                <a:spcPts val="600"/>
              </a:spcBef>
              <a:buFont typeface="Arial" panose="020B0604020202020204" pitchFamily="34" charset="0"/>
              <a:buChar char="•"/>
            </a:pPr>
            <a:r>
              <a:rPr lang="en-GB" sz="900">
                <a:solidFill>
                  <a:schemeClr val="tx1"/>
                </a:solidFill>
              </a:rPr>
              <a:t>Always utilize the attitude “if it would be your own" to ensure personal responsibility &amp; ownership</a:t>
            </a:r>
          </a:p>
        </p:txBody>
      </p:sp>
      <p:sp>
        <p:nvSpPr>
          <p:cNvPr id="40" name="Rectangle 39">
            <a:extLst>
              <a:ext uri="{FF2B5EF4-FFF2-40B4-BE49-F238E27FC236}">
                <a16:creationId xmlns:a16="http://schemas.microsoft.com/office/drawing/2014/main" id="{8E7FC8A9-742F-85BA-9B6A-1CF01773A2A0}"/>
              </a:ext>
            </a:extLst>
          </p:cNvPr>
          <p:cNvSpPr/>
          <p:nvPr/>
        </p:nvSpPr>
        <p:spPr>
          <a:xfrm>
            <a:off x="5488575" y="2952730"/>
            <a:ext cx="1645920" cy="1743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87313" indent="-87313">
              <a:spcBef>
                <a:spcPts val="200"/>
              </a:spcBef>
              <a:buFont typeface="Arial" panose="020B0604020202020204" pitchFamily="34" charset="0"/>
              <a:buChar char="•"/>
              <a:tabLst>
                <a:tab pos="87313" algn="l"/>
              </a:tabLst>
            </a:pPr>
            <a:r>
              <a:rPr lang="en-GB" sz="900" b="1" dirty="0">
                <a:solidFill>
                  <a:schemeClr val="tx1"/>
                </a:solidFill>
              </a:rPr>
              <a:t>Ensure project readiness incl. requirement management, </a:t>
            </a:r>
            <a:r>
              <a:rPr lang="en-GB" sz="900" dirty="0">
                <a:solidFill>
                  <a:schemeClr val="tx1"/>
                </a:solidFill>
              </a:rPr>
              <a:t>verified information classification</a:t>
            </a:r>
          </a:p>
          <a:p>
            <a:pPr marL="87313" indent="-87313">
              <a:spcBef>
                <a:spcPts val="200"/>
              </a:spcBef>
              <a:buFont typeface="Arial" panose="020B0604020202020204" pitchFamily="34" charset="0"/>
              <a:buChar char="•"/>
              <a:tabLst>
                <a:tab pos="87313" algn="l"/>
              </a:tabLst>
            </a:pPr>
            <a:r>
              <a:rPr lang="en-GB" sz="900" b="1" dirty="0">
                <a:solidFill>
                  <a:schemeClr val="tx1"/>
                </a:solidFill>
              </a:rPr>
              <a:t>Change management</a:t>
            </a:r>
          </a:p>
          <a:p>
            <a:pPr marL="87313" indent="-87313">
              <a:spcBef>
                <a:spcPts val="200"/>
              </a:spcBef>
              <a:buFont typeface="Arial" panose="020B0604020202020204" pitchFamily="34" charset="0"/>
              <a:buChar char="•"/>
              <a:tabLst>
                <a:tab pos="87313" algn="l"/>
              </a:tabLst>
            </a:pPr>
            <a:r>
              <a:rPr lang="en-GB" sz="900" b="1" dirty="0">
                <a:solidFill>
                  <a:schemeClr val="tx1"/>
                </a:solidFill>
              </a:rPr>
              <a:t>Ownership of stakeholders</a:t>
            </a:r>
          </a:p>
          <a:p>
            <a:pPr marL="87313" indent="-87313">
              <a:spcBef>
                <a:spcPts val="200"/>
              </a:spcBef>
              <a:buFont typeface="Arial" panose="020B0604020202020204" pitchFamily="34" charset="0"/>
              <a:buChar char="•"/>
              <a:tabLst>
                <a:tab pos="87313" algn="l"/>
              </a:tabLst>
            </a:pPr>
            <a:r>
              <a:rPr lang="en-GB" sz="900" b="1" dirty="0">
                <a:solidFill>
                  <a:schemeClr val="tx1"/>
                </a:solidFill>
              </a:rPr>
              <a:t>Resource availability</a:t>
            </a:r>
          </a:p>
          <a:p>
            <a:pPr marL="87313" indent="-87313">
              <a:spcBef>
                <a:spcPts val="200"/>
              </a:spcBef>
              <a:buFont typeface="Arial" panose="020B0604020202020204" pitchFamily="34" charset="0"/>
              <a:buChar char="•"/>
              <a:tabLst>
                <a:tab pos="87313" algn="l"/>
              </a:tabLst>
            </a:pPr>
            <a:r>
              <a:rPr lang="en-GB" sz="900" b="1" dirty="0">
                <a:solidFill>
                  <a:schemeClr val="tx1"/>
                </a:solidFill>
              </a:rPr>
              <a:t>Proven value creation </a:t>
            </a:r>
            <a:r>
              <a:rPr lang="en-GB" sz="900" dirty="0">
                <a:solidFill>
                  <a:schemeClr val="tx1"/>
                </a:solidFill>
              </a:rPr>
              <a:t>through use of efficiency KPIs </a:t>
            </a:r>
          </a:p>
        </p:txBody>
      </p:sp>
      <p:sp>
        <p:nvSpPr>
          <p:cNvPr id="45" name="Rectangle 44">
            <a:extLst>
              <a:ext uri="{FF2B5EF4-FFF2-40B4-BE49-F238E27FC236}">
                <a16:creationId xmlns:a16="http://schemas.microsoft.com/office/drawing/2014/main" id="{B4DAD307-0DCC-5C05-8A7F-D11818357002}"/>
              </a:ext>
            </a:extLst>
          </p:cNvPr>
          <p:cNvSpPr/>
          <p:nvPr/>
        </p:nvSpPr>
        <p:spPr>
          <a:xfrm>
            <a:off x="269973" y="2952750"/>
            <a:ext cx="1645920" cy="1743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0488" indent="-90488">
              <a:spcBef>
                <a:spcPts val="600"/>
              </a:spcBef>
              <a:buFont typeface="Arial" panose="020B0604020202020204" pitchFamily="34" charset="0"/>
              <a:buChar char="•"/>
            </a:pPr>
            <a:r>
              <a:rPr lang="en-US" sz="900" b="1" dirty="0">
                <a:solidFill>
                  <a:schemeClr val="tx1"/>
                </a:solidFill>
              </a:rPr>
              <a:t>Consolidate towards and utilize Group platforms</a:t>
            </a:r>
          </a:p>
          <a:p>
            <a:pPr marL="90488" indent="-90488">
              <a:spcBef>
                <a:spcPts val="600"/>
              </a:spcBef>
              <a:buFont typeface="Arial" panose="020B0604020202020204" pitchFamily="34" charset="0"/>
              <a:buChar char="•"/>
            </a:pPr>
            <a:r>
              <a:rPr lang="en-US" sz="900" b="1" dirty="0">
                <a:solidFill>
                  <a:schemeClr val="tx1"/>
                </a:solidFill>
              </a:rPr>
              <a:t>New IT solution selected according to decided target architecture </a:t>
            </a:r>
            <a:r>
              <a:rPr lang="en-US" sz="900" dirty="0">
                <a:solidFill>
                  <a:schemeClr val="tx1"/>
                </a:solidFill>
              </a:rPr>
              <a:t>and in coordination with VIT</a:t>
            </a:r>
          </a:p>
          <a:p>
            <a:pPr marL="90488" indent="-90488">
              <a:spcBef>
                <a:spcPts val="600"/>
              </a:spcBef>
              <a:buFont typeface="Arial" panose="020B0604020202020204" pitchFamily="34" charset="0"/>
              <a:buChar char="•"/>
            </a:pPr>
            <a:r>
              <a:rPr lang="en-US" sz="900" b="1" dirty="0">
                <a:solidFill>
                  <a:schemeClr val="tx1"/>
                </a:solidFill>
              </a:rPr>
              <a:t>Actively consolidate and simplify applications</a:t>
            </a:r>
          </a:p>
        </p:txBody>
      </p:sp>
      <p:sp>
        <p:nvSpPr>
          <p:cNvPr id="46" name="Rectangle 45">
            <a:extLst>
              <a:ext uri="{FF2B5EF4-FFF2-40B4-BE49-F238E27FC236}">
                <a16:creationId xmlns:a16="http://schemas.microsoft.com/office/drawing/2014/main" id="{ACE8275B-CB27-BC21-8633-2A4534116AD7}"/>
              </a:ext>
            </a:extLst>
          </p:cNvPr>
          <p:cNvSpPr/>
          <p:nvPr/>
        </p:nvSpPr>
        <p:spPr>
          <a:xfrm>
            <a:off x="2009507" y="2952750"/>
            <a:ext cx="1645920" cy="1743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0488" indent="-90488">
              <a:spcBef>
                <a:spcPts val="600"/>
              </a:spcBef>
              <a:buFont typeface="Arial" panose="020B0604020202020204" pitchFamily="34" charset="0"/>
              <a:buChar char="•"/>
            </a:pPr>
            <a:r>
              <a:rPr lang="en-GB" sz="900" b="1" dirty="0">
                <a:solidFill>
                  <a:schemeClr val="tx1"/>
                </a:solidFill>
              </a:rPr>
              <a:t>Define a sourcing strategy </a:t>
            </a:r>
            <a:r>
              <a:rPr lang="en-GB" sz="900" dirty="0">
                <a:solidFill>
                  <a:schemeClr val="tx1"/>
                </a:solidFill>
              </a:rPr>
              <a:t>in collaboration with VIT and Procurement</a:t>
            </a:r>
          </a:p>
          <a:p>
            <a:pPr marL="90488" indent="-90488">
              <a:spcBef>
                <a:spcPts val="600"/>
              </a:spcBef>
              <a:buFont typeface="Arial" panose="020B0604020202020204" pitchFamily="34" charset="0"/>
              <a:buChar char="•"/>
            </a:pPr>
            <a:r>
              <a:rPr lang="en-GB" sz="900" b="1" dirty="0">
                <a:solidFill>
                  <a:schemeClr val="tx1"/>
                </a:solidFill>
              </a:rPr>
              <a:t>Optimize sourcing </a:t>
            </a:r>
            <a:r>
              <a:rPr lang="en-GB" sz="900" dirty="0">
                <a:solidFill>
                  <a:schemeClr val="tx1"/>
                </a:solidFill>
              </a:rPr>
              <a:t>based on a 3-year roadmap</a:t>
            </a:r>
          </a:p>
          <a:p>
            <a:pPr marL="90488" indent="-90488">
              <a:spcBef>
                <a:spcPts val="600"/>
              </a:spcBef>
              <a:buFont typeface="Arial" panose="020B0604020202020204" pitchFamily="34" charset="0"/>
              <a:buChar char="•"/>
            </a:pPr>
            <a:r>
              <a:rPr lang="en-GB" sz="900" b="1" dirty="0">
                <a:solidFill>
                  <a:schemeClr val="tx1"/>
                </a:solidFill>
              </a:rPr>
              <a:t>Centralize sourcing of IT resources </a:t>
            </a:r>
            <a:r>
              <a:rPr lang="en-GB" sz="900" dirty="0">
                <a:solidFill>
                  <a:schemeClr val="tx1"/>
                </a:solidFill>
              </a:rPr>
              <a:t>to leverage economic scale, for example, by utilizing Polish resources</a:t>
            </a:r>
            <a:endParaRPr lang="en-US" sz="900" dirty="0">
              <a:solidFill>
                <a:schemeClr val="tx1"/>
              </a:solidFill>
            </a:endParaRPr>
          </a:p>
        </p:txBody>
      </p:sp>
      <p:sp>
        <p:nvSpPr>
          <p:cNvPr id="5" name="Text Placeholder 2">
            <a:extLst>
              <a:ext uri="{FF2B5EF4-FFF2-40B4-BE49-F238E27FC236}">
                <a16:creationId xmlns:a16="http://schemas.microsoft.com/office/drawing/2014/main" id="{7AAB56CD-FABC-D2FC-A1AC-05C310D2D5DE}"/>
              </a:ext>
            </a:extLst>
          </p:cNvPr>
          <p:cNvSpPr txBox="1">
            <a:spLocks/>
          </p:cNvSpPr>
          <p:nvPr/>
        </p:nvSpPr>
        <p:spPr>
          <a:xfrm>
            <a:off x="268186" y="2387092"/>
            <a:ext cx="1645920" cy="498963"/>
          </a:xfrm>
          <a:prstGeom prst="rect">
            <a:avLst/>
          </a:prstGeom>
        </p:spPr>
        <p:txBody>
          <a:bodyPr vert="horz" lIns="111600" tIns="45720" rIns="144000" bIns="45720" rtlCol="0" anchor="ctr">
            <a:noAutofit/>
          </a:bodyPr>
          <a:lstStyle>
            <a:lvl1pPr marL="3175" indent="-3175" algn="l" defTabSz="685800" rtl="0" eaLnBrk="1" latinLnBrk="0" hangingPunct="1">
              <a:lnSpc>
                <a:spcPct val="100000"/>
              </a:lnSpc>
              <a:spcBef>
                <a:spcPts val="750"/>
              </a:spcBef>
              <a:buFont typeface="Arial" panose="020B0604020202020204" pitchFamily="34" charset="0"/>
              <a:buNone/>
              <a:tabLst/>
              <a:defRPr sz="1200" b="1" kern="1200">
                <a:solidFill>
                  <a:schemeClr val="tx1"/>
                </a:solidFill>
                <a:latin typeface="+mn-lt"/>
                <a:ea typeface="+mn-ea"/>
                <a:cs typeface="+mn-cs"/>
              </a:defRPr>
            </a:lvl1pPr>
            <a:lvl2pPr marL="358775" indent="-179388"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2pPr>
            <a:lvl3pPr marL="534988" indent="-176213"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3pPr>
            <a:lvl4pPr marL="714375" indent="-179388"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4pPr>
            <a:lvl5pPr marL="889000" indent="-174625"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sz="1050" dirty="0"/>
              <a:t>Application consolidation &amp;</a:t>
            </a:r>
            <a:br>
              <a:rPr lang="en-US" sz="1050" dirty="0"/>
            </a:br>
            <a:r>
              <a:rPr lang="en-US" sz="1050" dirty="0"/>
              <a:t>platform utilization</a:t>
            </a:r>
          </a:p>
        </p:txBody>
      </p:sp>
      <p:sp>
        <p:nvSpPr>
          <p:cNvPr id="6" name="Text Placeholder 2">
            <a:extLst>
              <a:ext uri="{FF2B5EF4-FFF2-40B4-BE49-F238E27FC236}">
                <a16:creationId xmlns:a16="http://schemas.microsoft.com/office/drawing/2014/main" id="{2216D0F3-009D-D710-FC7A-8836ECCD6A76}"/>
              </a:ext>
            </a:extLst>
          </p:cNvPr>
          <p:cNvSpPr txBox="1">
            <a:spLocks/>
          </p:cNvSpPr>
          <p:nvPr/>
        </p:nvSpPr>
        <p:spPr>
          <a:xfrm>
            <a:off x="2009508" y="2387092"/>
            <a:ext cx="1645919" cy="498963"/>
          </a:xfrm>
          <a:prstGeom prst="rect">
            <a:avLst/>
          </a:prstGeom>
        </p:spPr>
        <p:txBody>
          <a:bodyPr vert="horz" lIns="111600" tIns="45720" rIns="144000" bIns="45720" rtlCol="0" anchor="ctr">
            <a:noAutofit/>
          </a:bodyPr>
          <a:lstStyle>
            <a:lvl1pPr marL="3175" indent="-3175" algn="l" defTabSz="685800" rtl="0" eaLnBrk="1" latinLnBrk="0" hangingPunct="1">
              <a:lnSpc>
                <a:spcPct val="100000"/>
              </a:lnSpc>
              <a:spcBef>
                <a:spcPts val="750"/>
              </a:spcBef>
              <a:buFont typeface="Arial" panose="020B0604020202020204" pitchFamily="34" charset="0"/>
              <a:buNone/>
              <a:tabLst/>
              <a:defRPr sz="1200" b="1" kern="1200">
                <a:solidFill>
                  <a:schemeClr val="tx1"/>
                </a:solidFill>
                <a:latin typeface="+mn-lt"/>
                <a:ea typeface="+mn-ea"/>
                <a:cs typeface="+mn-cs"/>
              </a:defRPr>
            </a:lvl1pPr>
            <a:lvl2pPr marL="358775" indent="-179388"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2pPr>
            <a:lvl3pPr marL="534988" indent="-176213"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3pPr>
            <a:lvl4pPr marL="714375" indent="-179388"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4pPr>
            <a:lvl5pPr marL="889000" indent="-174625"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sz="1050"/>
              <a:t>Sourcing strategy</a:t>
            </a:r>
          </a:p>
        </p:txBody>
      </p:sp>
      <p:sp>
        <p:nvSpPr>
          <p:cNvPr id="7" name="Text Placeholder 2">
            <a:extLst>
              <a:ext uri="{FF2B5EF4-FFF2-40B4-BE49-F238E27FC236}">
                <a16:creationId xmlns:a16="http://schemas.microsoft.com/office/drawing/2014/main" id="{D0BDADE3-43E7-18F1-6018-DDCC2831669E}"/>
              </a:ext>
            </a:extLst>
          </p:cNvPr>
          <p:cNvSpPr txBox="1">
            <a:spLocks/>
          </p:cNvSpPr>
          <p:nvPr/>
        </p:nvSpPr>
        <p:spPr>
          <a:xfrm>
            <a:off x="3749042" y="2387092"/>
            <a:ext cx="1645920" cy="498963"/>
          </a:xfrm>
          <a:prstGeom prst="rect">
            <a:avLst/>
          </a:prstGeom>
        </p:spPr>
        <p:txBody>
          <a:bodyPr vert="horz" lIns="111600" tIns="45720" rIns="144000" bIns="45720" rtlCol="0" anchor="ctr">
            <a:noAutofit/>
          </a:bodyPr>
          <a:lstStyle>
            <a:lvl1pPr marL="3175" indent="-3175" algn="l" defTabSz="685800" rtl="0" eaLnBrk="1" latinLnBrk="0" hangingPunct="1">
              <a:lnSpc>
                <a:spcPct val="100000"/>
              </a:lnSpc>
              <a:spcBef>
                <a:spcPts val="750"/>
              </a:spcBef>
              <a:buFont typeface="Arial" panose="020B0604020202020204" pitchFamily="34" charset="0"/>
              <a:buNone/>
              <a:tabLst/>
              <a:defRPr sz="1200" b="1" kern="1200">
                <a:solidFill>
                  <a:schemeClr val="tx1"/>
                </a:solidFill>
                <a:latin typeface="+mn-lt"/>
                <a:ea typeface="+mn-ea"/>
                <a:cs typeface="+mn-cs"/>
              </a:defRPr>
            </a:lvl1pPr>
            <a:lvl2pPr marL="358775" indent="-179388"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2pPr>
            <a:lvl3pPr marL="534988" indent="-176213"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3pPr>
            <a:lvl4pPr marL="714375" indent="-179388"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4pPr>
            <a:lvl5pPr marL="889000" indent="-174625"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sz="1050" dirty="0"/>
              <a:t>Cost-consciousness</a:t>
            </a:r>
          </a:p>
        </p:txBody>
      </p:sp>
      <p:sp>
        <p:nvSpPr>
          <p:cNvPr id="8" name="Text Placeholder 2">
            <a:extLst>
              <a:ext uri="{FF2B5EF4-FFF2-40B4-BE49-F238E27FC236}">
                <a16:creationId xmlns:a16="http://schemas.microsoft.com/office/drawing/2014/main" id="{5553B788-CBBD-4F54-3FC4-745C9E07594C}"/>
              </a:ext>
            </a:extLst>
          </p:cNvPr>
          <p:cNvSpPr txBox="1">
            <a:spLocks/>
          </p:cNvSpPr>
          <p:nvPr/>
        </p:nvSpPr>
        <p:spPr>
          <a:xfrm>
            <a:off x="5488576" y="2387092"/>
            <a:ext cx="1645916" cy="498963"/>
          </a:xfrm>
          <a:prstGeom prst="rect">
            <a:avLst/>
          </a:prstGeom>
        </p:spPr>
        <p:txBody>
          <a:bodyPr vert="horz" lIns="111600" tIns="45720" rIns="144000" bIns="45720" rtlCol="0" anchor="ctr">
            <a:noAutofit/>
          </a:bodyPr>
          <a:lstStyle>
            <a:lvl1pPr marL="3175" indent="-3175" algn="l" defTabSz="685800" rtl="0" eaLnBrk="1" latinLnBrk="0" hangingPunct="1">
              <a:lnSpc>
                <a:spcPct val="100000"/>
              </a:lnSpc>
              <a:spcBef>
                <a:spcPts val="750"/>
              </a:spcBef>
              <a:buFont typeface="Arial" panose="020B0604020202020204" pitchFamily="34" charset="0"/>
              <a:buNone/>
              <a:tabLst/>
              <a:defRPr sz="1200" b="1" kern="1200">
                <a:solidFill>
                  <a:schemeClr val="tx1"/>
                </a:solidFill>
                <a:latin typeface="+mn-lt"/>
                <a:ea typeface="+mn-ea"/>
                <a:cs typeface="+mn-cs"/>
              </a:defRPr>
            </a:lvl1pPr>
            <a:lvl2pPr marL="358775" indent="-179388"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2pPr>
            <a:lvl3pPr marL="534988" indent="-176213"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3pPr>
            <a:lvl4pPr marL="714375" indent="-179388"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4pPr>
            <a:lvl5pPr marL="889000" indent="-174625"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sz="1050" dirty="0"/>
              <a:t>Project execution / Ensure value capture </a:t>
            </a:r>
          </a:p>
        </p:txBody>
      </p:sp>
      <p:grpSp>
        <p:nvGrpSpPr>
          <p:cNvPr id="21" name="Group 20">
            <a:extLst>
              <a:ext uri="{FF2B5EF4-FFF2-40B4-BE49-F238E27FC236}">
                <a16:creationId xmlns:a16="http://schemas.microsoft.com/office/drawing/2014/main" id="{EBA67783-9E7E-A9FD-B3FF-0A57B28ECBB6}"/>
              </a:ext>
            </a:extLst>
          </p:cNvPr>
          <p:cNvGrpSpPr/>
          <p:nvPr/>
        </p:nvGrpSpPr>
        <p:grpSpPr>
          <a:xfrm>
            <a:off x="685629" y="1509365"/>
            <a:ext cx="811033" cy="811033"/>
            <a:chOff x="1039634" y="1583329"/>
            <a:chExt cx="811033" cy="811033"/>
          </a:xfrm>
          <a:solidFill>
            <a:srgbClr val="1E324F"/>
          </a:solidFill>
        </p:grpSpPr>
        <p:sp>
          <p:nvSpPr>
            <p:cNvPr id="42" name="Oval 41">
              <a:extLst>
                <a:ext uri="{FF2B5EF4-FFF2-40B4-BE49-F238E27FC236}">
                  <a16:creationId xmlns:a16="http://schemas.microsoft.com/office/drawing/2014/main" id="{854733C3-0C2D-CA1A-E240-BCC3575F4FBF}"/>
                </a:ext>
              </a:extLst>
            </p:cNvPr>
            <p:cNvSpPr/>
            <p:nvPr/>
          </p:nvSpPr>
          <p:spPr>
            <a:xfrm>
              <a:off x="1039634" y="1583329"/>
              <a:ext cx="811033" cy="81103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Graphic 14" descr="Bar graph with downward trend outline">
              <a:extLst>
                <a:ext uri="{FF2B5EF4-FFF2-40B4-BE49-F238E27FC236}">
                  <a16:creationId xmlns:a16="http://schemas.microsoft.com/office/drawing/2014/main" id="{373F83BE-0683-FD1B-3E30-C61847F2B25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16550" y="1760245"/>
              <a:ext cx="457200" cy="457200"/>
            </a:xfrm>
            <a:prstGeom prst="rect">
              <a:avLst/>
            </a:prstGeom>
          </p:spPr>
        </p:pic>
      </p:grpSp>
      <p:grpSp>
        <p:nvGrpSpPr>
          <p:cNvPr id="23" name="Group 22">
            <a:extLst>
              <a:ext uri="{FF2B5EF4-FFF2-40B4-BE49-F238E27FC236}">
                <a16:creationId xmlns:a16="http://schemas.microsoft.com/office/drawing/2014/main" id="{8D348C89-D0A6-F99C-6B0F-0AE352A5499E}"/>
              </a:ext>
            </a:extLst>
          </p:cNvPr>
          <p:cNvGrpSpPr/>
          <p:nvPr/>
        </p:nvGrpSpPr>
        <p:grpSpPr>
          <a:xfrm>
            <a:off x="2426950" y="1509365"/>
            <a:ext cx="811033" cy="811033"/>
            <a:chOff x="3123448" y="1583329"/>
            <a:chExt cx="811033" cy="811033"/>
          </a:xfrm>
          <a:solidFill>
            <a:srgbClr val="1E324F"/>
          </a:solidFill>
        </p:grpSpPr>
        <p:sp>
          <p:nvSpPr>
            <p:cNvPr id="43" name="Oval 42">
              <a:extLst>
                <a:ext uri="{FF2B5EF4-FFF2-40B4-BE49-F238E27FC236}">
                  <a16:creationId xmlns:a16="http://schemas.microsoft.com/office/drawing/2014/main" id="{1678DAC0-68A0-840B-5033-C44F82D5851B}"/>
                </a:ext>
              </a:extLst>
            </p:cNvPr>
            <p:cNvSpPr/>
            <p:nvPr/>
          </p:nvSpPr>
          <p:spPr>
            <a:xfrm>
              <a:off x="3123448" y="1583329"/>
              <a:ext cx="811033" cy="81103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Graphic 16" descr="Group brainstorm outline">
              <a:extLst>
                <a:ext uri="{FF2B5EF4-FFF2-40B4-BE49-F238E27FC236}">
                  <a16:creationId xmlns:a16="http://schemas.microsoft.com/office/drawing/2014/main" id="{357E331B-2CD0-EAE9-B621-FC2ACC84807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300364" y="1760245"/>
              <a:ext cx="457200" cy="457200"/>
            </a:xfrm>
            <a:prstGeom prst="rect">
              <a:avLst/>
            </a:prstGeom>
          </p:spPr>
        </p:pic>
      </p:grpSp>
      <p:grpSp>
        <p:nvGrpSpPr>
          <p:cNvPr id="24" name="Group 23">
            <a:extLst>
              <a:ext uri="{FF2B5EF4-FFF2-40B4-BE49-F238E27FC236}">
                <a16:creationId xmlns:a16="http://schemas.microsoft.com/office/drawing/2014/main" id="{C57B51CE-C554-A0E0-6437-B22AB0141947}"/>
              </a:ext>
            </a:extLst>
          </p:cNvPr>
          <p:cNvGrpSpPr/>
          <p:nvPr/>
        </p:nvGrpSpPr>
        <p:grpSpPr>
          <a:xfrm>
            <a:off x="5906019" y="1509365"/>
            <a:ext cx="811033" cy="811033"/>
            <a:chOff x="5208392" y="1583329"/>
            <a:chExt cx="811033" cy="811033"/>
          </a:xfrm>
          <a:solidFill>
            <a:srgbClr val="1E324F"/>
          </a:solidFill>
        </p:grpSpPr>
        <p:sp>
          <p:nvSpPr>
            <p:cNvPr id="36" name="Oval 35">
              <a:extLst>
                <a:ext uri="{FF2B5EF4-FFF2-40B4-BE49-F238E27FC236}">
                  <a16:creationId xmlns:a16="http://schemas.microsoft.com/office/drawing/2014/main" id="{8D2EB00E-9AE2-B105-A738-1782C3DE961F}"/>
                </a:ext>
              </a:extLst>
            </p:cNvPr>
            <p:cNvSpPr/>
            <p:nvPr/>
          </p:nvSpPr>
          <p:spPr>
            <a:xfrm>
              <a:off x="5208392" y="1583329"/>
              <a:ext cx="811033" cy="81103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descr="Priorities outline">
              <a:extLst>
                <a:ext uri="{FF2B5EF4-FFF2-40B4-BE49-F238E27FC236}">
                  <a16:creationId xmlns:a16="http://schemas.microsoft.com/office/drawing/2014/main" id="{F3238610-C346-E81C-FB35-3332F82822C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385308" y="1760245"/>
              <a:ext cx="457200" cy="457200"/>
            </a:xfrm>
            <a:prstGeom prst="rect">
              <a:avLst/>
            </a:prstGeom>
          </p:spPr>
        </p:pic>
      </p:grpSp>
      <p:sp>
        <p:nvSpPr>
          <p:cNvPr id="11" name="Rectangle 10">
            <a:extLst>
              <a:ext uri="{FF2B5EF4-FFF2-40B4-BE49-F238E27FC236}">
                <a16:creationId xmlns:a16="http://schemas.microsoft.com/office/drawing/2014/main" id="{A51EC8B5-CB45-CC10-DA38-76F9A72C779D}"/>
              </a:ext>
            </a:extLst>
          </p:cNvPr>
          <p:cNvSpPr/>
          <p:nvPr/>
        </p:nvSpPr>
        <p:spPr>
          <a:xfrm>
            <a:off x="7228107" y="2952750"/>
            <a:ext cx="1645920" cy="1743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0488" indent="-90488">
              <a:spcBef>
                <a:spcPts val="600"/>
              </a:spcBef>
              <a:buFont typeface="Arial" panose="020B0604020202020204" pitchFamily="34" charset="0"/>
              <a:buChar char="•"/>
            </a:pPr>
            <a:r>
              <a:rPr lang="en-GB" sz="900" b="1">
                <a:solidFill>
                  <a:schemeClr val="tx1"/>
                </a:solidFill>
              </a:rPr>
              <a:t>Adherence to governance and operating models </a:t>
            </a:r>
          </a:p>
          <a:p>
            <a:pPr marL="90488" indent="-90488">
              <a:spcBef>
                <a:spcPts val="600"/>
              </a:spcBef>
              <a:buFont typeface="Arial" panose="020B0604020202020204" pitchFamily="34" charset="0"/>
              <a:buChar char="•"/>
            </a:pPr>
            <a:r>
              <a:rPr lang="en-GB" sz="900" b="1">
                <a:solidFill>
                  <a:schemeClr val="tx1"/>
                </a:solidFill>
              </a:rPr>
              <a:t>Address redundancies </a:t>
            </a:r>
          </a:p>
          <a:p>
            <a:pPr marL="90488" indent="-90488">
              <a:spcBef>
                <a:spcPts val="600"/>
              </a:spcBef>
              <a:buFont typeface="Arial" panose="020B0604020202020204" pitchFamily="34" charset="0"/>
              <a:buChar char="•"/>
            </a:pPr>
            <a:r>
              <a:rPr lang="en-GB" sz="900" b="1">
                <a:solidFill>
                  <a:schemeClr val="tx1"/>
                </a:solidFill>
              </a:rPr>
              <a:t>Missing roles</a:t>
            </a:r>
          </a:p>
          <a:p>
            <a:pPr marL="90488" indent="-90488">
              <a:spcBef>
                <a:spcPts val="600"/>
              </a:spcBef>
              <a:buFont typeface="Arial" panose="020B0604020202020204" pitchFamily="34" charset="0"/>
              <a:buChar char="•"/>
            </a:pPr>
            <a:r>
              <a:rPr lang="en-GB" sz="900" b="1" dirty="0">
                <a:solidFill>
                  <a:schemeClr val="tx1"/>
                </a:solidFill>
              </a:rPr>
              <a:t>Clarify </a:t>
            </a:r>
            <a:r>
              <a:rPr lang="en-GB" sz="900" b="1">
                <a:solidFill>
                  <a:schemeClr val="tx1"/>
                </a:solidFill>
              </a:rPr>
              <a:t>decision-making</a:t>
            </a:r>
            <a:r>
              <a:rPr lang="en-GB" sz="900" b="1" dirty="0">
                <a:solidFill>
                  <a:schemeClr val="tx1"/>
                </a:solidFill>
              </a:rPr>
              <a:t> </a:t>
            </a:r>
            <a:r>
              <a:rPr lang="en-GB" sz="900">
                <a:solidFill>
                  <a:schemeClr val="tx1"/>
                </a:solidFill>
              </a:rPr>
              <a:t>to prevent indecisiveness and ensure effective decision-making</a:t>
            </a:r>
            <a:endParaRPr lang="en-US" sz="900">
              <a:solidFill>
                <a:schemeClr val="tx1"/>
              </a:solidFill>
            </a:endParaRPr>
          </a:p>
        </p:txBody>
      </p:sp>
      <p:sp>
        <p:nvSpPr>
          <p:cNvPr id="12" name="Text Placeholder 2">
            <a:extLst>
              <a:ext uri="{FF2B5EF4-FFF2-40B4-BE49-F238E27FC236}">
                <a16:creationId xmlns:a16="http://schemas.microsoft.com/office/drawing/2014/main" id="{5AE172F5-1C3E-D93A-BB90-7415E97F96D7}"/>
              </a:ext>
            </a:extLst>
          </p:cNvPr>
          <p:cNvSpPr txBox="1">
            <a:spLocks/>
          </p:cNvSpPr>
          <p:nvPr/>
        </p:nvSpPr>
        <p:spPr>
          <a:xfrm>
            <a:off x="7228107" y="2387092"/>
            <a:ext cx="1645916" cy="498963"/>
          </a:xfrm>
          <a:prstGeom prst="rect">
            <a:avLst/>
          </a:prstGeom>
        </p:spPr>
        <p:txBody>
          <a:bodyPr vert="horz" lIns="111600" tIns="45720" rIns="144000" bIns="45720" rtlCol="0" anchor="ctr">
            <a:noAutofit/>
          </a:bodyPr>
          <a:lstStyle>
            <a:lvl1pPr marL="3175" indent="-3175" algn="l" defTabSz="685800" rtl="0" eaLnBrk="1" latinLnBrk="0" hangingPunct="1">
              <a:lnSpc>
                <a:spcPct val="100000"/>
              </a:lnSpc>
              <a:spcBef>
                <a:spcPts val="750"/>
              </a:spcBef>
              <a:buFont typeface="Arial" panose="020B0604020202020204" pitchFamily="34" charset="0"/>
              <a:buNone/>
              <a:tabLst/>
              <a:defRPr sz="1200" b="1" kern="1200">
                <a:solidFill>
                  <a:schemeClr val="tx1"/>
                </a:solidFill>
                <a:latin typeface="+mn-lt"/>
                <a:ea typeface="+mn-ea"/>
                <a:cs typeface="+mn-cs"/>
              </a:defRPr>
            </a:lvl1pPr>
            <a:lvl2pPr marL="358775" indent="-179388"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2pPr>
            <a:lvl3pPr marL="534988" indent="-176213"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3pPr>
            <a:lvl4pPr marL="714375" indent="-179388"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4pPr>
            <a:lvl5pPr marL="889000" indent="-174625"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sz="1050"/>
              <a:t>Operating model</a:t>
            </a:r>
          </a:p>
        </p:txBody>
      </p:sp>
      <p:grpSp>
        <p:nvGrpSpPr>
          <p:cNvPr id="30" name="Group 29">
            <a:extLst>
              <a:ext uri="{FF2B5EF4-FFF2-40B4-BE49-F238E27FC236}">
                <a16:creationId xmlns:a16="http://schemas.microsoft.com/office/drawing/2014/main" id="{F2C46302-A9A0-9D20-13E7-3E1466F05AD0}"/>
              </a:ext>
            </a:extLst>
          </p:cNvPr>
          <p:cNvGrpSpPr/>
          <p:nvPr/>
        </p:nvGrpSpPr>
        <p:grpSpPr>
          <a:xfrm>
            <a:off x="4166483" y="1509365"/>
            <a:ext cx="811033" cy="811033"/>
            <a:chOff x="4166483" y="1583329"/>
            <a:chExt cx="811033" cy="811033"/>
          </a:xfrm>
          <a:solidFill>
            <a:srgbClr val="1E324F"/>
          </a:solidFill>
        </p:grpSpPr>
        <p:sp>
          <p:nvSpPr>
            <p:cNvPr id="37" name="Oval 36">
              <a:extLst>
                <a:ext uri="{FF2B5EF4-FFF2-40B4-BE49-F238E27FC236}">
                  <a16:creationId xmlns:a16="http://schemas.microsoft.com/office/drawing/2014/main" id="{3C7EFAD1-B6C6-EED8-B9E1-CFF8B9F12DB8}"/>
                </a:ext>
              </a:extLst>
            </p:cNvPr>
            <p:cNvSpPr/>
            <p:nvPr/>
          </p:nvSpPr>
          <p:spPr>
            <a:xfrm>
              <a:off x="4166483" y="1583329"/>
              <a:ext cx="811033" cy="81103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Graphic 27" descr="Piggy Bank outline">
              <a:extLst>
                <a:ext uri="{FF2B5EF4-FFF2-40B4-BE49-F238E27FC236}">
                  <a16:creationId xmlns:a16="http://schemas.microsoft.com/office/drawing/2014/main" id="{FDA4F6B2-04A9-2E18-8619-827292F6E8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343399" y="1760245"/>
              <a:ext cx="457200" cy="457200"/>
            </a:xfrm>
            <a:prstGeom prst="rect">
              <a:avLst/>
            </a:prstGeom>
          </p:spPr>
        </p:pic>
      </p:grpSp>
      <p:grpSp>
        <p:nvGrpSpPr>
          <p:cNvPr id="16" name="Group 15">
            <a:extLst>
              <a:ext uri="{FF2B5EF4-FFF2-40B4-BE49-F238E27FC236}">
                <a16:creationId xmlns:a16="http://schemas.microsoft.com/office/drawing/2014/main" id="{131E2F6F-9AF7-7197-28EB-5090CF74A309}"/>
              </a:ext>
            </a:extLst>
          </p:cNvPr>
          <p:cNvGrpSpPr/>
          <p:nvPr/>
        </p:nvGrpSpPr>
        <p:grpSpPr>
          <a:xfrm>
            <a:off x="7647338" y="1509365"/>
            <a:ext cx="811033" cy="811033"/>
            <a:chOff x="7647338" y="1583329"/>
            <a:chExt cx="811033" cy="811033"/>
          </a:xfrm>
          <a:solidFill>
            <a:srgbClr val="1E324F"/>
          </a:solidFill>
        </p:grpSpPr>
        <p:sp>
          <p:nvSpPr>
            <p:cNvPr id="9" name="Oval 8">
              <a:extLst>
                <a:ext uri="{FF2B5EF4-FFF2-40B4-BE49-F238E27FC236}">
                  <a16:creationId xmlns:a16="http://schemas.microsoft.com/office/drawing/2014/main" id="{3AFA8A29-244E-7AF5-2CC7-A0E6A313B7DA}"/>
                </a:ext>
              </a:extLst>
            </p:cNvPr>
            <p:cNvSpPr/>
            <p:nvPr/>
          </p:nvSpPr>
          <p:spPr>
            <a:xfrm>
              <a:off x="7647338" y="1583329"/>
              <a:ext cx="811033" cy="81103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Graphic 13" descr="Network diagram outline">
              <a:extLst>
                <a:ext uri="{FF2B5EF4-FFF2-40B4-BE49-F238E27FC236}">
                  <a16:creationId xmlns:a16="http://schemas.microsoft.com/office/drawing/2014/main" id="{D94A8E54-44A4-99F5-474A-3844A921874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824255" y="1760245"/>
              <a:ext cx="457200" cy="457200"/>
            </a:xfrm>
            <a:prstGeom prst="rect">
              <a:avLst/>
            </a:prstGeom>
          </p:spPr>
        </p:pic>
      </p:grpSp>
      <p:sp>
        <p:nvSpPr>
          <p:cNvPr id="13" name="Text Placeholder 12">
            <a:extLst>
              <a:ext uri="{FF2B5EF4-FFF2-40B4-BE49-F238E27FC236}">
                <a16:creationId xmlns:a16="http://schemas.microsoft.com/office/drawing/2014/main" id="{4AB57634-8219-8295-3C54-DAB80EC9C578}"/>
              </a:ext>
            </a:extLst>
          </p:cNvPr>
          <p:cNvSpPr>
            <a:spLocks noGrp="1"/>
          </p:cNvSpPr>
          <p:nvPr>
            <p:ph type="body" sz="quarter" idx="14"/>
          </p:nvPr>
        </p:nvSpPr>
        <p:spPr/>
        <p:txBody>
          <a:bodyPr/>
          <a:lstStyle/>
          <a:p>
            <a:r>
              <a:rPr lang="en-US" dirty="0"/>
              <a:t>Coordination for IT</a:t>
            </a:r>
            <a:r>
              <a:rPr lang="en-US"/>
              <a:t> as a cost to be managed</a:t>
            </a:r>
          </a:p>
        </p:txBody>
      </p:sp>
      <p:sp>
        <p:nvSpPr>
          <p:cNvPr id="3" name="Slide Number Placeholder 2">
            <a:extLst>
              <a:ext uri="{FF2B5EF4-FFF2-40B4-BE49-F238E27FC236}">
                <a16:creationId xmlns:a16="http://schemas.microsoft.com/office/drawing/2014/main" id="{E92F021F-8E57-6477-734C-9B22CCBBADFD}"/>
              </a:ext>
            </a:extLst>
          </p:cNvPr>
          <p:cNvSpPr>
            <a:spLocks noGrp="1"/>
          </p:cNvSpPr>
          <p:nvPr>
            <p:ph type="sldNum" sz="quarter" idx="4"/>
          </p:nvPr>
        </p:nvSpPr>
        <p:spPr/>
        <p:txBody>
          <a:bodyPr/>
          <a:lstStyle/>
          <a:p>
            <a:fld id="{17CD396C-6A52-4D5A-BAE3-92A1CC3BBDE0}" type="slidenum">
              <a:rPr lang="en-GB" noProof="0" smtClean="0"/>
              <a:pPr/>
              <a:t>5</a:t>
            </a:fld>
            <a:endParaRPr lang="en-US"/>
          </a:p>
        </p:txBody>
      </p:sp>
    </p:spTree>
    <p:extLst>
      <p:ext uri="{BB962C8B-B14F-4D97-AF65-F5344CB8AC3E}">
        <p14:creationId xmlns:p14="http://schemas.microsoft.com/office/powerpoint/2010/main" val="30928995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MM_SLIDE_TYPE" val="6"/>
</p:tagLst>
</file>

<file path=ppt/tags/tag6.xml><?xml version="1.0" encoding="utf-8"?>
<p:tagLst xmlns:a="http://schemas.openxmlformats.org/drawingml/2006/main" xmlns:r="http://schemas.openxmlformats.org/officeDocument/2006/relationships" xmlns:p="http://schemas.openxmlformats.org/presentationml/2006/main">
  <p:tag name="MM_SLIDE_TYPE" val="6"/>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attenfall Presentation 2024">
  <a:themeElements>
    <a:clrScheme name="Vattenfall">
      <a:dk1>
        <a:srgbClr val="000000"/>
      </a:dk1>
      <a:lt1>
        <a:srgbClr val="FFFFFF"/>
      </a:lt1>
      <a:dk2>
        <a:srgbClr val="000000"/>
      </a:dk2>
      <a:lt2>
        <a:srgbClr val="F2F2F2"/>
      </a:lt2>
      <a:accent1>
        <a:srgbClr val="2071B5"/>
      </a:accent1>
      <a:accent2>
        <a:srgbClr val="FFDA00"/>
      </a:accent2>
      <a:accent3>
        <a:srgbClr val="4E4B48"/>
      </a:accent3>
      <a:accent4>
        <a:srgbClr val="1E324F"/>
      </a:accent4>
      <a:accent5>
        <a:srgbClr val="3DC07C"/>
      </a:accent5>
      <a:accent6>
        <a:srgbClr val="005C63"/>
      </a:accent6>
      <a:hlink>
        <a:srgbClr val="2071B5"/>
      </a:hlink>
      <a:folHlink>
        <a:srgbClr val="2071B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1"/>
          </a:solidFill>
          <a:headEnd type="none"/>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noAutofit/>
      </a:bodyPr>
      <a:lstStyle>
        <a:defPPr algn="l">
          <a:defRPr sz="1400" dirty="0" err="1" smtClean="0"/>
        </a:defPPr>
      </a:lstStyle>
    </a:txDef>
  </a:objectDefaults>
  <a:extraClrSchemeLst/>
  <a:custClrLst>
    <a:custClr name="Pink">
      <a:srgbClr val="D1266B"/>
    </a:custClr>
    <a:custClr name="Dark Purple">
      <a:srgbClr val="85254B"/>
    </a:custClr>
    <a:custClr name="Red">
      <a:srgbClr val="F93B18"/>
    </a:custClr>
    <a:custClr name="Purple">
      <a:srgbClr val="9B62C3"/>
    </a:custClr>
    <a:custClr name="Light Yellow">
      <a:srgbClr val="FFFEE5"/>
    </a:custClr>
    <a:custClr name="Light Blue">
      <a:srgbClr val="EBF2F3"/>
    </a:custClr>
    <a:custClr name="Light Green">
      <a:srgbClr val="EDF9F3"/>
    </a:custClr>
    <a:custClr name="Light Red">
      <a:srgbClr val="FEF0EA"/>
    </a:custClr>
    <a:custClr name="Hydro">
      <a:srgbClr val="2DA55D"/>
    </a:custClr>
    <a:custClr name="Wind">
      <a:srgbClr val="4FCC51"/>
    </a:custClr>
    <a:custClr name="Solar">
      <a:srgbClr val="81E0A8"/>
    </a:custClr>
    <a:custClr name="Biomass">
      <a:srgbClr val="375E4E"/>
    </a:custClr>
    <a:custClr name="Coal">
      <a:srgbClr val="E88A74"/>
    </a:custClr>
    <a:custClr name="Gas">
      <a:srgbClr val="D85067"/>
    </a:custClr>
    <a:custClr name="Nuclear">
      <a:srgbClr val="213D5E"/>
    </a:custClr>
    <a:custClr name="District Heating">
      <a:srgbClr val="A376CC"/>
    </a:custClr>
  </a:custClrLst>
  <a:extLst>
    <a:ext uri="{05A4C25C-085E-4340-85A3-A5531E510DB2}">
      <thm15:themeFamily xmlns:thm15="http://schemas.microsoft.com/office/thememl/2012/main" name="Vattenfall_PPT_Best_Practice_2024_Eng" id="{1ECFFDA0-55FA-9145-983A-36C08DE4954E}" vid="{E411FF41-D3A9-6D48-AD8A-77886FE2D926}"/>
    </a:ext>
  </a:extLst>
</a:theme>
</file>

<file path=ppt/theme/theme2.xml><?xml version="1.0" encoding="utf-8"?>
<a:theme xmlns:a="http://schemas.openxmlformats.org/drawingml/2006/main" name="Vattenfall Documentation 2024">
  <a:themeElements>
    <a:clrScheme name="Vattenfall">
      <a:dk1>
        <a:srgbClr val="000000"/>
      </a:dk1>
      <a:lt1>
        <a:srgbClr val="FFFFFF"/>
      </a:lt1>
      <a:dk2>
        <a:srgbClr val="000000"/>
      </a:dk2>
      <a:lt2>
        <a:srgbClr val="F2F2F2"/>
      </a:lt2>
      <a:accent1>
        <a:srgbClr val="2071B5"/>
      </a:accent1>
      <a:accent2>
        <a:srgbClr val="FFDA00"/>
      </a:accent2>
      <a:accent3>
        <a:srgbClr val="4E4B48"/>
      </a:accent3>
      <a:accent4>
        <a:srgbClr val="1E324F"/>
      </a:accent4>
      <a:accent5>
        <a:srgbClr val="3DC07C"/>
      </a:accent5>
      <a:accent6>
        <a:srgbClr val="005C63"/>
      </a:accent6>
      <a:hlink>
        <a:srgbClr val="2071B5"/>
      </a:hlink>
      <a:folHlink>
        <a:srgbClr val="2071B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1200" dirty="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1"/>
          </a:solidFill>
          <a:headEnd type="none"/>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noAutofit/>
      </a:bodyPr>
      <a:lstStyle>
        <a:defPPr algn="l">
          <a:defRPr sz="1200" dirty="0" err="1" smtClean="0"/>
        </a:defPPr>
      </a:lstStyle>
    </a:txDef>
  </a:objectDefaults>
  <a:extraClrSchemeLst/>
  <a:custClrLst>
    <a:custClr name="Pink">
      <a:srgbClr val="D1266B"/>
    </a:custClr>
    <a:custClr name="Dark Purple">
      <a:srgbClr val="85254B"/>
    </a:custClr>
    <a:custClr name="Red">
      <a:srgbClr val="F93B18"/>
    </a:custClr>
    <a:custClr name="Purple">
      <a:srgbClr val="9B62C3"/>
    </a:custClr>
    <a:custClr name="Light Yellow">
      <a:srgbClr val="FFFEE5"/>
    </a:custClr>
    <a:custClr name="Light Blue">
      <a:srgbClr val="EBF2F3"/>
    </a:custClr>
    <a:custClr name="Light Green">
      <a:srgbClr val="EDF9F3"/>
    </a:custClr>
    <a:custClr name="Light Red">
      <a:srgbClr val="FEF0EA"/>
    </a:custClr>
    <a:custClr name="Hydro">
      <a:srgbClr val="2DA55D"/>
    </a:custClr>
    <a:custClr name="Wind">
      <a:srgbClr val="4FCC51"/>
    </a:custClr>
    <a:custClr name="Solar">
      <a:srgbClr val="81E0A8"/>
    </a:custClr>
    <a:custClr name="Biomass">
      <a:srgbClr val="375E4E"/>
    </a:custClr>
    <a:custClr name="Coal">
      <a:srgbClr val="E88A74"/>
    </a:custClr>
    <a:custClr name="Gas">
      <a:srgbClr val="D85067"/>
    </a:custClr>
    <a:custClr name="Nuclear">
      <a:srgbClr val="213D5E"/>
    </a:custClr>
    <a:custClr name="District Heating">
      <a:srgbClr val="A376CC"/>
    </a:custClr>
  </a:custClrLst>
  <a:extLst>
    <a:ext uri="{05A4C25C-085E-4340-85A3-A5531E510DB2}">
      <thm15:themeFamily xmlns:thm15="http://schemas.microsoft.com/office/thememl/2012/main" name="Vattenfall_PPT_Best_Practice_2024_Eng" id="{1ECFFDA0-55FA-9145-983A-36C08DE4954E}" vid="{6925222E-0374-124E-A114-619B6804831C}"/>
    </a:ext>
  </a:extLst>
</a:theme>
</file>

<file path=ppt/theme/theme3.xml><?xml version="1.0" encoding="utf-8"?>
<a:theme xmlns:a="http://schemas.openxmlformats.org/drawingml/2006/main" name="1_Vattenfall Presentation 2024">
  <a:themeElements>
    <a:clrScheme name="Vattenfall">
      <a:dk1>
        <a:srgbClr val="000000"/>
      </a:dk1>
      <a:lt1>
        <a:srgbClr val="FFFFFF"/>
      </a:lt1>
      <a:dk2>
        <a:srgbClr val="000000"/>
      </a:dk2>
      <a:lt2>
        <a:srgbClr val="F2F2F2"/>
      </a:lt2>
      <a:accent1>
        <a:srgbClr val="2071B5"/>
      </a:accent1>
      <a:accent2>
        <a:srgbClr val="FFDA00"/>
      </a:accent2>
      <a:accent3>
        <a:srgbClr val="4E4B48"/>
      </a:accent3>
      <a:accent4>
        <a:srgbClr val="1E324F"/>
      </a:accent4>
      <a:accent5>
        <a:srgbClr val="3DC07C"/>
      </a:accent5>
      <a:accent6>
        <a:srgbClr val="005C63"/>
      </a:accent6>
      <a:hlink>
        <a:srgbClr val="2071B5"/>
      </a:hlink>
      <a:folHlink>
        <a:srgbClr val="2071B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1"/>
          </a:solidFill>
          <a:headEnd type="none"/>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noAutofit/>
      </a:bodyPr>
      <a:lstStyle>
        <a:defPPr algn="l">
          <a:defRPr sz="1400" dirty="0" err="1" smtClean="0"/>
        </a:defPPr>
      </a:lstStyle>
    </a:txDef>
  </a:objectDefaults>
  <a:extraClrSchemeLst/>
  <a:custClrLst>
    <a:custClr name="Pink">
      <a:srgbClr val="D1266B"/>
    </a:custClr>
    <a:custClr name="Dark Purple">
      <a:srgbClr val="85254B"/>
    </a:custClr>
    <a:custClr name="Red">
      <a:srgbClr val="F93B18"/>
    </a:custClr>
    <a:custClr name="Purple">
      <a:srgbClr val="9B62C3"/>
    </a:custClr>
    <a:custClr name="Light Yellow">
      <a:srgbClr val="FFFEE5"/>
    </a:custClr>
    <a:custClr name="Light Blue">
      <a:srgbClr val="EBF2F3"/>
    </a:custClr>
    <a:custClr name="Light Green">
      <a:srgbClr val="EDF9F3"/>
    </a:custClr>
    <a:custClr name="Light Red">
      <a:srgbClr val="FEF0EA"/>
    </a:custClr>
    <a:custClr name="Hydro">
      <a:srgbClr val="2DA55D"/>
    </a:custClr>
    <a:custClr name="Wind">
      <a:srgbClr val="4FCC51"/>
    </a:custClr>
    <a:custClr name="Solar">
      <a:srgbClr val="81E0A8"/>
    </a:custClr>
    <a:custClr name="Biomass">
      <a:srgbClr val="375E4E"/>
    </a:custClr>
    <a:custClr name="Coal">
      <a:srgbClr val="E88A74"/>
    </a:custClr>
    <a:custClr name="Gas">
      <a:srgbClr val="D85067"/>
    </a:custClr>
    <a:custClr name="Nuclear">
      <a:srgbClr val="213D5E"/>
    </a:custClr>
    <a:custClr name="District Heating">
      <a:srgbClr val="A376CC"/>
    </a:custClr>
  </a:custClrLst>
  <a:extLst>
    <a:ext uri="{05A4C25C-085E-4340-85A3-A5531E510DB2}">
      <thm15:themeFamily xmlns:thm15="http://schemas.microsoft.com/office/thememl/2012/main" name="Vattenfall_PPT_Template_2024_Eng" id="{864BDEFA-38B2-AA4C-9B94-3CA644B74A2E}" vid="{2A5A45C3-E05E-854D-9FB1-2BFD86915633}"/>
    </a:ext>
  </a:extLst>
</a:theme>
</file>

<file path=ppt/theme/theme4.xml><?xml version="1.0" encoding="utf-8"?>
<a:theme xmlns:a="http://schemas.openxmlformats.org/drawingml/2006/main" name="1_White bkgrnd master">
  <a:themeElements>
    <a:clrScheme name="2020 Gartner Theme-001">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square" lIns="0" rIns="0" rtlCol="0">
        <a:spAutoFit/>
      </a:bodyPr>
      <a:lstStyle>
        <a:defPPr algn="l">
          <a:spcBef>
            <a:spcPts val="600"/>
          </a:spcBef>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2021_DEFAULT V-EVENTS MASTER-2020-1229.potx" id="{436981CC-19AC-4481-8E5E-24538504A289}" vid="{EE11AC78-36D6-4677-B48D-4A7902079EDF}"/>
    </a:ext>
  </a:extLst>
</a:theme>
</file>

<file path=ppt/theme/theme5.xml><?xml version="1.0" encoding="utf-8"?>
<a:theme xmlns:a="http://schemas.openxmlformats.org/drawingml/2006/main" name="1_Blue bkgrnd master">
  <a:themeElements>
    <a:clrScheme name="2020 Gartner Theme-001">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2021_DEFAULT V-EVENTS MASTER-2020-1229.potx" id="{436981CC-19AC-4481-8E5E-24538504A289}" vid="{DDBD924B-8BAA-499A-95CF-368D39884C9B}"/>
    </a:ext>
  </a:extLst>
</a:theme>
</file>

<file path=ppt/theme/theme6.xml><?xml version="1.0" encoding="utf-8"?>
<a:theme xmlns:a="http://schemas.openxmlformats.org/drawingml/2006/main" name="Vattenfall Presentation">
  <a:themeElements>
    <a:clrScheme name="Vattenfall">
      <a:dk1>
        <a:srgbClr val="000000"/>
      </a:dk1>
      <a:lt1>
        <a:srgbClr val="FFFFFF"/>
      </a:lt1>
      <a:dk2>
        <a:srgbClr val="000000"/>
      </a:dk2>
      <a:lt2>
        <a:srgbClr val="F2F2F2"/>
      </a:lt2>
      <a:accent1>
        <a:srgbClr val="2071B5"/>
      </a:accent1>
      <a:accent2>
        <a:srgbClr val="FFDA00"/>
      </a:accent2>
      <a:accent3>
        <a:srgbClr val="4E4B48"/>
      </a:accent3>
      <a:accent4>
        <a:srgbClr val="1E324F"/>
      </a:accent4>
      <a:accent5>
        <a:srgbClr val="3DC07C"/>
      </a:accent5>
      <a:accent6>
        <a:srgbClr val="005C63"/>
      </a:accent6>
      <a:hlink>
        <a:srgbClr val="2071B5"/>
      </a:hlink>
      <a:folHlink>
        <a:srgbClr val="2071B5"/>
      </a:folHlink>
    </a:clrScheme>
    <a:fontScheme name="Custom 2">
      <a:majorFont>
        <a:latin typeface="Aptos (body)"/>
        <a:ea typeface=""/>
        <a:cs typeface=""/>
      </a:majorFont>
      <a:minorFont>
        <a:latin typeface="Aptos (body)"/>
        <a:ea typeface=""/>
        <a:cs typeface=""/>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1"/>
          </a:solidFill>
          <a:headEnd type="none"/>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noAutofit/>
      </a:bodyPr>
      <a:lstStyle>
        <a:defPPr algn="l">
          <a:defRPr sz="1400" dirty="0" err="1" smtClean="0"/>
        </a:defPPr>
      </a:lstStyle>
    </a:txDef>
  </a:objectDefaults>
  <a:extraClrSchemeLst/>
  <a:custClrLst>
    <a:custClr name="Pink">
      <a:srgbClr val="D1266B"/>
    </a:custClr>
    <a:custClr name="Dark Purple">
      <a:srgbClr val="85254B"/>
    </a:custClr>
    <a:custClr name="Red">
      <a:srgbClr val="F93B18"/>
    </a:custClr>
    <a:custClr name="Purple">
      <a:srgbClr val="9B62C3"/>
    </a:custClr>
    <a:custClr name="Light Yellow">
      <a:srgbClr val="FFFEE5"/>
    </a:custClr>
    <a:custClr name="Light Blue">
      <a:srgbClr val="EBF2F3"/>
    </a:custClr>
    <a:custClr name="Light Green">
      <a:srgbClr val="EDF9F3"/>
    </a:custClr>
    <a:custClr name="Light Red">
      <a:srgbClr val="FEF0EA"/>
    </a:custClr>
    <a:custClr name="Hydro">
      <a:srgbClr val="2DA55D"/>
    </a:custClr>
    <a:custClr name="Wind">
      <a:srgbClr val="4FCC51"/>
    </a:custClr>
    <a:custClr name="Solar">
      <a:srgbClr val="81E0A8"/>
    </a:custClr>
    <a:custClr name="Biomass">
      <a:srgbClr val="375E4E"/>
    </a:custClr>
    <a:custClr name="Coal">
      <a:srgbClr val="E88A74"/>
    </a:custClr>
    <a:custClr name="Gas">
      <a:srgbClr val="D85067"/>
    </a:custClr>
    <a:custClr name="Nuclear">
      <a:srgbClr val="213D5E"/>
    </a:custClr>
    <a:custClr name="District Heating">
      <a:srgbClr val="A376CC"/>
    </a:custClr>
  </a:custClrLst>
  <a:extLst>
    <a:ext uri="{05A4C25C-085E-4340-85A3-A5531E510DB2}">
      <thm15:themeFamily xmlns:thm15="http://schemas.microsoft.com/office/thememl/2012/main" name="Presentation4" id="{D7AA0717-ABE2-1D4F-B722-A4C4B575C042}" vid="{E13DC9C1-B692-B54A-BC48-92C11ADCF72D}"/>
    </a:ext>
  </a:extLst>
</a:theme>
</file>

<file path=ppt/theme/theme7.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E3B1107C747434C93396064F413F5E7" ma:contentTypeVersion="21" ma:contentTypeDescription="Create a new document." ma:contentTypeScope="" ma:versionID="f55b234be35c4880a33f08b1f4fbe146">
  <xsd:schema xmlns:xsd="http://www.w3.org/2001/XMLSchema" xmlns:xs="http://www.w3.org/2001/XMLSchema" xmlns:p="http://schemas.microsoft.com/office/2006/metadata/properties" xmlns:ns2="2a1259a8-9be4-4f50-8927-e6dd8ca9402d" xmlns:ns3="34774c50-7aa2-456d-8a0b-d477a991d296" xmlns:ns4="1c174c71-41cb-4794-9037-aad1bc7dd064" targetNamespace="http://schemas.microsoft.com/office/2006/metadata/properties" ma:root="true" ma:fieldsID="3289f59333445ab0fa5c55975d989414" ns2:_="" ns3:_="" ns4:_="">
    <xsd:import namespace="2a1259a8-9be4-4f50-8927-e6dd8ca9402d"/>
    <xsd:import namespace="34774c50-7aa2-456d-8a0b-d477a991d296"/>
    <xsd:import namespace="1c174c71-41cb-4794-9037-aad1bc7dd064"/>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3:MediaServiceAutoKeyPoints" minOccurs="0"/>
                <xsd:element ref="ns3:MediaServiceKeyPoints" minOccurs="0"/>
                <xsd:element ref="ns3:MediaServiceLocation" minOccurs="0"/>
                <xsd:element ref="ns3:lcf76f155ced4ddcb4097134ff3c332f" minOccurs="0"/>
                <xsd:element ref="ns2:TaxCatchAll" minOccurs="0"/>
                <xsd:element ref="ns3:MediaLengthInSeconds" minOccurs="0"/>
                <xsd:element ref="ns3:MediaServiceObjectDetectorVersions" minOccurs="0"/>
                <xsd:element ref="ns4:SharedWithUsers" minOccurs="0"/>
                <xsd:element ref="ns4:SharedWithDetails" minOccurs="0"/>
                <xsd:element ref="ns3:MediaServiceSearchProperties" minOccurs="0"/>
                <xsd:element ref="ns3:ImageMetadataListItemId" minOccurs="0"/>
                <xsd:element ref="ns3:ImageMetadataListField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a1259a8-9be4-4f50-8927-e6dd8ca9402d"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TaxCatchAll" ma:index="23" nillable="true" ma:displayName="Taxonomy Catch All Column" ma:hidden="true" ma:list="{d8d14b41-469b-4af1-94c7-a2b3e2cc7c72}" ma:internalName="TaxCatchAll" ma:showField="CatchAllData" ma:web="1c174c71-41cb-4794-9037-aad1bc7dd064">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34774c50-7aa2-456d-8a0b-d477a991d296"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37527e17-69f7-4063-85d7-6a8e0146bc94" ma:termSetId="09814cd3-568e-fe90-9814-8d621ff8fb84" ma:anchorId="fba54fb3-c3e1-fe81-a776-ca4b69148c4d" ma:open="true" ma:isKeyword="false">
      <xsd:complexType>
        <xsd:sequence>
          <xsd:element ref="pc:Terms" minOccurs="0" maxOccurs="1"/>
        </xsd:sequence>
      </xsd:complexType>
    </xsd:element>
    <xsd:element name="MediaLengthInSeconds" ma:index="24" nillable="true" ma:displayName="MediaLengthInSeconds" ma:hidden="true" ma:internalName="MediaLengthInSeconds" ma:readOnly="true">
      <xsd:simpleType>
        <xsd:restriction base="dms:Unknown"/>
      </xsd:simpleType>
    </xsd:element>
    <xsd:element name="MediaServiceObjectDetectorVersions" ma:index="25" nillable="true" ma:displayName="MediaServiceObjectDetectorVersions" ma:hidden="true" ma:indexed="true" ma:internalName="MediaServiceObjectDetectorVersions" ma:readOnly="true">
      <xsd:simpleType>
        <xsd:restriction base="dms:Text"/>
      </xsd:simpleType>
    </xsd:element>
    <xsd:element name="MediaServiceSearchProperties" ma:index="28" nillable="true" ma:displayName="MediaServiceSearchProperties" ma:hidden="true" ma:internalName="MediaServiceSearchProperties" ma:readOnly="true">
      <xsd:simpleType>
        <xsd:restriction base="dms:Note"/>
      </xsd:simpleType>
    </xsd:element>
    <xsd:element name="ImageMetadataListItemId" ma:index="29" nillable="true" ma:displayName="ImageMetadataListItemId" ma:hidden="true" ma:internalName="ImageMetadataListItemId">
      <xsd:simpleType>
        <xsd:restriction base="dms:Unknown"/>
      </xsd:simpleType>
    </xsd:element>
    <xsd:element name="ImageMetadataListFieldId" ma:index="30" nillable="true" ma:displayName="ImageMetadataListFieldId" ma:hidden="true" ma:internalName="ImageMetadataListFieldId">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c174c71-41cb-4794-9037-aad1bc7dd064" elementFormDefault="qualified">
    <xsd:import namespace="http://schemas.microsoft.com/office/2006/documentManagement/types"/>
    <xsd:import namespace="http://schemas.microsoft.com/office/infopath/2007/PartnerControls"/>
    <xsd:element name="SharedWithUsers" ma:index="2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2a1259a8-9be4-4f50-8927-e6dd8ca9402d" xsi:nil="true"/>
    <_dlc_DocId xmlns="2a1259a8-9be4-4f50-8927-e6dd8ca9402d">XCFTWXYJFFN2-1909095532-3726</_dlc_DocId>
    <_dlc_DocIdUrl xmlns="2a1259a8-9be4-4f50-8927-e6dd8ca9402d">
      <Url>https://vattenfall.sharepoint.com/sites/HouseofIT/_layouts/15/DocIdRedir.aspx?ID=XCFTWXYJFFN2-1909095532-3726</Url>
      <Description>XCFTWXYJFFN2-1909095532-3726</Description>
    </_dlc_DocIdUrl>
    <lcf76f155ced4ddcb4097134ff3c332f xmlns="34774c50-7aa2-456d-8a0b-d477a991d296">
      <Terms xmlns="http://schemas.microsoft.com/office/infopath/2007/PartnerControls"/>
    </lcf76f155ced4ddcb4097134ff3c332f>
    <ImageMetadataListFieldId xmlns="34774c50-7aa2-456d-8a0b-d477a991d296" xsi:nil="true"/>
    <ImageMetadataListItemId xmlns="34774c50-7aa2-456d-8a0b-d477a991d296" xsi:nil="true"/>
  </documentManagement>
</p:properti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75AB7E7-1B17-4BE0-A4EC-98BD4C9EF45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a1259a8-9be4-4f50-8927-e6dd8ca9402d"/>
    <ds:schemaRef ds:uri="34774c50-7aa2-456d-8a0b-d477a991d296"/>
    <ds:schemaRef ds:uri="1c174c71-41cb-4794-9037-aad1bc7dd06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0ADBAAF-6F61-42A5-A45A-728366D990BB}">
  <ds:schemaRefs>
    <ds:schemaRef ds:uri="http://schemas.microsoft.com/office/infopath/2007/PartnerControls"/>
    <ds:schemaRef ds:uri="1c174c71-41cb-4794-9037-aad1bc7dd064"/>
    <ds:schemaRef ds:uri="http://purl.org/dc/dcmitype/"/>
    <ds:schemaRef ds:uri="http://www.w3.org/XML/1998/namespace"/>
    <ds:schemaRef ds:uri="http://schemas.microsoft.com/office/2006/documentManagement/types"/>
    <ds:schemaRef ds:uri="http://schemas.microsoft.com/office/2006/metadata/properties"/>
    <ds:schemaRef ds:uri="34774c50-7aa2-456d-8a0b-d477a991d296"/>
    <ds:schemaRef ds:uri="http://purl.org/dc/elements/1.1/"/>
    <ds:schemaRef ds:uri="http://schemas.openxmlformats.org/package/2006/metadata/core-properties"/>
    <ds:schemaRef ds:uri="2a1259a8-9be4-4f50-8927-e6dd8ca9402d"/>
    <ds:schemaRef ds:uri="http://purl.org/dc/terms/"/>
  </ds:schemaRefs>
</ds:datastoreItem>
</file>

<file path=customXml/itemProps3.xml><?xml version="1.0" encoding="utf-8"?>
<ds:datastoreItem xmlns:ds="http://schemas.openxmlformats.org/officeDocument/2006/customXml" ds:itemID="{2D50615F-6EC4-4242-AA9B-E566A6FF6220}">
  <ds:schemaRefs>
    <ds:schemaRef ds:uri="http://schemas.microsoft.com/sharepoint/events"/>
  </ds:schemaRefs>
</ds:datastoreItem>
</file>

<file path=customXml/itemProps4.xml><?xml version="1.0" encoding="utf-8"?>
<ds:datastoreItem xmlns:ds="http://schemas.openxmlformats.org/officeDocument/2006/customXml" ds:itemID="{E0E8D28B-F46A-49CD-9D50-852D3E565EC6}">
  <ds:schemaRefs>
    <ds:schemaRef ds:uri="http://schemas.microsoft.com/sharepoint/v3/contenttype/forms"/>
  </ds:schemaRefs>
</ds:datastoreItem>
</file>

<file path=docMetadata/LabelInfo.xml><?xml version="1.0" encoding="utf-8"?>
<clbl:labelList xmlns:clbl="http://schemas.microsoft.com/office/2020/mipLabelMetadata">
  <clbl:label id="{6431d30e-c018-4f72-ad4c-e56e9d03b1f0}" enabled="1" method="Privileged" siteId="{f8be18a6-f648-4a47-be73-86d6c5c6604d}" removed="0"/>
</clbl:labelList>
</file>

<file path=docProps/app.xml><?xml version="1.0" encoding="utf-8"?>
<Properties xmlns="http://schemas.openxmlformats.org/officeDocument/2006/extended-properties" xmlns:vt="http://schemas.openxmlformats.org/officeDocument/2006/docPropsVTypes">
  <Template>Vattenfall Presentation 2024</Template>
  <TotalTime>0</TotalTime>
  <Words>730</Words>
  <Application>Microsoft Office PowerPoint</Application>
  <PresentationFormat>Diavoorstelling (16:9)</PresentationFormat>
  <Paragraphs>126</Paragraphs>
  <Slides>5</Slides>
  <Notes>0</Notes>
  <HiddenSlides>0</HiddenSlides>
  <MMClips>0</MMClips>
  <ScaleCrop>false</ScaleCrop>
  <HeadingPairs>
    <vt:vector size="8" baseType="variant">
      <vt:variant>
        <vt:lpstr>Gebruikte lettertypen</vt:lpstr>
      </vt:variant>
      <vt:variant>
        <vt:i4>10</vt:i4>
      </vt:variant>
      <vt:variant>
        <vt:lpstr>Thema</vt:lpstr>
      </vt:variant>
      <vt:variant>
        <vt:i4>6</vt:i4>
      </vt:variant>
      <vt:variant>
        <vt:lpstr>Ingesloten OLE-bronprogramma's</vt:lpstr>
      </vt:variant>
      <vt:variant>
        <vt:i4>1</vt:i4>
      </vt:variant>
      <vt:variant>
        <vt:lpstr>Diatitels</vt:lpstr>
      </vt:variant>
      <vt:variant>
        <vt:i4>5</vt:i4>
      </vt:variant>
    </vt:vector>
  </HeadingPairs>
  <TitlesOfParts>
    <vt:vector size="22" baseType="lpstr">
      <vt:lpstr>Aptos</vt:lpstr>
      <vt:lpstr>Aptos (body)</vt:lpstr>
      <vt:lpstr>Aptos Display</vt:lpstr>
      <vt:lpstr>Aptos ExtraBold</vt:lpstr>
      <vt:lpstr>Aptos Mono</vt:lpstr>
      <vt:lpstr>Arial</vt:lpstr>
      <vt:lpstr>Arial Black</vt:lpstr>
      <vt:lpstr>Calibri</vt:lpstr>
      <vt:lpstr>Segoe UI</vt:lpstr>
      <vt:lpstr>Wingdings</vt:lpstr>
      <vt:lpstr>Vattenfall Presentation 2024</vt:lpstr>
      <vt:lpstr>Vattenfall Documentation 2024</vt:lpstr>
      <vt:lpstr>1_Vattenfall Presentation 2024</vt:lpstr>
      <vt:lpstr>1_White bkgrnd master</vt:lpstr>
      <vt:lpstr>1_Blue bkgrnd master</vt:lpstr>
      <vt:lpstr>Vattenfall Presentation</vt:lpstr>
      <vt:lpstr>think-cell Slide</vt:lpstr>
      <vt:lpstr>Working for fossil freedom</vt:lpstr>
      <vt:lpstr>PowerPoint-presentatie</vt:lpstr>
      <vt:lpstr>IT represents a key enabler of excellence through digitalization – but also a cost to be carefully managed </vt:lpstr>
      <vt:lpstr>HOW: Acting in a more coordinated and aligned way for digital enablement – 5 key domains</vt:lpstr>
      <vt:lpstr>HOW: Acting in a more coordinated and aligned way for cost management – 5 key areas</vt:lpstr>
    </vt:vector>
  </TitlesOfParts>
  <Manager>Boris Schirmer</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oup Strategic  Direction</dc:title>
  <dc:subject>PowerPoint</dc:subject>
  <dc:creator>Lotta Eriksson</dc:creator>
  <cp:keywords>Powerpoint, presentations, template, documentation</cp:keywords>
  <dc:description/>
  <cp:lastModifiedBy>Ommeren Pieter van (SB)</cp:lastModifiedBy>
  <cp:revision>24</cp:revision>
  <dcterms:created xsi:type="dcterms:W3CDTF">2024-10-07T14:22:57Z</dcterms:created>
  <dcterms:modified xsi:type="dcterms:W3CDTF">2025-09-04T12:27:51Z</dcterms:modified>
  <cp:category>PowerPoint</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6431d30e-c018-4f72-ad4c-e56e9d03b1f0_Enabled">
    <vt:lpwstr>true</vt:lpwstr>
  </property>
  <property fmtid="{D5CDD505-2E9C-101B-9397-08002B2CF9AE}" pid="3" name="MSIP_Label_6431d30e-c018-4f72-ad4c-e56e9d03b1f0_Name">
    <vt:lpwstr>6431d30e-c018-4f72-ad4c-e56e9d03b1f0</vt:lpwstr>
  </property>
  <property fmtid="{D5CDD505-2E9C-101B-9397-08002B2CF9AE}" pid="4" name="MSIP_Label_6431d30e-c018-4f72-ad4c-e56e9d03b1f0_SiteId">
    <vt:lpwstr>f8be18a6-f648-4a47-be73-86d6c5c6604d</vt:lpwstr>
  </property>
  <property fmtid="{D5CDD505-2E9C-101B-9397-08002B2CF9AE}" pid="5" name="MSIP_Label_6431d30e-c018-4f72-ad4c-e56e9d03b1f0_ContentBits">
    <vt:lpwstr>2</vt:lpwstr>
  </property>
  <property fmtid="{D5CDD505-2E9C-101B-9397-08002B2CF9AE}" pid="6" name="ClassificationContentMarkingFooterText">
    <vt:lpwstr>Confidentiality: C2 - Internal</vt:lpwstr>
  </property>
  <property fmtid="{D5CDD505-2E9C-101B-9397-08002B2CF9AE}" pid="7" name="ContentTypeId">
    <vt:lpwstr>0x0101004E3B1107C747434C93396064F413F5E7</vt:lpwstr>
  </property>
  <property fmtid="{D5CDD505-2E9C-101B-9397-08002B2CF9AE}" pid="8" name="Functional area">
    <vt:lpwstr/>
  </property>
  <property fmtid="{D5CDD505-2E9C-101B-9397-08002B2CF9AE}" pid="9" name="MediaServiceImageTags">
    <vt:lpwstr/>
  </property>
  <property fmtid="{D5CDD505-2E9C-101B-9397-08002B2CF9AE}" pid="10" name="Project or process">
    <vt:lpwstr/>
  </property>
  <property fmtid="{D5CDD505-2E9C-101B-9397-08002B2CF9AE}" pid="11" name="Keywords Group Strategy">
    <vt:lpwstr/>
  </property>
  <property fmtid="{D5CDD505-2E9C-101B-9397-08002B2CF9AE}" pid="12" name="Functional_x0020_area">
    <vt:lpwstr/>
  </property>
  <property fmtid="{D5CDD505-2E9C-101B-9397-08002B2CF9AE}" pid="13" name="Project_x0020_or_x0020_process">
    <vt:lpwstr/>
  </property>
  <property fmtid="{D5CDD505-2E9C-101B-9397-08002B2CF9AE}" pid="14" name="Keywords_x0020_Group_x0020_Strategy">
    <vt:lpwstr/>
  </property>
  <property fmtid="{D5CDD505-2E9C-101B-9397-08002B2CF9AE}" pid="15" name="MSIP_Label_6431d30e-c018-4f72-ad4c-e56e9d03b1f0_ActionId">
    <vt:lpwstr>55dea314-3870-4f2c-8e68-f751acefb85f</vt:lpwstr>
  </property>
  <property fmtid="{D5CDD505-2E9C-101B-9397-08002B2CF9AE}" pid="16" name="MSIP_Label_6431d30e-c018-4f72-ad4c-e56e9d03b1f0_Method">
    <vt:lpwstr>Privileged</vt:lpwstr>
  </property>
  <property fmtid="{D5CDD505-2E9C-101B-9397-08002B2CF9AE}" pid="17" name="ClassificationContentMarkingFooterLocations">
    <vt:lpwstr>Vattenfall Presentation 2024:9\Vattenfall Documentation 2024:7</vt:lpwstr>
  </property>
  <property fmtid="{D5CDD505-2E9C-101B-9397-08002B2CF9AE}" pid="18" name="MSIP_Label_6431d30e-c018-4f72-ad4c-e56e9d03b1f0_SetDate">
    <vt:lpwstr>2024-10-15T20:16:23Z</vt:lpwstr>
  </property>
  <property fmtid="{D5CDD505-2E9C-101B-9397-08002B2CF9AE}" pid="19" name="_dlc_DocIdItemGuid">
    <vt:lpwstr>f10a0b0e-8074-4120-9b55-ce7fd00c101e</vt:lpwstr>
  </property>
</Properties>
</file>